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39" r:id="rId2"/>
    <p:sldMasterId id="2147483844" r:id="rId3"/>
    <p:sldMasterId id="2147483868" r:id="rId4"/>
    <p:sldMasterId id="2147483954" r:id="rId5"/>
    <p:sldMasterId id="2147483984" r:id="rId6"/>
  </p:sldMasterIdLst>
  <p:notesMasterIdLst>
    <p:notesMasterId r:id="rId27"/>
  </p:notesMasterIdLst>
  <p:handoutMasterIdLst>
    <p:handoutMasterId r:id="rId28"/>
  </p:handoutMasterIdLst>
  <p:sldIdLst>
    <p:sldId id="259" r:id="rId7"/>
    <p:sldId id="6511" r:id="rId8"/>
    <p:sldId id="6546" r:id="rId9"/>
    <p:sldId id="6558" r:id="rId10"/>
    <p:sldId id="6560" r:id="rId11"/>
    <p:sldId id="6563" r:id="rId12"/>
    <p:sldId id="6549" r:id="rId13"/>
    <p:sldId id="6567" r:id="rId14"/>
    <p:sldId id="6562" r:id="rId15"/>
    <p:sldId id="6548" r:id="rId16"/>
    <p:sldId id="6564" r:id="rId17"/>
    <p:sldId id="6550" r:id="rId18"/>
    <p:sldId id="6547" r:id="rId19"/>
    <p:sldId id="6551" r:id="rId20"/>
    <p:sldId id="6566" r:id="rId21"/>
    <p:sldId id="979" r:id="rId22"/>
    <p:sldId id="6559" r:id="rId23"/>
    <p:sldId id="6561" r:id="rId24"/>
    <p:sldId id="6555" r:id="rId25"/>
    <p:sldId id="6556" r:id="rId26"/>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htinen Eeva" initials="LE" lastIdx="5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EE353B"/>
    <a:srgbClr val="00965E"/>
    <a:srgbClr val="005EB8"/>
    <a:srgbClr val="FFFFFF"/>
    <a:srgbClr val="EF363B"/>
    <a:srgbClr val="FFCD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9225AD-B49B-4444-A0DC-F8BA8F343C3A}" v="33" dt="2023-11-07T15:45:35.709"/>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76" autoAdjust="0"/>
    <p:restoredTop sz="94591" autoAdjust="0"/>
  </p:normalViewPr>
  <p:slideViewPr>
    <p:cSldViewPr snapToGrid="0" snapToObjects="1">
      <p:cViewPr>
        <p:scale>
          <a:sx n="140" d="100"/>
          <a:sy n="140" d="100"/>
        </p:scale>
        <p:origin x="6180" y="163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93" d="100"/>
          <a:sy n="93" d="100"/>
        </p:scale>
        <p:origin x="4022"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ittymies Aleksi" userId="00c1d702-9a1a-46cb-9bcd-5368d837961b" providerId="ADAL" clId="{55F54ABC-6D78-49F5-8110-EA7C6AFDD730}"/>
    <pc:docChg chg="undo custSel addSld delSld modSld sldOrd delMainMaster">
      <pc:chgData name="Niittymies Aleksi" userId="00c1d702-9a1a-46cb-9bcd-5368d837961b" providerId="ADAL" clId="{55F54ABC-6D78-49F5-8110-EA7C6AFDD730}" dt="2023-10-29T17:12:07.641" v="3137" actId="20577"/>
      <pc:docMkLst>
        <pc:docMk/>
      </pc:docMkLst>
      <pc:sldChg chg="modSp mod">
        <pc:chgData name="Niittymies Aleksi" userId="00c1d702-9a1a-46cb-9bcd-5368d837961b" providerId="ADAL" clId="{55F54ABC-6D78-49F5-8110-EA7C6AFDD730}" dt="2023-10-26T15:45:03.078" v="1142" actId="20577"/>
        <pc:sldMkLst>
          <pc:docMk/>
          <pc:sldMk cId="4022952943" sldId="259"/>
        </pc:sldMkLst>
        <pc:spChg chg="mod">
          <ac:chgData name="Niittymies Aleksi" userId="00c1d702-9a1a-46cb-9bcd-5368d837961b" providerId="ADAL" clId="{55F54ABC-6D78-49F5-8110-EA7C6AFDD730}" dt="2023-10-26T15:29:53.706" v="1140" actId="20577"/>
          <ac:spMkLst>
            <pc:docMk/>
            <pc:sldMk cId="4022952943" sldId="259"/>
            <ac:spMk id="3" creationId="{8A46F9C8-1964-44D9-B1CD-B6CEC744D5F3}"/>
          </ac:spMkLst>
        </pc:spChg>
        <pc:spChg chg="mod">
          <ac:chgData name="Niittymies Aleksi" userId="00c1d702-9a1a-46cb-9bcd-5368d837961b" providerId="ADAL" clId="{55F54ABC-6D78-49F5-8110-EA7C6AFDD730}" dt="2023-10-26T15:45:03.078" v="1142" actId="20577"/>
          <ac:spMkLst>
            <pc:docMk/>
            <pc:sldMk cId="4022952943" sldId="259"/>
            <ac:spMk id="5" creationId="{14D9E3F0-1051-411B-B4E8-74150CD2A556}"/>
          </ac:spMkLst>
        </pc:spChg>
      </pc:sldChg>
      <pc:sldChg chg="addSp modSp mod ord">
        <pc:chgData name="Niittymies Aleksi" userId="00c1d702-9a1a-46cb-9bcd-5368d837961b" providerId="ADAL" clId="{55F54ABC-6D78-49F5-8110-EA7C6AFDD730}" dt="2023-10-28T15:07:29.827" v="2454" actId="14100"/>
        <pc:sldMkLst>
          <pc:docMk/>
          <pc:sldMk cId="2683116071" sldId="288"/>
        </pc:sldMkLst>
        <pc:spChg chg="add mod">
          <ac:chgData name="Niittymies Aleksi" userId="00c1d702-9a1a-46cb-9bcd-5368d837961b" providerId="ADAL" clId="{55F54ABC-6D78-49F5-8110-EA7C6AFDD730}" dt="2023-10-28T15:07:29.827" v="2454" actId="14100"/>
          <ac:spMkLst>
            <pc:docMk/>
            <pc:sldMk cId="2683116071" sldId="288"/>
            <ac:spMk id="4" creationId="{EDCA9124-3001-DAD2-DCE0-5D3C418432BB}"/>
          </ac:spMkLst>
        </pc:spChg>
      </pc:sldChg>
      <pc:sldChg chg="del">
        <pc:chgData name="Niittymies Aleksi" userId="00c1d702-9a1a-46cb-9bcd-5368d837961b" providerId="ADAL" clId="{55F54ABC-6D78-49F5-8110-EA7C6AFDD730}" dt="2023-10-26T18:09:30.121" v="1917" actId="47"/>
        <pc:sldMkLst>
          <pc:docMk/>
          <pc:sldMk cId="760655846" sldId="317"/>
        </pc:sldMkLst>
      </pc:sldChg>
      <pc:sldChg chg="del">
        <pc:chgData name="Niittymies Aleksi" userId="00c1d702-9a1a-46cb-9bcd-5368d837961b" providerId="ADAL" clId="{55F54ABC-6D78-49F5-8110-EA7C6AFDD730}" dt="2023-10-26T18:09:26.281" v="1914" actId="47"/>
        <pc:sldMkLst>
          <pc:docMk/>
          <pc:sldMk cId="3223935476" sldId="333"/>
        </pc:sldMkLst>
      </pc:sldChg>
      <pc:sldChg chg="del">
        <pc:chgData name="Niittymies Aleksi" userId="00c1d702-9a1a-46cb-9bcd-5368d837961b" providerId="ADAL" clId="{55F54ABC-6D78-49F5-8110-EA7C6AFDD730}" dt="2023-10-26T14:04:00.320" v="220" actId="47"/>
        <pc:sldMkLst>
          <pc:docMk/>
          <pc:sldMk cId="1440832524" sldId="336"/>
        </pc:sldMkLst>
      </pc:sldChg>
      <pc:sldChg chg="del">
        <pc:chgData name="Niittymies Aleksi" userId="00c1d702-9a1a-46cb-9bcd-5368d837961b" providerId="ADAL" clId="{55F54ABC-6D78-49F5-8110-EA7C6AFDD730}" dt="2023-10-28T18:51:07.719" v="2713" actId="47"/>
        <pc:sldMkLst>
          <pc:docMk/>
          <pc:sldMk cId="3323521813" sldId="342"/>
        </pc:sldMkLst>
      </pc:sldChg>
      <pc:sldChg chg="modSp mod modShow">
        <pc:chgData name="Niittymies Aleksi" userId="00c1d702-9a1a-46cb-9bcd-5368d837961b" providerId="ADAL" clId="{55F54ABC-6D78-49F5-8110-EA7C6AFDD730}" dt="2023-10-29T16:59:20.316" v="2841" actId="20577"/>
        <pc:sldMkLst>
          <pc:docMk/>
          <pc:sldMk cId="3727756119" sldId="514"/>
        </pc:sldMkLst>
        <pc:spChg chg="mod">
          <ac:chgData name="Niittymies Aleksi" userId="00c1d702-9a1a-46cb-9bcd-5368d837961b" providerId="ADAL" clId="{55F54ABC-6D78-49F5-8110-EA7C6AFDD730}" dt="2023-10-29T16:59:20.316" v="2841" actId="20577"/>
          <ac:spMkLst>
            <pc:docMk/>
            <pc:sldMk cId="3727756119" sldId="514"/>
            <ac:spMk id="2" creationId="{6BEFAF0B-2161-4AED-A03C-AFD447DC84E5}"/>
          </ac:spMkLst>
        </pc:spChg>
      </pc:sldChg>
      <pc:sldChg chg="modSp mod">
        <pc:chgData name="Niittymies Aleksi" userId="00c1d702-9a1a-46cb-9bcd-5368d837961b" providerId="ADAL" clId="{55F54ABC-6D78-49F5-8110-EA7C6AFDD730}" dt="2023-10-28T18:53:06.841" v="2802" actId="20577"/>
        <pc:sldMkLst>
          <pc:docMk/>
          <pc:sldMk cId="3618287028" sldId="979"/>
        </pc:sldMkLst>
        <pc:spChg chg="mod">
          <ac:chgData name="Niittymies Aleksi" userId="00c1d702-9a1a-46cb-9bcd-5368d837961b" providerId="ADAL" clId="{55F54ABC-6D78-49F5-8110-EA7C6AFDD730}" dt="2023-10-28T18:51:38.234" v="2732" actId="6549"/>
          <ac:spMkLst>
            <pc:docMk/>
            <pc:sldMk cId="3618287028" sldId="979"/>
            <ac:spMk id="2" creationId="{DAF2281E-D9A1-4D78-88F1-D5A2007BE0D9}"/>
          </ac:spMkLst>
        </pc:spChg>
        <pc:spChg chg="mod">
          <ac:chgData name="Niittymies Aleksi" userId="00c1d702-9a1a-46cb-9bcd-5368d837961b" providerId="ADAL" clId="{55F54ABC-6D78-49F5-8110-EA7C6AFDD730}" dt="2023-10-28T18:53:06.841" v="2802" actId="20577"/>
          <ac:spMkLst>
            <pc:docMk/>
            <pc:sldMk cId="3618287028" sldId="979"/>
            <ac:spMk id="3" creationId="{5F669965-2C37-4E46-9B17-C284E9EEEBCD}"/>
          </ac:spMkLst>
        </pc:spChg>
      </pc:sldChg>
      <pc:sldChg chg="del">
        <pc:chgData name="Niittymies Aleksi" userId="00c1d702-9a1a-46cb-9bcd-5368d837961b" providerId="ADAL" clId="{55F54ABC-6D78-49F5-8110-EA7C6AFDD730}" dt="2023-10-26T15:03:21.892" v="310" actId="47"/>
        <pc:sldMkLst>
          <pc:docMk/>
          <pc:sldMk cId="2241582236" sldId="1536"/>
        </pc:sldMkLst>
      </pc:sldChg>
      <pc:sldChg chg="del">
        <pc:chgData name="Niittymies Aleksi" userId="00c1d702-9a1a-46cb-9bcd-5368d837961b" providerId="ADAL" clId="{55F54ABC-6D78-49F5-8110-EA7C6AFDD730}" dt="2023-10-26T15:03:15.209" v="308" actId="47"/>
        <pc:sldMkLst>
          <pc:docMk/>
          <pc:sldMk cId="3312029223" sldId="6464"/>
        </pc:sldMkLst>
      </pc:sldChg>
      <pc:sldChg chg="modSp add del mod">
        <pc:chgData name="Niittymies Aleksi" userId="00c1d702-9a1a-46cb-9bcd-5368d837961b" providerId="ADAL" clId="{55F54ABC-6D78-49F5-8110-EA7C6AFDD730}" dt="2023-10-26T18:03:10.237" v="1693" actId="47"/>
        <pc:sldMkLst>
          <pc:docMk/>
          <pc:sldMk cId="2538672300" sldId="6465"/>
        </pc:sldMkLst>
        <pc:spChg chg="mod">
          <ac:chgData name="Niittymies Aleksi" userId="00c1d702-9a1a-46cb-9bcd-5368d837961b" providerId="ADAL" clId="{55F54ABC-6D78-49F5-8110-EA7C6AFDD730}" dt="2023-10-26T15:16:11.583" v="565" actId="20577"/>
          <ac:spMkLst>
            <pc:docMk/>
            <pc:sldMk cId="2538672300" sldId="6465"/>
            <ac:spMk id="6" creationId="{CA37F30B-0C15-4C20-B203-B86996A28ECF}"/>
          </ac:spMkLst>
        </pc:spChg>
      </pc:sldChg>
      <pc:sldChg chg="del">
        <pc:chgData name="Niittymies Aleksi" userId="00c1d702-9a1a-46cb-9bcd-5368d837961b" providerId="ADAL" clId="{55F54ABC-6D78-49F5-8110-EA7C6AFDD730}" dt="2023-10-26T14:04:05.673" v="226" actId="47"/>
        <pc:sldMkLst>
          <pc:docMk/>
          <pc:sldMk cId="964648724" sldId="6467"/>
        </pc:sldMkLst>
      </pc:sldChg>
      <pc:sldChg chg="del">
        <pc:chgData name="Niittymies Aleksi" userId="00c1d702-9a1a-46cb-9bcd-5368d837961b" providerId="ADAL" clId="{55F54ABC-6D78-49F5-8110-EA7C6AFDD730}" dt="2023-10-26T14:04:03.411" v="223" actId="47"/>
        <pc:sldMkLst>
          <pc:docMk/>
          <pc:sldMk cId="3283465410" sldId="6469"/>
        </pc:sldMkLst>
      </pc:sldChg>
      <pc:sldChg chg="del">
        <pc:chgData name="Niittymies Aleksi" userId="00c1d702-9a1a-46cb-9bcd-5368d837961b" providerId="ADAL" clId="{55F54ABC-6D78-49F5-8110-EA7C6AFDD730}" dt="2023-10-26T14:04:02.346" v="222" actId="47"/>
        <pc:sldMkLst>
          <pc:docMk/>
          <pc:sldMk cId="466566395" sldId="6471"/>
        </pc:sldMkLst>
      </pc:sldChg>
      <pc:sldChg chg="del">
        <pc:chgData name="Niittymies Aleksi" userId="00c1d702-9a1a-46cb-9bcd-5368d837961b" providerId="ADAL" clId="{55F54ABC-6D78-49F5-8110-EA7C6AFDD730}" dt="2023-10-26T14:04:01.130" v="221" actId="47"/>
        <pc:sldMkLst>
          <pc:docMk/>
          <pc:sldMk cId="972921773" sldId="6472"/>
        </pc:sldMkLst>
      </pc:sldChg>
      <pc:sldChg chg="modSp mod">
        <pc:chgData name="Niittymies Aleksi" userId="00c1d702-9a1a-46cb-9bcd-5368d837961b" providerId="ADAL" clId="{55F54ABC-6D78-49F5-8110-EA7C6AFDD730}" dt="2023-10-26T18:10:40.238" v="1983"/>
        <pc:sldMkLst>
          <pc:docMk/>
          <pc:sldMk cId="3567938623" sldId="6477"/>
        </pc:sldMkLst>
        <pc:spChg chg="mod">
          <ac:chgData name="Niittymies Aleksi" userId="00c1d702-9a1a-46cb-9bcd-5368d837961b" providerId="ADAL" clId="{55F54ABC-6D78-49F5-8110-EA7C6AFDD730}" dt="2023-10-26T18:10:40.238" v="1983"/>
          <ac:spMkLst>
            <pc:docMk/>
            <pc:sldMk cId="3567938623" sldId="6477"/>
            <ac:spMk id="3" creationId="{CF3F630B-0F73-483A-838D-6B23394D1B86}"/>
          </ac:spMkLst>
        </pc:spChg>
      </pc:sldChg>
      <pc:sldChg chg="del">
        <pc:chgData name="Niittymies Aleksi" userId="00c1d702-9a1a-46cb-9bcd-5368d837961b" providerId="ADAL" clId="{55F54ABC-6D78-49F5-8110-EA7C6AFDD730}" dt="2023-10-26T18:09:39.609" v="1919" actId="47"/>
        <pc:sldMkLst>
          <pc:docMk/>
          <pc:sldMk cId="396421728" sldId="6478"/>
        </pc:sldMkLst>
      </pc:sldChg>
      <pc:sldChg chg="del">
        <pc:chgData name="Niittymies Aleksi" userId="00c1d702-9a1a-46cb-9bcd-5368d837961b" providerId="ADAL" clId="{55F54ABC-6D78-49F5-8110-EA7C6AFDD730}" dt="2023-10-26T18:09:39.609" v="1919" actId="47"/>
        <pc:sldMkLst>
          <pc:docMk/>
          <pc:sldMk cId="1879992390" sldId="6480"/>
        </pc:sldMkLst>
      </pc:sldChg>
      <pc:sldChg chg="del">
        <pc:chgData name="Niittymies Aleksi" userId="00c1d702-9a1a-46cb-9bcd-5368d837961b" providerId="ADAL" clId="{55F54ABC-6D78-49F5-8110-EA7C6AFDD730}" dt="2023-10-26T18:09:29.095" v="1916" actId="47"/>
        <pc:sldMkLst>
          <pc:docMk/>
          <pc:sldMk cId="2587305749" sldId="6481"/>
        </pc:sldMkLst>
      </pc:sldChg>
      <pc:sldChg chg="del">
        <pc:chgData name="Niittymies Aleksi" userId="00c1d702-9a1a-46cb-9bcd-5368d837961b" providerId="ADAL" clId="{55F54ABC-6D78-49F5-8110-EA7C6AFDD730}" dt="2023-10-26T18:09:39.609" v="1919" actId="47"/>
        <pc:sldMkLst>
          <pc:docMk/>
          <pc:sldMk cId="1575237945" sldId="6482"/>
        </pc:sldMkLst>
      </pc:sldChg>
      <pc:sldChg chg="del">
        <pc:chgData name="Niittymies Aleksi" userId="00c1d702-9a1a-46cb-9bcd-5368d837961b" providerId="ADAL" clId="{55F54ABC-6D78-49F5-8110-EA7C6AFDD730}" dt="2023-10-28T18:51:13.757" v="2714" actId="47"/>
        <pc:sldMkLst>
          <pc:docMk/>
          <pc:sldMk cId="2516522154" sldId="6488"/>
        </pc:sldMkLst>
      </pc:sldChg>
      <pc:sldChg chg="del">
        <pc:chgData name="Niittymies Aleksi" userId="00c1d702-9a1a-46cb-9bcd-5368d837961b" providerId="ADAL" clId="{55F54ABC-6D78-49F5-8110-EA7C6AFDD730}" dt="2023-10-26T18:09:14.972" v="1912" actId="47"/>
        <pc:sldMkLst>
          <pc:docMk/>
          <pc:sldMk cId="3439043387" sldId="6489"/>
        </pc:sldMkLst>
      </pc:sldChg>
      <pc:sldChg chg="del">
        <pc:chgData name="Niittymies Aleksi" userId="00c1d702-9a1a-46cb-9bcd-5368d837961b" providerId="ADAL" clId="{55F54ABC-6D78-49F5-8110-EA7C6AFDD730}" dt="2023-10-26T15:03:21.011" v="309" actId="47"/>
        <pc:sldMkLst>
          <pc:docMk/>
          <pc:sldMk cId="3999714898" sldId="6492"/>
        </pc:sldMkLst>
      </pc:sldChg>
      <pc:sldChg chg="del">
        <pc:chgData name="Niittymies Aleksi" userId="00c1d702-9a1a-46cb-9bcd-5368d837961b" providerId="ADAL" clId="{55F54ABC-6D78-49F5-8110-EA7C6AFDD730}" dt="2023-10-26T18:09:53.673" v="1920" actId="47"/>
        <pc:sldMkLst>
          <pc:docMk/>
          <pc:sldMk cId="984379484" sldId="6494"/>
        </pc:sldMkLst>
      </pc:sldChg>
      <pc:sldChg chg="del">
        <pc:chgData name="Niittymies Aleksi" userId="00c1d702-9a1a-46cb-9bcd-5368d837961b" providerId="ADAL" clId="{55F54ABC-6D78-49F5-8110-EA7C6AFDD730}" dt="2023-10-26T18:09:53.673" v="1920" actId="47"/>
        <pc:sldMkLst>
          <pc:docMk/>
          <pc:sldMk cId="3329689310" sldId="6495"/>
        </pc:sldMkLst>
      </pc:sldChg>
      <pc:sldChg chg="del">
        <pc:chgData name="Niittymies Aleksi" userId="00c1d702-9a1a-46cb-9bcd-5368d837961b" providerId="ADAL" clId="{55F54ABC-6D78-49F5-8110-EA7C6AFDD730}" dt="2023-10-26T18:09:39.609" v="1919" actId="47"/>
        <pc:sldMkLst>
          <pc:docMk/>
          <pc:sldMk cId="1916855917" sldId="6496"/>
        </pc:sldMkLst>
      </pc:sldChg>
      <pc:sldChg chg="del">
        <pc:chgData name="Niittymies Aleksi" userId="00c1d702-9a1a-46cb-9bcd-5368d837961b" providerId="ADAL" clId="{55F54ABC-6D78-49F5-8110-EA7C6AFDD730}" dt="2023-10-26T18:09:31.353" v="1918" actId="47"/>
        <pc:sldMkLst>
          <pc:docMk/>
          <pc:sldMk cId="2753825767" sldId="6501"/>
        </pc:sldMkLst>
      </pc:sldChg>
      <pc:sldChg chg="del">
        <pc:chgData name="Niittymies Aleksi" userId="00c1d702-9a1a-46cb-9bcd-5368d837961b" providerId="ADAL" clId="{55F54ABC-6D78-49F5-8110-EA7C6AFDD730}" dt="2023-10-26T14:04:08.540" v="229" actId="47"/>
        <pc:sldMkLst>
          <pc:docMk/>
          <pc:sldMk cId="3404113290" sldId="6502"/>
        </pc:sldMkLst>
      </pc:sldChg>
      <pc:sldChg chg="del">
        <pc:chgData name="Niittymies Aleksi" userId="00c1d702-9a1a-46cb-9bcd-5368d837961b" providerId="ADAL" clId="{55F54ABC-6D78-49F5-8110-EA7C6AFDD730}" dt="2023-10-26T14:04:07.324" v="228" actId="47"/>
        <pc:sldMkLst>
          <pc:docMk/>
          <pc:sldMk cId="2323915524" sldId="6503"/>
        </pc:sldMkLst>
      </pc:sldChg>
      <pc:sldChg chg="del">
        <pc:chgData name="Niittymies Aleksi" userId="00c1d702-9a1a-46cb-9bcd-5368d837961b" providerId="ADAL" clId="{55F54ABC-6D78-49F5-8110-EA7C6AFDD730}" dt="2023-10-26T14:04:06.409" v="227" actId="47"/>
        <pc:sldMkLst>
          <pc:docMk/>
          <pc:sldMk cId="1856887595" sldId="6504"/>
        </pc:sldMkLst>
      </pc:sldChg>
      <pc:sldChg chg="del">
        <pc:chgData name="Niittymies Aleksi" userId="00c1d702-9a1a-46cb-9bcd-5368d837961b" providerId="ADAL" clId="{55F54ABC-6D78-49F5-8110-EA7C6AFDD730}" dt="2023-10-26T14:04:04.107" v="224" actId="47"/>
        <pc:sldMkLst>
          <pc:docMk/>
          <pc:sldMk cId="2273617779" sldId="6506"/>
        </pc:sldMkLst>
      </pc:sldChg>
      <pc:sldChg chg="del">
        <pc:chgData name="Niittymies Aleksi" userId="00c1d702-9a1a-46cb-9bcd-5368d837961b" providerId="ADAL" clId="{55F54ABC-6D78-49F5-8110-EA7C6AFDD730}" dt="2023-10-28T18:51:16.587" v="2715" actId="47"/>
        <pc:sldMkLst>
          <pc:docMk/>
          <pc:sldMk cId="921956387" sldId="6509"/>
        </pc:sldMkLst>
      </pc:sldChg>
      <pc:sldChg chg="del">
        <pc:chgData name="Niittymies Aleksi" userId="00c1d702-9a1a-46cb-9bcd-5368d837961b" providerId="ADAL" clId="{55F54ABC-6D78-49F5-8110-EA7C6AFDD730}" dt="2023-10-26T18:09:53.673" v="1920" actId="47"/>
        <pc:sldMkLst>
          <pc:docMk/>
          <pc:sldMk cId="2515855588" sldId="6510"/>
        </pc:sldMkLst>
      </pc:sldChg>
      <pc:sldChg chg="modSp mod">
        <pc:chgData name="Niittymies Aleksi" userId="00c1d702-9a1a-46cb-9bcd-5368d837961b" providerId="ADAL" clId="{55F54ABC-6D78-49F5-8110-EA7C6AFDD730}" dt="2023-10-26T18:10:32.940" v="1982" actId="20577"/>
        <pc:sldMkLst>
          <pc:docMk/>
          <pc:sldMk cId="2555860637" sldId="6511"/>
        </pc:sldMkLst>
        <pc:spChg chg="mod">
          <ac:chgData name="Niittymies Aleksi" userId="00c1d702-9a1a-46cb-9bcd-5368d837961b" providerId="ADAL" clId="{55F54ABC-6D78-49F5-8110-EA7C6AFDD730}" dt="2023-10-26T18:10:32.940" v="1982" actId="20577"/>
          <ac:spMkLst>
            <pc:docMk/>
            <pc:sldMk cId="2555860637" sldId="6511"/>
            <ac:spMk id="3" creationId="{CF3F630B-0F73-483A-838D-6B23394D1B86}"/>
          </ac:spMkLst>
        </pc:spChg>
      </pc:sldChg>
      <pc:sldChg chg="del">
        <pc:chgData name="Niittymies Aleksi" userId="00c1d702-9a1a-46cb-9bcd-5368d837961b" providerId="ADAL" clId="{55F54ABC-6D78-49F5-8110-EA7C6AFDD730}" dt="2023-10-26T18:09:21.928" v="1913" actId="47"/>
        <pc:sldMkLst>
          <pc:docMk/>
          <pc:sldMk cId="3919083279" sldId="6512"/>
        </pc:sldMkLst>
      </pc:sldChg>
      <pc:sldChg chg="addSp delSp modSp mod">
        <pc:chgData name="Niittymies Aleksi" userId="00c1d702-9a1a-46cb-9bcd-5368d837961b" providerId="ADAL" clId="{55F54ABC-6D78-49F5-8110-EA7C6AFDD730}" dt="2023-10-26T18:12:28.156" v="1998" actId="1076"/>
        <pc:sldMkLst>
          <pc:docMk/>
          <pc:sldMk cId="858044239" sldId="6514"/>
        </pc:sldMkLst>
        <pc:spChg chg="del">
          <ac:chgData name="Niittymies Aleksi" userId="00c1d702-9a1a-46cb-9bcd-5368d837961b" providerId="ADAL" clId="{55F54ABC-6D78-49F5-8110-EA7C6AFDD730}" dt="2023-10-26T13:31:07.467" v="4" actId="478"/>
          <ac:spMkLst>
            <pc:docMk/>
            <pc:sldMk cId="858044239" sldId="6514"/>
            <ac:spMk id="4" creationId="{48C8DD5A-826D-61ED-E8A6-69F598C77030}"/>
          </ac:spMkLst>
        </pc:spChg>
        <pc:spChg chg="mod">
          <ac:chgData name="Niittymies Aleksi" userId="00c1d702-9a1a-46cb-9bcd-5368d837961b" providerId="ADAL" clId="{55F54ABC-6D78-49F5-8110-EA7C6AFDD730}" dt="2023-10-26T16:59:35.322" v="1350" actId="14100"/>
          <ac:spMkLst>
            <pc:docMk/>
            <pc:sldMk cId="858044239" sldId="6514"/>
            <ac:spMk id="5" creationId="{4E79B233-C263-4355-BEE2-6A4CD1ED5B59}"/>
          </ac:spMkLst>
        </pc:spChg>
        <pc:spChg chg="del">
          <ac:chgData name="Niittymies Aleksi" userId="00c1d702-9a1a-46cb-9bcd-5368d837961b" providerId="ADAL" clId="{55F54ABC-6D78-49F5-8110-EA7C6AFDD730}" dt="2023-10-26T13:31:05.804" v="1" actId="478"/>
          <ac:spMkLst>
            <pc:docMk/>
            <pc:sldMk cId="858044239" sldId="6514"/>
            <ac:spMk id="7" creationId="{DD0AA779-BA7E-8E8C-97DD-A073A6DAFC0F}"/>
          </ac:spMkLst>
        </pc:spChg>
        <pc:spChg chg="del">
          <ac:chgData name="Niittymies Aleksi" userId="00c1d702-9a1a-46cb-9bcd-5368d837961b" providerId="ADAL" clId="{55F54ABC-6D78-49F5-8110-EA7C6AFDD730}" dt="2023-10-26T13:31:05.367" v="0" actId="478"/>
          <ac:spMkLst>
            <pc:docMk/>
            <pc:sldMk cId="858044239" sldId="6514"/>
            <ac:spMk id="8" creationId="{3ABF3AD3-D6FA-473C-0585-8F9BC68E85A0}"/>
          </ac:spMkLst>
        </pc:spChg>
        <pc:spChg chg="del">
          <ac:chgData name="Niittymies Aleksi" userId="00c1d702-9a1a-46cb-9bcd-5368d837961b" providerId="ADAL" clId="{55F54ABC-6D78-49F5-8110-EA7C6AFDD730}" dt="2023-10-26T13:31:06.684" v="3" actId="478"/>
          <ac:spMkLst>
            <pc:docMk/>
            <pc:sldMk cId="858044239" sldId="6514"/>
            <ac:spMk id="9" creationId="{58456D8E-260B-C4BE-7082-21D63BBE01EF}"/>
          </ac:spMkLst>
        </pc:spChg>
        <pc:spChg chg="del">
          <ac:chgData name="Niittymies Aleksi" userId="00c1d702-9a1a-46cb-9bcd-5368d837961b" providerId="ADAL" clId="{55F54ABC-6D78-49F5-8110-EA7C6AFDD730}" dt="2023-10-26T13:31:06.298" v="2" actId="478"/>
          <ac:spMkLst>
            <pc:docMk/>
            <pc:sldMk cId="858044239" sldId="6514"/>
            <ac:spMk id="10" creationId="{B09B7AF3-0782-85BF-19E6-C7A39599912A}"/>
          </ac:spMkLst>
        </pc:spChg>
        <pc:spChg chg="del">
          <ac:chgData name="Niittymies Aleksi" userId="00c1d702-9a1a-46cb-9bcd-5368d837961b" providerId="ADAL" clId="{55F54ABC-6D78-49F5-8110-EA7C6AFDD730}" dt="2023-10-26T13:31:09.004" v="5" actId="478"/>
          <ac:spMkLst>
            <pc:docMk/>
            <pc:sldMk cId="858044239" sldId="6514"/>
            <ac:spMk id="11" creationId="{598070D3-77BA-919A-7763-DAAAD97B05B8}"/>
          </ac:spMkLst>
        </pc:spChg>
        <pc:picChg chg="add mod modCrop">
          <ac:chgData name="Niittymies Aleksi" userId="00c1d702-9a1a-46cb-9bcd-5368d837961b" providerId="ADAL" clId="{55F54ABC-6D78-49F5-8110-EA7C6AFDD730}" dt="2023-10-26T18:12:14.150" v="1994" actId="1076"/>
          <ac:picMkLst>
            <pc:docMk/>
            <pc:sldMk cId="858044239" sldId="6514"/>
            <ac:picMk id="3" creationId="{85537C20-FB05-D999-849D-AA33984B21D7}"/>
          </ac:picMkLst>
        </pc:picChg>
        <pc:picChg chg="add mod modCrop">
          <ac:chgData name="Niittymies Aleksi" userId="00c1d702-9a1a-46cb-9bcd-5368d837961b" providerId="ADAL" clId="{55F54ABC-6D78-49F5-8110-EA7C6AFDD730}" dt="2023-10-26T18:12:28.156" v="1998" actId="1076"/>
          <ac:picMkLst>
            <pc:docMk/>
            <pc:sldMk cId="858044239" sldId="6514"/>
            <ac:picMk id="17" creationId="{38404AD4-5459-7BF5-EFD2-3FE63600F4CB}"/>
          </ac:picMkLst>
        </pc:picChg>
        <pc:cxnChg chg="add del mod">
          <ac:chgData name="Niittymies Aleksi" userId="00c1d702-9a1a-46cb-9bcd-5368d837961b" providerId="ADAL" clId="{55F54ABC-6D78-49F5-8110-EA7C6AFDD730}" dt="2023-10-26T18:12:19.838" v="1997" actId="478"/>
          <ac:cxnSpMkLst>
            <pc:docMk/>
            <pc:sldMk cId="858044239" sldId="6514"/>
            <ac:cxnSpMk id="12" creationId="{A5ADD73B-E1D4-FD73-1EA5-7402E90FFA6E}"/>
          </ac:cxnSpMkLst>
        </pc:cxnChg>
        <pc:cxnChg chg="del mod">
          <ac:chgData name="Niittymies Aleksi" userId="00c1d702-9a1a-46cb-9bcd-5368d837961b" providerId="ADAL" clId="{55F54ABC-6D78-49F5-8110-EA7C6AFDD730}" dt="2023-10-26T13:31:09.579" v="6" actId="478"/>
          <ac:cxnSpMkLst>
            <pc:docMk/>
            <pc:sldMk cId="858044239" sldId="6514"/>
            <ac:cxnSpMk id="13" creationId="{D21EE9D0-FE12-EF0A-1EEA-C7DF782DC30E}"/>
          </ac:cxnSpMkLst>
        </pc:cxnChg>
        <pc:cxnChg chg="add del mod">
          <ac:chgData name="Niittymies Aleksi" userId="00c1d702-9a1a-46cb-9bcd-5368d837961b" providerId="ADAL" clId="{55F54ABC-6D78-49F5-8110-EA7C6AFDD730}" dt="2023-10-26T18:12:17.932" v="1996" actId="478"/>
          <ac:cxnSpMkLst>
            <pc:docMk/>
            <pc:sldMk cId="858044239" sldId="6514"/>
            <ac:cxnSpMk id="14" creationId="{417ED823-AF09-5FC5-BC8D-AF38961F0985}"/>
          </ac:cxnSpMkLst>
        </pc:cxnChg>
      </pc:sldChg>
      <pc:sldChg chg="del">
        <pc:chgData name="Niittymies Aleksi" userId="00c1d702-9a1a-46cb-9bcd-5368d837961b" providerId="ADAL" clId="{55F54ABC-6D78-49F5-8110-EA7C6AFDD730}" dt="2023-10-26T14:04:04.938" v="225" actId="47"/>
        <pc:sldMkLst>
          <pc:docMk/>
          <pc:sldMk cId="1404594552" sldId="6515"/>
        </pc:sldMkLst>
      </pc:sldChg>
      <pc:sldChg chg="del">
        <pc:chgData name="Niittymies Aleksi" userId="00c1d702-9a1a-46cb-9bcd-5368d837961b" providerId="ADAL" clId="{55F54ABC-6D78-49F5-8110-EA7C6AFDD730}" dt="2023-10-26T18:09:27.512" v="1915" actId="47"/>
        <pc:sldMkLst>
          <pc:docMk/>
          <pc:sldMk cId="136992191" sldId="6516"/>
        </pc:sldMkLst>
      </pc:sldChg>
      <pc:sldChg chg="modSp mod">
        <pc:chgData name="Niittymies Aleksi" userId="00c1d702-9a1a-46cb-9bcd-5368d837961b" providerId="ADAL" clId="{55F54ABC-6D78-49F5-8110-EA7C6AFDD730}" dt="2023-10-29T17:12:07.641" v="3137" actId="20577"/>
        <pc:sldMkLst>
          <pc:docMk/>
          <pc:sldMk cId="1134950752" sldId="6517"/>
        </pc:sldMkLst>
        <pc:spChg chg="mod">
          <ac:chgData name="Niittymies Aleksi" userId="00c1d702-9a1a-46cb-9bcd-5368d837961b" providerId="ADAL" clId="{55F54ABC-6D78-49F5-8110-EA7C6AFDD730}" dt="2023-10-26T16:43:07.494" v="1263" actId="20577"/>
          <ac:spMkLst>
            <pc:docMk/>
            <pc:sldMk cId="1134950752" sldId="6517"/>
            <ac:spMk id="5" creationId="{4E79B233-C263-4355-BEE2-6A4CD1ED5B59}"/>
          </ac:spMkLst>
        </pc:spChg>
        <pc:spChg chg="mod">
          <ac:chgData name="Niittymies Aleksi" userId="00c1d702-9a1a-46cb-9bcd-5368d837961b" providerId="ADAL" clId="{55F54ABC-6D78-49F5-8110-EA7C6AFDD730}" dt="2023-10-29T17:12:07.641" v="3137" actId="20577"/>
          <ac:spMkLst>
            <pc:docMk/>
            <pc:sldMk cId="1134950752" sldId="6517"/>
            <ac:spMk id="6" creationId="{CA37F30B-0C15-4C20-B203-B86996A28ECF}"/>
          </ac:spMkLst>
        </pc:spChg>
      </pc:sldChg>
      <pc:sldChg chg="addSp delSp modSp add mod ord">
        <pc:chgData name="Niittymies Aleksi" userId="00c1d702-9a1a-46cb-9bcd-5368d837961b" providerId="ADAL" clId="{55F54ABC-6D78-49F5-8110-EA7C6AFDD730}" dt="2023-10-29T17:04:24.662" v="2950" actId="20577"/>
        <pc:sldMkLst>
          <pc:docMk/>
          <pc:sldMk cId="3262308052" sldId="6518"/>
        </pc:sldMkLst>
        <pc:spChg chg="add mod">
          <ac:chgData name="Niittymies Aleksi" userId="00c1d702-9a1a-46cb-9bcd-5368d837961b" providerId="ADAL" clId="{55F54ABC-6D78-49F5-8110-EA7C6AFDD730}" dt="2023-10-29T17:03:08.460" v="2931" actId="313"/>
          <ac:spMkLst>
            <pc:docMk/>
            <pc:sldMk cId="3262308052" sldId="6518"/>
            <ac:spMk id="2" creationId="{7188B95F-4310-569A-83C9-3FA1F947D1D9}"/>
          </ac:spMkLst>
        </pc:spChg>
        <pc:spChg chg="mod">
          <ac:chgData name="Niittymies Aleksi" userId="00c1d702-9a1a-46cb-9bcd-5368d837961b" providerId="ADAL" clId="{55F54ABC-6D78-49F5-8110-EA7C6AFDD730}" dt="2023-10-29T17:04:24.662" v="2950" actId="20577"/>
          <ac:spMkLst>
            <pc:docMk/>
            <pc:sldMk cId="3262308052" sldId="6518"/>
            <ac:spMk id="5" creationId="{4E79B233-C263-4355-BEE2-6A4CD1ED5B59}"/>
          </ac:spMkLst>
        </pc:spChg>
        <pc:spChg chg="mod">
          <ac:chgData name="Niittymies Aleksi" userId="00c1d702-9a1a-46cb-9bcd-5368d837961b" providerId="ADAL" clId="{55F54ABC-6D78-49F5-8110-EA7C6AFDD730}" dt="2023-10-28T15:01:07.980" v="2400"/>
          <ac:spMkLst>
            <pc:docMk/>
            <pc:sldMk cId="3262308052" sldId="6518"/>
            <ac:spMk id="7" creationId="{F5C796E6-302D-1CB0-44A9-3B4B2FC2B650}"/>
          </ac:spMkLst>
        </pc:spChg>
        <pc:spChg chg="mod">
          <ac:chgData name="Niittymies Aleksi" userId="00c1d702-9a1a-46cb-9bcd-5368d837961b" providerId="ADAL" clId="{55F54ABC-6D78-49F5-8110-EA7C6AFDD730}" dt="2023-10-28T15:01:07.980" v="2400"/>
          <ac:spMkLst>
            <pc:docMk/>
            <pc:sldMk cId="3262308052" sldId="6518"/>
            <ac:spMk id="8" creationId="{72A3EE4E-5B28-423E-7F07-664423213575}"/>
          </ac:spMkLst>
        </pc:spChg>
        <pc:spChg chg="mod">
          <ac:chgData name="Niittymies Aleksi" userId="00c1d702-9a1a-46cb-9bcd-5368d837961b" providerId="ADAL" clId="{55F54ABC-6D78-49F5-8110-EA7C6AFDD730}" dt="2023-10-28T15:01:07.980" v="2400"/>
          <ac:spMkLst>
            <pc:docMk/>
            <pc:sldMk cId="3262308052" sldId="6518"/>
            <ac:spMk id="9" creationId="{9C9F75E8-F8C1-A6C7-CC4D-46BCF882271A}"/>
          </ac:spMkLst>
        </pc:spChg>
        <pc:spChg chg="mod">
          <ac:chgData name="Niittymies Aleksi" userId="00c1d702-9a1a-46cb-9bcd-5368d837961b" providerId="ADAL" clId="{55F54ABC-6D78-49F5-8110-EA7C6AFDD730}" dt="2023-10-28T15:01:07.980" v="2400"/>
          <ac:spMkLst>
            <pc:docMk/>
            <pc:sldMk cId="3262308052" sldId="6518"/>
            <ac:spMk id="10" creationId="{25AA06C2-3E33-2B9A-CEEE-D286AABC2AE1}"/>
          </ac:spMkLst>
        </pc:spChg>
        <pc:spChg chg="del mod">
          <ac:chgData name="Niittymies Aleksi" userId="00c1d702-9a1a-46cb-9bcd-5368d837961b" providerId="ADAL" clId="{55F54ABC-6D78-49F5-8110-EA7C6AFDD730}" dt="2023-10-29T17:00:16.981" v="2842" actId="478"/>
          <ac:spMkLst>
            <pc:docMk/>
            <pc:sldMk cId="3262308052" sldId="6518"/>
            <ac:spMk id="11" creationId="{67E8AE2B-1E1E-72E3-FB87-5483C53337AE}"/>
          </ac:spMkLst>
        </pc:spChg>
        <pc:spChg chg="mod">
          <ac:chgData name="Niittymies Aleksi" userId="00c1d702-9a1a-46cb-9bcd-5368d837961b" providerId="ADAL" clId="{55F54ABC-6D78-49F5-8110-EA7C6AFDD730}" dt="2023-10-28T15:01:07.980" v="2400"/>
          <ac:spMkLst>
            <pc:docMk/>
            <pc:sldMk cId="3262308052" sldId="6518"/>
            <ac:spMk id="15" creationId="{833ADBE9-929E-8661-6A99-C398056A9992}"/>
          </ac:spMkLst>
        </pc:spChg>
        <pc:spChg chg="mod">
          <ac:chgData name="Niittymies Aleksi" userId="00c1d702-9a1a-46cb-9bcd-5368d837961b" providerId="ADAL" clId="{55F54ABC-6D78-49F5-8110-EA7C6AFDD730}" dt="2023-10-28T15:01:07.980" v="2400"/>
          <ac:spMkLst>
            <pc:docMk/>
            <pc:sldMk cId="3262308052" sldId="6518"/>
            <ac:spMk id="16" creationId="{515EEAC6-4342-423D-1150-8A72583EA892}"/>
          </ac:spMkLst>
        </pc:spChg>
        <pc:spChg chg="mod">
          <ac:chgData name="Niittymies Aleksi" userId="00c1d702-9a1a-46cb-9bcd-5368d837961b" providerId="ADAL" clId="{55F54ABC-6D78-49F5-8110-EA7C6AFDD730}" dt="2023-10-28T15:01:07.980" v="2400"/>
          <ac:spMkLst>
            <pc:docMk/>
            <pc:sldMk cId="3262308052" sldId="6518"/>
            <ac:spMk id="17" creationId="{CB3A0083-FBC0-B4C9-79E2-5CEAB68818B8}"/>
          </ac:spMkLst>
        </pc:spChg>
        <pc:spChg chg="mod">
          <ac:chgData name="Niittymies Aleksi" userId="00c1d702-9a1a-46cb-9bcd-5368d837961b" providerId="ADAL" clId="{55F54ABC-6D78-49F5-8110-EA7C6AFDD730}" dt="2023-10-28T15:01:07.980" v="2400"/>
          <ac:spMkLst>
            <pc:docMk/>
            <pc:sldMk cId="3262308052" sldId="6518"/>
            <ac:spMk id="18" creationId="{A57E4EF5-00D1-1415-4658-E3F846CACC7C}"/>
          </ac:spMkLst>
        </pc:spChg>
        <pc:spChg chg="mod">
          <ac:chgData name="Niittymies Aleksi" userId="00c1d702-9a1a-46cb-9bcd-5368d837961b" providerId="ADAL" clId="{55F54ABC-6D78-49F5-8110-EA7C6AFDD730}" dt="2023-10-28T15:01:07.980" v="2400"/>
          <ac:spMkLst>
            <pc:docMk/>
            <pc:sldMk cId="3262308052" sldId="6518"/>
            <ac:spMk id="19" creationId="{A289E5B2-65E4-8C7C-3C94-6775EF249E06}"/>
          </ac:spMkLst>
        </pc:spChg>
        <pc:spChg chg="mod">
          <ac:chgData name="Niittymies Aleksi" userId="00c1d702-9a1a-46cb-9bcd-5368d837961b" providerId="ADAL" clId="{55F54ABC-6D78-49F5-8110-EA7C6AFDD730}" dt="2023-10-28T15:01:07.980" v="2400"/>
          <ac:spMkLst>
            <pc:docMk/>
            <pc:sldMk cId="3262308052" sldId="6518"/>
            <ac:spMk id="20" creationId="{77418D12-128F-28EB-FB5D-873B0F5C9AAB}"/>
          </ac:spMkLst>
        </pc:spChg>
        <pc:spChg chg="mod">
          <ac:chgData name="Niittymies Aleksi" userId="00c1d702-9a1a-46cb-9bcd-5368d837961b" providerId="ADAL" clId="{55F54ABC-6D78-49F5-8110-EA7C6AFDD730}" dt="2023-10-28T15:01:07.980" v="2400"/>
          <ac:spMkLst>
            <pc:docMk/>
            <pc:sldMk cId="3262308052" sldId="6518"/>
            <ac:spMk id="21" creationId="{DA9762EB-7E5B-EEA0-5F28-725FC72E93B6}"/>
          </ac:spMkLst>
        </pc:spChg>
        <pc:grpChg chg="add del mod">
          <ac:chgData name="Niittymies Aleksi" userId="00c1d702-9a1a-46cb-9bcd-5368d837961b" providerId="ADAL" clId="{55F54ABC-6D78-49F5-8110-EA7C6AFDD730}" dt="2023-10-29T17:00:20.536" v="2843" actId="478"/>
          <ac:grpSpMkLst>
            <pc:docMk/>
            <pc:sldMk cId="3262308052" sldId="6518"/>
            <ac:grpSpMk id="4" creationId="{B72D808F-983B-5BD5-9942-0BD7EF6C60F3}"/>
          </ac:grpSpMkLst>
        </pc:grpChg>
        <pc:grpChg chg="mod">
          <ac:chgData name="Niittymies Aleksi" userId="00c1d702-9a1a-46cb-9bcd-5368d837961b" providerId="ADAL" clId="{55F54ABC-6D78-49F5-8110-EA7C6AFDD730}" dt="2023-10-28T15:01:07.980" v="2400"/>
          <ac:grpSpMkLst>
            <pc:docMk/>
            <pc:sldMk cId="3262308052" sldId="6518"/>
            <ac:grpSpMk id="6" creationId="{C073FEC7-0DD1-BF1E-3F04-F407C277BC44}"/>
          </ac:grpSpMkLst>
        </pc:grpChg>
        <pc:grpChg chg="mod">
          <ac:chgData name="Niittymies Aleksi" userId="00c1d702-9a1a-46cb-9bcd-5368d837961b" providerId="ADAL" clId="{55F54ABC-6D78-49F5-8110-EA7C6AFDD730}" dt="2023-10-28T15:01:07.980" v="2400"/>
          <ac:grpSpMkLst>
            <pc:docMk/>
            <pc:sldMk cId="3262308052" sldId="6518"/>
            <ac:grpSpMk id="13" creationId="{334EAE2D-5C8E-2A9E-AB30-2FAB86725599}"/>
          </ac:grpSpMkLst>
        </pc:grpChg>
        <pc:picChg chg="del">
          <ac:chgData name="Niittymies Aleksi" userId="00c1d702-9a1a-46cb-9bcd-5368d837961b" providerId="ADAL" clId="{55F54ABC-6D78-49F5-8110-EA7C6AFDD730}" dt="2023-10-26T13:44:28.008" v="123" actId="478"/>
          <ac:picMkLst>
            <pc:docMk/>
            <pc:sldMk cId="3262308052" sldId="6518"/>
            <ac:picMk id="3" creationId="{85537C20-FB05-D999-849D-AA33984B21D7}"/>
          </ac:picMkLst>
        </pc:picChg>
        <pc:cxnChg chg="del">
          <ac:chgData name="Niittymies Aleksi" userId="00c1d702-9a1a-46cb-9bcd-5368d837961b" providerId="ADAL" clId="{55F54ABC-6D78-49F5-8110-EA7C6AFDD730}" dt="2023-10-26T13:44:30.248" v="125" actId="478"/>
          <ac:cxnSpMkLst>
            <pc:docMk/>
            <pc:sldMk cId="3262308052" sldId="6518"/>
            <ac:cxnSpMk id="12" creationId="{A5ADD73B-E1D4-FD73-1EA5-7402E90FFA6E}"/>
          </ac:cxnSpMkLst>
        </pc:cxnChg>
        <pc:cxnChg chg="del">
          <ac:chgData name="Niittymies Aleksi" userId="00c1d702-9a1a-46cb-9bcd-5368d837961b" providerId="ADAL" clId="{55F54ABC-6D78-49F5-8110-EA7C6AFDD730}" dt="2023-10-26T13:44:29.625" v="124" actId="478"/>
          <ac:cxnSpMkLst>
            <pc:docMk/>
            <pc:sldMk cId="3262308052" sldId="6518"/>
            <ac:cxnSpMk id="14" creationId="{417ED823-AF09-5FC5-BC8D-AF38961F0985}"/>
          </ac:cxnSpMkLst>
        </pc:cxnChg>
      </pc:sldChg>
      <pc:sldChg chg="addSp delSp modSp new mod">
        <pc:chgData name="Niittymies Aleksi" userId="00c1d702-9a1a-46cb-9bcd-5368d837961b" providerId="ADAL" clId="{55F54ABC-6D78-49F5-8110-EA7C6AFDD730}" dt="2023-10-28T18:40:44.684" v="2712" actId="20577"/>
        <pc:sldMkLst>
          <pc:docMk/>
          <pc:sldMk cId="2293747233" sldId="6519"/>
        </pc:sldMkLst>
        <pc:spChg chg="mod">
          <ac:chgData name="Niittymies Aleksi" userId="00c1d702-9a1a-46cb-9bcd-5368d837961b" providerId="ADAL" clId="{55F54ABC-6D78-49F5-8110-EA7C6AFDD730}" dt="2023-10-26T14:59:58.753" v="293" actId="20577"/>
          <ac:spMkLst>
            <pc:docMk/>
            <pc:sldMk cId="2293747233" sldId="6519"/>
            <ac:spMk id="2" creationId="{EB9470BD-37F2-F9DF-AEAE-BA866A79DD00}"/>
          </ac:spMkLst>
        </pc:spChg>
        <pc:spChg chg="del">
          <ac:chgData name="Niittymies Aleksi" userId="00c1d702-9a1a-46cb-9bcd-5368d837961b" providerId="ADAL" clId="{55F54ABC-6D78-49F5-8110-EA7C6AFDD730}" dt="2023-10-26T14:59:39.729" v="262" actId="478"/>
          <ac:spMkLst>
            <pc:docMk/>
            <pc:sldMk cId="2293747233" sldId="6519"/>
            <ac:spMk id="3" creationId="{4955E51B-EB34-D6EA-C88B-EDA039474A7F}"/>
          </ac:spMkLst>
        </pc:spChg>
        <pc:spChg chg="add mod">
          <ac:chgData name="Niittymies Aleksi" userId="00c1d702-9a1a-46cb-9bcd-5368d837961b" providerId="ADAL" clId="{55F54ABC-6D78-49F5-8110-EA7C6AFDD730}" dt="2023-10-28T18:40:44.684" v="2712" actId="20577"/>
          <ac:spMkLst>
            <pc:docMk/>
            <pc:sldMk cId="2293747233" sldId="6519"/>
            <ac:spMk id="5" creationId="{E04B41A7-03B6-3F6A-B1CF-627B7D40E920}"/>
          </ac:spMkLst>
        </pc:spChg>
        <pc:graphicFrameChg chg="add mod modGraphic">
          <ac:chgData name="Niittymies Aleksi" userId="00c1d702-9a1a-46cb-9bcd-5368d837961b" providerId="ADAL" clId="{55F54ABC-6D78-49F5-8110-EA7C6AFDD730}" dt="2023-10-26T15:02:36.986" v="301" actId="12385"/>
          <ac:graphicFrameMkLst>
            <pc:docMk/>
            <pc:sldMk cId="2293747233" sldId="6519"/>
            <ac:graphicFrameMk id="4" creationId="{1EF669D7-A6D0-7FEB-630E-7C948D3B785C}"/>
          </ac:graphicFrameMkLst>
        </pc:graphicFrameChg>
      </pc:sldChg>
      <pc:sldChg chg="addSp delSp modSp add mod">
        <pc:chgData name="Niittymies Aleksi" userId="00c1d702-9a1a-46cb-9bcd-5368d837961b" providerId="ADAL" clId="{55F54ABC-6D78-49F5-8110-EA7C6AFDD730}" dt="2023-10-26T15:03:02.327" v="307" actId="14100"/>
        <pc:sldMkLst>
          <pc:docMk/>
          <pc:sldMk cId="2886959941" sldId="6520"/>
        </pc:sldMkLst>
        <pc:graphicFrameChg chg="add del mod">
          <ac:chgData name="Niittymies Aleksi" userId="00c1d702-9a1a-46cb-9bcd-5368d837961b" providerId="ADAL" clId="{55F54ABC-6D78-49F5-8110-EA7C6AFDD730}" dt="2023-10-26T15:02:06.210" v="297"/>
          <ac:graphicFrameMkLst>
            <pc:docMk/>
            <pc:sldMk cId="2886959941" sldId="6520"/>
            <ac:graphicFrameMk id="3" creationId="{64863A86-066D-467F-75A4-F3DB12091EB5}"/>
          </ac:graphicFrameMkLst>
        </pc:graphicFrameChg>
        <pc:graphicFrameChg chg="del">
          <ac:chgData name="Niittymies Aleksi" userId="00c1d702-9a1a-46cb-9bcd-5368d837961b" providerId="ADAL" clId="{55F54ABC-6D78-49F5-8110-EA7C6AFDD730}" dt="2023-10-26T15:01:56.938" v="295" actId="478"/>
          <ac:graphicFrameMkLst>
            <pc:docMk/>
            <pc:sldMk cId="2886959941" sldId="6520"/>
            <ac:graphicFrameMk id="4" creationId="{1EF669D7-A6D0-7FEB-630E-7C948D3B785C}"/>
          </ac:graphicFrameMkLst>
        </pc:graphicFrameChg>
        <pc:graphicFrameChg chg="add mod modGraphic">
          <ac:chgData name="Niittymies Aleksi" userId="00c1d702-9a1a-46cb-9bcd-5368d837961b" providerId="ADAL" clId="{55F54ABC-6D78-49F5-8110-EA7C6AFDD730}" dt="2023-10-26T15:03:02.327" v="307" actId="14100"/>
          <ac:graphicFrameMkLst>
            <pc:docMk/>
            <pc:sldMk cId="2886959941" sldId="6520"/>
            <ac:graphicFrameMk id="5" creationId="{AA2D9C4C-4BDE-971B-DD35-2580EDBF70E6}"/>
          </ac:graphicFrameMkLst>
        </pc:graphicFrameChg>
      </pc:sldChg>
      <pc:sldChg chg="addSp delSp modSp add mod">
        <pc:chgData name="Niittymies Aleksi" userId="00c1d702-9a1a-46cb-9bcd-5368d837961b" providerId="ADAL" clId="{55F54ABC-6D78-49F5-8110-EA7C6AFDD730}" dt="2023-10-26T18:08:30.880" v="1909" actId="20577"/>
        <pc:sldMkLst>
          <pc:docMk/>
          <pc:sldMk cId="4190350582" sldId="6521"/>
        </pc:sldMkLst>
        <pc:spChg chg="mod">
          <ac:chgData name="Niittymies Aleksi" userId="00c1d702-9a1a-46cb-9bcd-5368d837961b" providerId="ADAL" clId="{55F54ABC-6D78-49F5-8110-EA7C6AFDD730}" dt="2023-10-26T15:25:05.132" v="930" actId="20577"/>
          <ac:spMkLst>
            <pc:docMk/>
            <pc:sldMk cId="4190350582" sldId="6521"/>
            <ac:spMk id="2" creationId="{DAF2281E-D9A1-4D78-88F1-D5A2007BE0D9}"/>
          </ac:spMkLst>
        </pc:spChg>
        <pc:spChg chg="mod">
          <ac:chgData name="Niittymies Aleksi" userId="00c1d702-9a1a-46cb-9bcd-5368d837961b" providerId="ADAL" clId="{55F54ABC-6D78-49F5-8110-EA7C6AFDD730}" dt="2023-10-26T16:40:00.449" v="1251" actId="113"/>
          <ac:spMkLst>
            <pc:docMk/>
            <pc:sldMk cId="4190350582" sldId="6521"/>
            <ac:spMk id="3" creationId="{5F669965-2C37-4E46-9B17-C284E9EEEBCD}"/>
          </ac:spMkLst>
        </pc:spChg>
        <pc:spChg chg="add mod">
          <ac:chgData name="Niittymies Aleksi" userId="00c1d702-9a1a-46cb-9bcd-5368d837961b" providerId="ADAL" clId="{55F54ABC-6D78-49F5-8110-EA7C6AFDD730}" dt="2023-10-26T16:39:53.921" v="1248" actId="113"/>
          <ac:spMkLst>
            <pc:docMk/>
            <pc:sldMk cId="4190350582" sldId="6521"/>
            <ac:spMk id="4" creationId="{850F3264-B6C0-78D1-D4D6-A07ADC7DB9CF}"/>
          </ac:spMkLst>
        </pc:spChg>
        <pc:spChg chg="add del mod">
          <ac:chgData name="Niittymies Aleksi" userId="00c1d702-9a1a-46cb-9bcd-5368d837961b" providerId="ADAL" clId="{55F54ABC-6D78-49F5-8110-EA7C6AFDD730}" dt="2023-10-26T15:26:16.941" v="962" actId="11529"/>
          <ac:spMkLst>
            <pc:docMk/>
            <pc:sldMk cId="4190350582" sldId="6521"/>
            <ac:spMk id="5" creationId="{038DF308-4F9C-3571-ED54-0BFC051A39CF}"/>
          </ac:spMkLst>
        </pc:spChg>
        <pc:spChg chg="add mod">
          <ac:chgData name="Niittymies Aleksi" userId="00c1d702-9a1a-46cb-9bcd-5368d837961b" providerId="ADAL" clId="{55F54ABC-6D78-49F5-8110-EA7C6AFDD730}" dt="2023-10-26T15:27:47.466" v="1105" actId="1076"/>
          <ac:spMkLst>
            <pc:docMk/>
            <pc:sldMk cId="4190350582" sldId="6521"/>
            <ac:spMk id="6" creationId="{DC2C7088-4760-0ABB-A126-3F2385D5944B}"/>
          </ac:spMkLst>
        </pc:spChg>
        <pc:spChg chg="add mod">
          <ac:chgData name="Niittymies Aleksi" userId="00c1d702-9a1a-46cb-9bcd-5368d837961b" providerId="ADAL" clId="{55F54ABC-6D78-49F5-8110-EA7C6AFDD730}" dt="2023-10-26T15:27:53.793" v="1106" actId="1076"/>
          <ac:spMkLst>
            <pc:docMk/>
            <pc:sldMk cId="4190350582" sldId="6521"/>
            <ac:spMk id="7" creationId="{26558A34-A39A-F313-3BF7-1D364AF3CEDC}"/>
          </ac:spMkLst>
        </pc:spChg>
        <pc:spChg chg="add mod">
          <ac:chgData name="Niittymies Aleksi" userId="00c1d702-9a1a-46cb-9bcd-5368d837961b" providerId="ADAL" clId="{55F54ABC-6D78-49F5-8110-EA7C6AFDD730}" dt="2023-10-26T18:08:30.880" v="1909" actId="20577"/>
          <ac:spMkLst>
            <pc:docMk/>
            <pc:sldMk cId="4190350582" sldId="6521"/>
            <ac:spMk id="12" creationId="{708E218C-3DBC-09CF-2538-7B7D21AD6CD6}"/>
          </ac:spMkLst>
        </pc:spChg>
        <pc:picChg chg="add mod">
          <ac:chgData name="Niittymies Aleksi" userId="00c1d702-9a1a-46cb-9bcd-5368d837961b" providerId="ADAL" clId="{55F54ABC-6D78-49F5-8110-EA7C6AFDD730}" dt="2023-10-26T16:39:15.928" v="1245" actId="1076"/>
          <ac:picMkLst>
            <pc:docMk/>
            <pc:sldMk cId="4190350582" sldId="6521"/>
            <ac:picMk id="9" creationId="{2E48CDBF-CA1B-CC6F-9C8E-7F5689713863}"/>
          </ac:picMkLst>
        </pc:picChg>
        <pc:picChg chg="add mod">
          <ac:chgData name="Niittymies Aleksi" userId="00c1d702-9a1a-46cb-9bcd-5368d837961b" providerId="ADAL" clId="{55F54ABC-6D78-49F5-8110-EA7C6AFDD730}" dt="2023-10-26T16:39:12.279" v="1244" actId="1076"/>
          <ac:picMkLst>
            <pc:docMk/>
            <pc:sldMk cId="4190350582" sldId="6521"/>
            <ac:picMk id="11" creationId="{A2A365BD-2192-8609-9BA9-86889D4F5BE6}"/>
          </ac:picMkLst>
        </pc:picChg>
      </pc:sldChg>
      <pc:sldChg chg="addSp delSp modSp add del mod">
        <pc:chgData name="Niittymies Aleksi" userId="00c1d702-9a1a-46cb-9bcd-5368d837961b" providerId="ADAL" clId="{55F54ABC-6D78-49F5-8110-EA7C6AFDD730}" dt="2023-10-26T16:38:17.547" v="1239" actId="47"/>
        <pc:sldMkLst>
          <pc:docMk/>
          <pc:sldMk cId="241546159" sldId="6522"/>
        </pc:sldMkLst>
        <pc:spChg chg="mod">
          <ac:chgData name="Niittymies Aleksi" userId="00c1d702-9a1a-46cb-9bcd-5368d837961b" providerId="ADAL" clId="{55F54ABC-6D78-49F5-8110-EA7C6AFDD730}" dt="2023-10-26T15:25:11.819" v="955" actId="20577"/>
          <ac:spMkLst>
            <pc:docMk/>
            <pc:sldMk cId="241546159" sldId="6522"/>
            <ac:spMk id="2" creationId="{DAF2281E-D9A1-4D78-88F1-D5A2007BE0D9}"/>
          </ac:spMkLst>
        </pc:spChg>
        <pc:spChg chg="del">
          <ac:chgData name="Niittymies Aleksi" userId="00c1d702-9a1a-46cb-9bcd-5368d837961b" providerId="ADAL" clId="{55F54ABC-6D78-49F5-8110-EA7C6AFDD730}" dt="2023-10-26T15:21:12.041" v="718" actId="478"/>
          <ac:spMkLst>
            <pc:docMk/>
            <pc:sldMk cId="241546159" sldId="6522"/>
            <ac:spMk id="3" creationId="{5F669965-2C37-4E46-9B17-C284E9EEEBCD}"/>
          </ac:spMkLst>
        </pc:spChg>
        <pc:spChg chg="del">
          <ac:chgData name="Niittymies Aleksi" userId="00c1d702-9a1a-46cb-9bcd-5368d837961b" providerId="ADAL" clId="{55F54ABC-6D78-49F5-8110-EA7C6AFDD730}" dt="2023-10-26T15:21:18.221" v="720" actId="478"/>
          <ac:spMkLst>
            <pc:docMk/>
            <pc:sldMk cId="241546159" sldId="6522"/>
            <ac:spMk id="4" creationId="{850F3264-B6C0-78D1-D4D6-A07ADC7DB9CF}"/>
          </ac:spMkLst>
        </pc:spChg>
        <pc:spChg chg="add del mod">
          <ac:chgData name="Niittymies Aleksi" userId="00c1d702-9a1a-46cb-9bcd-5368d837961b" providerId="ADAL" clId="{55F54ABC-6D78-49F5-8110-EA7C6AFDD730}" dt="2023-10-26T15:21:16.047" v="719" actId="478"/>
          <ac:spMkLst>
            <pc:docMk/>
            <pc:sldMk cId="241546159" sldId="6522"/>
            <ac:spMk id="6" creationId="{2C6B515C-9FDA-6117-C0F7-1AB3FD949996}"/>
          </ac:spMkLst>
        </pc:spChg>
        <pc:spChg chg="add mod">
          <ac:chgData name="Niittymies Aleksi" userId="00c1d702-9a1a-46cb-9bcd-5368d837961b" providerId="ADAL" clId="{55F54ABC-6D78-49F5-8110-EA7C6AFDD730}" dt="2023-10-26T15:28:15.407" v="1107" actId="164"/>
          <ac:spMkLst>
            <pc:docMk/>
            <pc:sldMk cId="241546159" sldId="6522"/>
            <ac:spMk id="7" creationId="{80E3BC81-5A92-4981-8E75-F0B3EC79E449}"/>
          </ac:spMkLst>
        </pc:spChg>
        <pc:spChg chg="add mod">
          <ac:chgData name="Niittymies Aleksi" userId="00c1d702-9a1a-46cb-9bcd-5368d837961b" providerId="ADAL" clId="{55F54ABC-6D78-49F5-8110-EA7C6AFDD730}" dt="2023-10-26T15:28:15.407" v="1107" actId="164"/>
          <ac:spMkLst>
            <pc:docMk/>
            <pc:sldMk cId="241546159" sldId="6522"/>
            <ac:spMk id="8" creationId="{88433223-A26B-3E07-95A9-28967CF67461}"/>
          </ac:spMkLst>
        </pc:spChg>
        <pc:spChg chg="add mod">
          <ac:chgData name="Niittymies Aleksi" userId="00c1d702-9a1a-46cb-9bcd-5368d837961b" providerId="ADAL" clId="{55F54ABC-6D78-49F5-8110-EA7C6AFDD730}" dt="2023-10-26T16:34:11.162" v="1223" actId="20577"/>
          <ac:spMkLst>
            <pc:docMk/>
            <pc:sldMk cId="241546159" sldId="6522"/>
            <ac:spMk id="9" creationId="{6C5DB6F0-67ED-B1D5-EF72-52A520198609}"/>
          </ac:spMkLst>
        </pc:spChg>
        <pc:spChg chg="add mod">
          <ac:chgData name="Niittymies Aleksi" userId="00c1d702-9a1a-46cb-9bcd-5368d837961b" providerId="ADAL" clId="{55F54ABC-6D78-49F5-8110-EA7C6AFDD730}" dt="2023-10-26T15:28:15.407" v="1107" actId="164"/>
          <ac:spMkLst>
            <pc:docMk/>
            <pc:sldMk cId="241546159" sldId="6522"/>
            <ac:spMk id="10" creationId="{E3303E63-C1A6-065A-04DC-B18F4E45E831}"/>
          </ac:spMkLst>
        </pc:spChg>
        <pc:spChg chg="add mod">
          <ac:chgData name="Niittymies Aleksi" userId="00c1d702-9a1a-46cb-9bcd-5368d837961b" providerId="ADAL" clId="{55F54ABC-6D78-49F5-8110-EA7C6AFDD730}" dt="2023-10-26T15:28:15.407" v="1107" actId="164"/>
          <ac:spMkLst>
            <pc:docMk/>
            <pc:sldMk cId="241546159" sldId="6522"/>
            <ac:spMk id="11" creationId="{D115A5F2-85E8-97EE-5709-3AB7905D4C04}"/>
          </ac:spMkLst>
        </pc:spChg>
        <pc:spChg chg="add mod">
          <ac:chgData name="Niittymies Aleksi" userId="00c1d702-9a1a-46cb-9bcd-5368d837961b" providerId="ADAL" clId="{55F54ABC-6D78-49F5-8110-EA7C6AFDD730}" dt="2023-10-26T16:34:08.345" v="1220" actId="20577"/>
          <ac:spMkLst>
            <pc:docMk/>
            <pc:sldMk cId="241546159" sldId="6522"/>
            <ac:spMk id="12" creationId="{BEA91B48-C695-7269-558F-324CFD4C0EC6}"/>
          </ac:spMkLst>
        </pc:spChg>
        <pc:spChg chg="add mod">
          <ac:chgData name="Niittymies Aleksi" userId="00c1d702-9a1a-46cb-9bcd-5368d837961b" providerId="ADAL" clId="{55F54ABC-6D78-49F5-8110-EA7C6AFDD730}" dt="2023-10-26T15:28:15.407" v="1107" actId="164"/>
          <ac:spMkLst>
            <pc:docMk/>
            <pc:sldMk cId="241546159" sldId="6522"/>
            <ac:spMk id="13" creationId="{7633D7C6-A413-8ABA-E776-AA352F6FA433}"/>
          </ac:spMkLst>
        </pc:spChg>
        <pc:spChg chg="add mod ord">
          <ac:chgData name="Niittymies Aleksi" userId="00c1d702-9a1a-46cb-9bcd-5368d837961b" providerId="ADAL" clId="{55F54ABC-6D78-49F5-8110-EA7C6AFDD730}" dt="2023-10-26T15:28:15.407" v="1107" actId="164"/>
          <ac:spMkLst>
            <pc:docMk/>
            <pc:sldMk cId="241546159" sldId="6522"/>
            <ac:spMk id="14" creationId="{4E0E114F-36B9-FD8B-E5D8-B2281F51AA35}"/>
          </ac:spMkLst>
        </pc:spChg>
        <pc:grpChg chg="add mod">
          <ac:chgData name="Niittymies Aleksi" userId="00c1d702-9a1a-46cb-9bcd-5368d837961b" providerId="ADAL" clId="{55F54ABC-6D78-49F5-8110-EA7C6AFDD730}" dt="2023-10-26T15:28:22.698" v="1110" actId="1076"/>
          <ac:grpSpMkLst>
            <pc:docMk/>
            <pc:sldMk cId="241546159" sldId="6522"/>
            <ac:grpSpMk id="15" creationId="{F2A05559-52C3-F152-626B-24B5FB82E86C}"/>
          </ac:grpSpMkLst>
        </pc:grpChg>
      </pc:sldChg>
      <pc:sldChg chg="addSp delSp modSp add mod">
        <pc:chgData name="Niittymies Aleksi" userId="00c1d702-9a1a-46cb-9bcd-5368d837961b" providerId="ADAL" clId="{55F54ABC-6D78-49F5-8110-EA7C6AFDD730}" dt="2023-10-28T14:56:57.017" v="2007" actId="1076"/>
        <pc:sldMkLst>
          <pc:docMk/>
          <pc:sldMk cId="821067728" sldId="6523"/>
        </pc:sldMkLst>
        <pc:spChg chg="add mod ord">
          <ac:chgData name="Niittymies Aleksi" userId="00c1d702-9a1a-46cb-9bcd-5368d837961b" providerId="ADAL" clId="{55F54ABC-6D78-49F5-8110-EA7C6AFDD730}" dt="2023-10-28T14:56:37.049" v="2005" actId="164"/>
          <ac:spMkLst>
            <pc:docMk/>
            <pc:sldMk cId="821067728" sldId="6523"/>
            <ac:spMk id="3" creationId="{FCC2011B-9BDF-36BD-164E-F8A35A2C8275}"/>
          </ac:spMkLst>
        </pc:spChg>
        <pc:spChg chg="add mod ord">
          <ac:chgData name="Niittymies Aleksi" userId="00c1d702-9a1a-46cb-9bcd-5368d837961b" providerId="ADAL" clId="{55F54ABC-6D78-49F5-8110-EA7C6AFDD730}" dt="2023-10-28T14:56:37.049" v="2005" actId="164"/>
          <ac:spMkLst>
            <pc:docMk/>
            <pc:sldMk cId="821067728" sldId="6523"/>
            <ac:spMk id="4" creationId="{5EF99DC9-4B94-24C9-B4CE-20CF6F6FEF02}"/>
          </ac:spMkLst>
        </pc:spChg>
        <pc:spChg chg="add mod">
          <ac:chgData name="Niittymies Aleksi" userId="00c1d702-9a1a-46cb-9bcd-5368d837961b" providerId="ADAL" clId="{55F54ABC-6D78-49F5-8110-EA7C6AFDD730}" dt="2023-10-28T14:56:53.408" v="2006" actId="164"/>
          <ac:spMkLst>
            <pc:docMk/>
            <pc:sldMk cId="821067728" sldId="6523"/>
            <ac:spMk id="5" creationId="{01D91C4C-40ED-C1C8-F74C-CE86DAEF06F5}"/>
          </ac:spMkLst>
        </pc:spChg>
        <pc:spChg chg="add mod ord">
          <ac:chgData name="Niittymies Aleksi" userId="00c1d702-9a1a-46cb-9bcd-5368d837961b" providerId="ADAL" clId="{55F54ABC-6D78-49F5-8110-EA7C6AFDD730}" dt="2023-10-28T14:56:53.408" v="2006" actId="164"/>
          <ac:spMkLst>
            <pc:docMk/>
            <pc:sldMk cId="821067728" sldId="6523"/>
            <ac:spMk id="6" creationId="{66769A14-17C7-F778-2E9A-1F49D4A976A0}"/>
          </ac:spMkLst>
        </pc:spChg>
        <pc:spChg chg="mod">
          <ac:chgData name="Niittymies Aleksi" userId="00c1d702-9a1a-46cb-9bcd-5368d837961b" providerId="ADAL" clId="{55F54ABC-6D78-49F5-8110-EA7C6AFDD730}" dt="2023-10-28T14:56:35.390" v="2004" actId="164"/>
          <ac:spMkLst>
            <pc:docMk/>
            <pc:sldMk cId="821067728" sldId="6523"/>
            <ac:spMk id="7" creationId="{80E3BC81-5A92-4981-8E75-F0B3EC79E449}"/>
          </ac:spMkLst>
        </pc:spChg>
        <pc:spChg chg="mod">
          <ac:chgData name="Niittymies Aleksi" userId="00c1d702-9a1a-46cb-9bcd-5368d837961b" providerId="ADAL" clId="{55F54ABC-6D78-49F5-8110-EA7C6AFDD730}" dt="2023-10-28T14:56:35.390" v="2004" actId="164"/>
          <ac:spMkLst>
            <pc:docMk/>
            <pc:sldMk cId="821067728" sldId="6523"/>
            <ac:spMk id="8" creationId="{88433223-A26B-3E07-95A9-28967CF67461}"/>
          </ac:spMkLst>
        </pc:spChg>
        <pc:spChg chg="del">
          <ac:chgData name="Niittymies Aleksi" userId="00c1d702-9a1a-46cb-9bcd-5368d837961b" providerId="ADAL" clId="{55F54ABC-6D78-49F5-8110-EA7C6AFDD730}" dt="2023-10-26T16:34:54.780" v="1233" actId="478"/>
          <ac:spMkLst>
            <pc:docMk/>
            <pc:sldMk cId="821067728" sldId="6523"/>
            <ac:spMk id="9" creationId="{6C5DB6F0-67ED-B1D5-EF72-52A520198609}"/>
          </ac:spMkLst>
        </pc:spChg>
        <pc:spChg chg="mod">
          <ac:chgData name="Niittymies Aleksi" userId="00c1d702-9a1a-46cb-9bcd-5368d837961b" providerId="ADAL" clId="{55F54ABC-6D78-49F5-8110-EA7C6AFDD730}" dt="2023-10-28T14:56:35.390" v="2004" actId="164"/>
          <ac:spMkLst>
            <pc:docMk/>
            <pc:sldMk cId="821067728" sldId="6523"/>
            <ac:spMk id="10" creationId="{E3303E63-C1A6-065A-04DC-B18F4E45E831}"/>
          </ac:spMkLst>
        </pc:spChg>
        <pc:spChg chg="mod">
          <ac:chgData name="Niittymies Aleksi" userId="00c1d702-9a1a-46cb-9bcd-5368d837961b" providerId="ADAL" clId="{55F54ABC-6D78-49F5-8110-EA7C6AFDD730}" dt="2023-10-28T14:56:35.390" v="2004" actId="164"/>
          <ac:spMkLst>
            <pc:docMk/>
            <pc:sldMk cId="821067728" sldId="6523"/>
            <ac:spMk id="11" creationId="{D115A5F2-85E8-97EE-5709-3AB7905D4C04}"/>
          </ac:spMkLst>
        </pc:spChg>
        <pc:spChg chg="mod">
          <ac:chgData name="Niittymies Aleksi" userId="00c1d702-9a1a-46cb-9bcd-5368d837961b" providerId="ADAL" clId="{55F54ABC-6D78-49F5-8110-EA7C6AFDD730}" dt="2023-10-28T14:56:35.390" v="2004" actId="164"/>
          <ac:spMkLst>
            <pc:docMk/>
            <pc:sldMk cId="821067728" sldId="6523"/>
            <ac:spMk id="12" creationId="{BEA91B48-C695-7269-558F-324CFD4C0EC6}"/>
          </ac:spMkLst>
        </pc:spChg>
        <pc:spChg chg="mod">
          <ac:chgData name="Niittymies Aleksi" userId="00c1d702-9a1a-46cb-9bcd-5368d837961b" providerId="ADAL" clId="{55F54ABC-6D78-49F5-8110-EA7C6AFDD730}" dt="2023-10-28T14:56:35.390" v="2004" actId="164"/>
          <ac:spMkLst>
            <pc:docMk/>
            <pc:sldMk cId="821067728" sldId="6523"/>
            <ac:spMk id="13" creationId="{7633D7C6-A413-8ABA-E776-AA352F6FA433}"/>
          </ac:spMkLst>
        </pc:spChg>
        <pc:spChg chg="mod">
          <ac:chgData name="Niittymies Aleksi" userId="00c1d702-9a1a-46cb-9bcd-5368d837961b" providerId="ADAL" clId="{55F54ABC-6D78-49F5-8110-EA7C6AFDD730}" dt="2023-10-28T14:56:35.390" v="2004" actId="164"/>
          <ac:spMkLst>
            <pc:docMk/>
            <pc:sldMk cId="821067728" sldId="6523"/>
            <ac:spMk id="14" creationId="{4E0E114F-36B9-FD8B-E5D8-B2281F51AA35}"/>
          </ac:spMkLst>
        </pc:spChg>
        <pc:spChg chg="add mod">
          <ac:chgData name="Niittymies Aleksi" userId="00c1d702-9a1a-46cb-9bcd-5368d837961b" providerId="ADAL" clId="{55F54ABC-6D78-49F5-8110-EA7C6AFDD730}" dt="2023-10-28T14:56:53.408" v="2006" actId="164"/>
          <ac:spMkLst>
            <pc:docMk/>
            <pc:sldMk cId="821067728" sldId="6523"/>
            <ac:spMk id="16" creationId="{F1EBD743-1B43-4302-761C-999A80BAE33D}"/>
          </ac:spMkLst>
        </pc:spChg>
        <pc:spChg chg="add del mod">
          <ac:chgData name="Niittymies Aleksi" userId="00c1d702-9a1a-46cb-9bcd-5368d837961b" providerId="ADAL" clId="{55F54ABC-6D78-49F5-8110-EA7C6AFDD730}" dt="2023-10-26T18:08:35.615" v="1910" actId="478"/>
          <ac:spMkLst>
            <pc:docMk/>
            <pc:sldMk cId="821067728" sldId="6523"/>
            <ac:spMk id="17" creationId="{2A5B9633-026C-1504-D72E-94B778F49DD5}"/>
          </ac:spMkLst>
        </pc:spChg>
        <pc:spChg chg="add mod">
          <ac:chgData name="Niittymies Aleksi" userId="00c1d702-9a1a-46cb-9bcd-5368d837961b" providerId="ADAL" clId="{55F54ABC-6D78-49F5-8110-EA7C6AFDD730}" dt="2023-10-26T18:08:36.005" v="1911"/>
          <ac:spMkLst>
            <pc:docMk/>
            <pc:sldMk cId="821067728" sldId="6523"/>
            <ac:spMk id="18" creationId="{CF8A7F8F-E661-31ED-21AF-3C7927C270AC}"/>
          </ac:spMkLst>
        </pc:spChg>
        <pc:grpChg chg="mod">
          <ac:chgData name="Niittymies Aleksi" userId="00c1d702-9a1a-46cb-9bcd-5368d837961b" providerId="ADAL" clId="{55F54ABC-6D78-49F5-8110-EA7C6AFDD730}" dt="2023-10-28T14:56:37.049" v="2005" actId="164"/>
          <ac:grpSpMkLst>
            <pc:docMk/>
            <pc:sldMk cId="821067728" sldId="6523"/>
            <ac:grpSpMk id="15" creationId="{F2A05559-52C3-F152-626B-24B5FB82E86C}"/>
          </ac:grpSpMkLst>
        </pc:grpChg>
        <pc:grpChg chg="add mod">
          <ac:chgData name="Niittymies Aleksi" userId="00c1d702-9a1a-46cb-9bcd-5368d837961b" providerId="ADAL" clId="{55F54ABC-6D78-49F5-8110-EA7C6AFDD730}" dt="2023-10-28T14:56:53.408" v="2006" actId="164"/>
          <ac:grpSpMkLst>
            <pc:docMk/>
            <pc:sldMk cId="821067728" sldId="6523"/>
            <ac:grpSpMk id="19" creationId="{8FE3618A-35FC-A417-0813-C0237EA2F6C9}"/>
          </ac:grpSpMkLst>
        </pc:grpChg>
        <pc:grpChg chg="add mod">
          <ac:chgData name="Niittymies Aleksi" userId="00c1d702-9a1a-46cb-9bcd-5368d837961b" providerId="ADAL" clId="{55F54ABC-6D78-49F5-8110-EA7C6AFDD730}" dt="2023-10-28T14:56:57.017" v="2007" actId="1076"/>
          <ac:grpSpMkLst>
            <pc:docMk/>
            <pc:sldMk cId="821067728" sldId="6523"/>
            <ac:grpSpMk id="20" creationId="{40035BE6-4E89-A57A-DDCB-7EC59CDFD65F}"/>
          </ac:grpSpMkLst>
        </pc:grpChg>
      </pc:sldChg>
      <pc:sldChg chg="modSp add del mod">
        <pc:chgData name="Niittymies Aleksi" userId="00c1d702-9a1a-46cb-9bcd-5368d837961b" providerId="ADAL" clId="{55F54ABC-6D78-49F5-8110-EA7C6AFDD730}" dt="2023-10-26T18:00:36.803" v="1459" actId="47"/>
        <pc:sldMkLst>
          <pc:docMk/>
          <pc:sldMk cId="2307450585" sldId="6524"/>
        </pc:sldMkLst>
        <pc:spChg chg="mod">
          <ac:chgData name="Niittymies Aleksi" userId="00c1d702-9a1a-46cb-9bcd-5368d837961b" providerId="ADAL" clId="{55F54ABC-6D78-49F5-8110-EA7C6AFDD730}" dt="2023-10-26T17:55:17.376" v="1387" actId="20577"/>
          <ac:spMkLst>
            <pc:docMk/>
            <pc:sldMk cId="2307450585" sldId="6524"/>
            <ac:spMk id="5" creationId="{4E79B233-C263-4355-BEE2-6A4CD1ED5B59}"/>
          </ac:spMkLst>
        </pc:spChg>
        <pc:spChg chg="mod">
          <ac:chgData name="Niittymies Aleksi" userId="00c1d702-9a1a-46cb-9bcd-5368d837961b" providerId="ADAL" clId="{55F54ABC-6D78-49F5-8110-EA7C6AFDD730}" dt="2023-10-26T17:55:13.217" v="1375" actId="5793"/>
          <ac:spMkLst>
            <pc:docMk/>
            <pc:sldMk cId="2307450585" sldId="6524"/>
            <ac:spMk id="6" creationId="{CA37F30B-0C15-4C20-B203-B86996A28ECF}"/>
          </ac:spMkLst>
        </pc:spChg>
      </pc:sldChg>
      <pc:sldChg chg="modSp add mod">
        <pc:chgData name="Niittymies Aleksi" userId="00c1d702-9a1a-46cb-9bcd-5368d837961b" providerId="ADAL" clId="{55F54ABC-6D78-49F5-8110-EA7C6AFDD730}" dt="2023-10-29T17:11:06.356" v="3110" actId="20577"/>
        <pc:sldMkLst>
          <pc:docMk/>
          <pc:sldMk cId="1627617651" sldId="6525"/>
        </pc:sldMkLst>
        <pc:spChg chg="mod">
          <ac:chgData name="Niittymies Aleksi" userId="00c1d702-9a1a-46cb-9bcd-5368d837961b" providerId="ADAL" clId="{55F54ABC-6D78-49F5-8110-EA7C6AFDD730}" dt="2023-10-26T18:05:09.023" v="1870" actId="20577"/>
          <ac:spMkLst>
            <pc:docMk/>
            <pc:sldMk cId="1627617651" sldId="6525"/>
            <ac:spMk id="5" creationId="{4E79B233-C263-4355-BEE2-6A4CD1ED5B59}"/>
          </ac:spMkLst>
        </pc:spChg>
        <pc:spChg chg="mod">
          <ac:chgData name="Niittymies Aleksi" userId="00c1d702-9a1a-46cb-9bcd-5368d837961b" providerId="ADAL" clId="{55F54ABC-6D78-49F5-8110-EA7C6AFDD730}" dt="2023-10-29T17:11:06.356" v="3110" actId="20577"/>
          <ac:spMkLst>
            <pc:docMk/>
            <pc:sldMk cId="1627617651" sldId="6525"/>
            <ac:spMk id="6" creationId="{CA37F30B-0C15-4C20-B203-B86996A28ECF}"/>
          </ac:spMkLst>
        </pc:spChg>
      </pc:sldChg>
      <pc:sldChg chg="addSp delSp modSp new del mod">
        <pc:chgData name="Niittymies Aleksi" userId="00c1d702-9a1a-46cb-9bcd-5368d837961b" providerId="ADAL" clId="{55F54ABC-6D78-49F5-8110-EA7C6AFDD730}" dt="2023-10-28T15:01:33.898" v="2446" actId="47"/>
        <pc:sldMkLst>
          <pc:docMk/>
          <pc:sldMk cId="2099363372" sldId="6526"/>
        </pc:sldMkLst>
        <pc:spChg chg="mod">
          <ac:chgData name="Niittymies Aleksi" userId="00c1d702-9a1a-46cb-9bcd-5368d837961b" providerId="ADAL" clId="{55F54ABC-6D78-49F5-8110-EA7C6AFDD730}" dt="2023-10-28T14:57:14.906" v="2028" actId="20577"/>
          <ac:spMkLst>
            <pc:docMk/>
            <pc:sldMk cId="2099363372" sldId="6526"/>
            <ac:spMk id="2" creationId="{AED7E183-EA04-9F91-3816-8AC7920E4033}"/>
          </ac:spMkLst>
        </pc:spChg>
        <pc:spChg chg="mod">
          <ac:chgData name="Niittymies Aleksi" userId="00c1d702-9a1a-46cb-9bcd-5368d837961b" providerId="ADAL" clId="{55F54ABC-6D78-49F5-8110-EA7C6AFDD730}" dt="2023-10-28T14:57:05.345" v="2009"/>
          <ac:spMkLst>
            <pc:docMk/>
            <pc:sldMk cId="2099363372" sldId="6526"/>
            <ac:spMk id="6" creationId="{FE815B6C-BB41-8982-891E-4D3BBAA25CA4}"/>
          </ac:spMkLst>
        </pc:spChg>
        <pc:spChg chg="mod">
          <ac:chgData name="Niittymies Aleksi" userId="00c1d702-9a1a-46cb-9bcd-5368d837961b" providerId="ADAL" clId="{55F54ABC-6D78-49F5-8110-EA7C6AFDD730}" dt="2023-10-28T14:57:05.345" v="2009"/>
          <ac:spMkLst>
            <pc:docMk/>
            <pc:sldMk cId="2099363372" sldId="6526"/>
            <ac:spMk id="7" creationId="{D33066AC-45B9-2758-AA89-D1DAA568E0EE}"/>
          </ac:spMkLst>
        </pc:spChg>
        <pc:spChg chg="mod">
          <ac:chgData name="Niittymies Aleksi" userId="00c1d702-9a1a-46cb-9bcd-5368d837961b" providerId="ADAL" clId="{55F54ABC-6D78-49F5-8110-EA7C6AFDD730}" dt="2023-10-28T14:57:05.345" v="2009"/>
          <ac:spMkLst>
            <pc:docMk/>
            <pc:sldMk cId="2099363372" sldId="6526"/>
            <ac:spMk id="8" creationId="{D339819F-11A5-D935-D827-B85E9A186E71}"/>
          </ac:spMkLst>
        </pc:spChg>
        <pc:spChg chg="mod">
          <ac:chgData name="Niittymies Aleksi" userId="00c1d702-9a1a-46cb-9bcd-5368d837961b" providerId="ADAL" clId="{55F54ABC-6D78-49F5-8110-EA7C6AFDD730}" dt="2023-10-28T14:57:05.345" v="2009"/>
          <ac:spMkLst>
            <pc:docMk/>
            <pc:sldMk cId="2099363372" sldId="6526"/>
            <ac:spMk id="9" creationId="{375C6588-3A75-F832-C9EC-5778D295647A}"/>
          </ac:spMkLst>
        </pc:spChg>
        <pc:spChg chg="mod">
          <ac:chgData name="Niittymies Aleksi" userId="00c1d702-9a1a-46cb-9bcd-5368d837961b" providerId="ADAL" clId="{55F54ABC-6D78-49F5-8110-EA7C6AFDD730}" dt="2023-10-28T14:57:05.345" v="2009"/>
          <ac:spMkLst>
            <pc:docMk/>
            <pc:sldMk cId="2099363372" sldId="6526"/>
            <ac:spMk id="10" creationId="{6C41608B-156A-49EC-4981-4F8CC959D320}"/>
          </ac:spMkLst>
        </pc:spChg>
        <pc:spChg chg="mod">
          <ac:chgData name="Niittymies Aleksi" userId="00c1d702-9a1a-46cb-9bcd-5368d837961b" providerId="ADAL" clId="{55F54ABC-6D78-49F5-8110-EA7C6AFDD730}" dt="2023-10-28T14:57:05.345" v="2009"/>
          <ac:spMkLst>
            <pc:docMk/>
            <pc:sldMk cId="2099363372" sldId="6526"/>
            <ac:spMk id="12" creationId="{48971BD7-54F2-320F-8FF6-BF0FA3AAB192}"/>
          </ac:spMkLst>
        </pc:spChg>
        <pc:spChg chg="mod">
          <ac:chgData name="Niittymies Aleksi" userId="00c1d702-9a1a-46cb-9bcd-5368d837961b" providerId="ADAL" clId="{55F54ABC-6D78-49F5-8110-EA7C6AFDD730}" dt="2023-10-28T14:57:05.345" v="2009"/>
          <ac:spMkLst>
            <pc:docMk/>
            <pc:sldMk cId="2099363372" sldId="6526"/>
            <ac:spMk id="13" creationId="{0D4CBB67-E5EA-ADFB-FC94-192019ED207B}"/>
          </ac:spMkLst>
        </pc:spChg>
        <pc:spChg chg="mod">
          <ac:chgData name="Niittymies Aleksi" userId="00c1d702-9a1a-46cb-9bcd-5368d837961b" providerId="ADAL" clId="{55F54ABC-6D78-49F5-8110-EA7C6AFDD730}" dt="2023-10-28T14:57:05.345" v="2009"/>
          <ac:spMkLst>
            <pc:docMk/>
            <pc:sldMk cId="2099363372" sldId="6526"/>
            <ac:spMk id="14" creationId="{A4451B36-8322-FF87-C7E6-94F5A575AECC}"/>
          </ac:spMkLst>
        </pc:spChg>
        <pc:spChg chg="mod">
          <ac:chgData name="Niittymies Aleksi" userId="00c1d702-9a1a-46cb-9bcd-5368d837961b" providerId="ADAL" clId="{55F54ABC-6D78-49F5-8110-EA7C6AFDD730}" dt="2023-10-28T14:57:05.345" v="2009"/>
          <ac:spMkLst>
            <pc:docMk/>
            <pc:sldMk cId="2099363372" sldId="6526"/>
            <ac:spMk id="15" creationId="{3B88E665-2A66-8B04-0FB4-9657BF55675D}"/>
          </ac:spMkLst>
        </pc:spChg>
        <pc:spChg chg="mod">
          <ac:chgData name="Niittymies Aleksi" userId="00c1d702-9a1a-46cb-9bcd-5368d837961b" providerId="ADAL" clId="{55F54ABC-6D78-49F5-8110-EA7C6AFDD730}" dt="2023-10-28T14:57:05.345" v="2009"/>
          <ac:spMkLst>
            <pc:docMk/>
            <pc:sldMk cId="2099363372" sldId="6526"/>
            <ac:spMk id="16" creationId="{2E50DE34-D7E8-1630-8476-E1C84A1D6805}"/>
          </ac:spMkLst>
        </pc:spChg>
        <pc:spChg chg="mod">
          <ac:chgData name="Niittymies Aleksi" userId="00c1d702-9a1a-46cb-9bcd-5368d837961b" providerId="ADAL" clId="{55F54ABC-6D78-49F5-8110-EA7C6AFDD730}" dt="2023-10-28T14:57:05.345" v="2009"/>
          <ac:spMkLst>
            <pc:docMk/>
            <pc:sldMk cId="2099363372" sldId="6526"/>
            <ac:spMk id="17" creationId="{8ACD2B7A-E0FD-2858-5959-04127486BD86}"/>
          </ac:spMkLst>
        </pc:spChg>
        <pc:spChg chg="mod">
          <ac:chgData name="Niittymies Aleksi" userId="00c1d702-9a1a-46cb-9bcd-5368d837961b" providerId="ADAL" clId="{55F54ABC-6D78-49F5-8110-EA7C6AFDD730}" dt="2023-10-28T14:57:05.345" v="2009"/>
          <ac:spMkLst>
            <pc:docMk/>
            <pc:sldMk cId="2099363372" sldId="6526"/>
            <ac:spMk id="18" creationId="{770BCE65-ACD4-CD87-4B60-12677F6935C3}"/>
          </ac:spMkLst>
        </pc:spChg>
        <pc:spChg chg="mod">
          <ac:chgData name="Niittymies Aleksi" userId="00c1d702-9a1a-46cb-9bcd-5368d837961b" providerId="ADAL" clId="{55F54ABC-6D78-49F5-8110-EA7C6AFDD730}" dt="2023-10-28T14:57:17.399" v="2029"/>
          <ac:spMkLst>
            <pc:docMk/>
            <pc:sldMk cId="2099363372" sldId="6526"/>
            <ac:spMk id="21" creationId="{6214A28C-904C-48CC-049A-620FF2615036}"/>
          </ac:spMkLst>
        </pc:spChg>
        <pc:spChg chg="mod">
          <ac:chgData name="Niittymies Aleksi" userId="00c1d702-9a1a-46cb-9bcd-5368d837961b" providerId="ADAL" clId="{55F54ABC-6D78-49F5-8110-EA7C6AFDD730}" dt="2023-10-28T14:57:17.399" v="2029"/>
          <ac:spMkLst>
            <pc:docMk/>
            <pc:sldMk cId="2099363372" sldId="6526"/>
            <ac:spMk id="22" creationId="{8C8773D0-D27E-BDE0-CD45-AE970D2D82C2}"/>
          </ac:spMkLst>
        </pc:spChg>
        <pc:spChg chg="mod">
          <ac:chgData name="Niittymies Aleksi" userId="00c1d702-9a1a-46cb-9bcd-5368d837961b" providerId="ADAL" clId="{55F54ABC-6D78-49F5-8110-EA7C6AFDD730}" dt="2023-10-28T14:57:31.698" v="2032" actId="13822"/>
          <ac:spMkLst>
            <pc:docMk/>
            <pc:sldMk cId="2099363372" sldId="6526"/>
            <ac:spMk id="23" creationId="{91218787-A129-F229-FC21-1F7E43EF15BE}"/>
          </ac:spMkLst>
        </pc:spChg>
        <pc:spChg chg="mod">
          <ac:chgData name="Niittymies Aleksi" userId="00c1d702-9a1a-46cb-9bcd-5368d837961b" providerId="ADAL" clId="{55F54ABC-6D78-49F5-8110-EA7C6AFDD730}" dt="2023-10-28T14:57:17.399" v="2029"/>
          <ac:spMkLst>
            <pc:docMk/>
            <pc:sldMk cId="2099363372" sldId="6526"/>
            <ac:spMk id="24" creationId="{B1E7DC67-F250-DDE3-8276-7BE6070D46D9}"/>
          </ac:spMkLst>
        </pc:spChg>
        <pc:spChg chg="mod">
          <ac:chgData name="Niittymies Aleksi" userId="00c1d702-9a1a-46cb-9bcd-5368d837961b" providerId="ADAL" clId="{55F54ABC-6D78-49F5-8110-EA7C6AFDD730}" dt="2023-10-28T14:57:17.399" v="2029"/>
          <ac:spMkLst>
            <pc:docMk/>
            <pc:sldMk cId="2099363372" sldId="6526"/>
            <ac:spMk id="25" creationId="{C40E32E0-6149-B4E7-2A4A-0865EA607B2D}"/>
          </ac:spMkLst>
        </pc:spChg>
        <pc:spChg chg="mod">
          <ac:chgData name="Niittymies Aleksi" userId="00c1d702-9a1a-46cb-9bcd-5368d837961b" providerId="ADAL" clId="{55F54ABC-6D78-49F5-8110-EA7C6AFDD730}" dt="2023-10-28T14:57:17.399" v="2029"/>
          <ac:spMkLst>
            <pc:docMk/>
            <pc:sldMk cId="2099363372" sldId="6526"/>
            <ac:spMk id="27" creationId="{BC7405DB-20EE-FEED-552D-DC2EF2779A70}"/>
          </ac:spMkLst>
        </pc:spChg>
        <pc:spChg chg="mod">
          <ac:chgData name="Niittymies Aleksi" userId="00c1d702-9a1a-46cb-9bcd-5368d837961b" providerId="ADAL" clId="{55F54ABC-6D78-49F5-8110-EA7C6AFDD730}" dt="2023-10-28T14:57:17.399" v="2029"/>
          <ac:spMkLst>
            <pc:docMk/>
            <pc:sldMk cId="2099363372" sldId="6526"/>
            <ac:spMk id="28" creationId="{A305EE78-5B4F-2B1E-2DDD-B0F3C90D89EF}"/>
          </ac:spMkLst>
        </pc:spChg>
        <pc:spChg chg="mod">
          <ac:chgData name="Niittymies Aleksi" userId="00c1d702-9a1a-46cb-9bcd-5368d837961b" providerId="ADAL" clId="{55F54ABC-6D78-49F5-8110-EA7C6AFDD730}" dt="2023-10-28T14:57:17.399" v="2029"/>
          <ac:spMkLst>
            <pc:docMk/>
            <pc:sldMk cId="2099363372" sldId="6526"/>
            <ac:spMk id="29" creationId="{748A5610-E062-055C-6B1C-DF9D59817B6F}"/>
          </ac:spMkLst>
        </pc:spChg>
        <pc:spChg chg="mod">
          <ac:chgData name="Niittymies Aleksi" userId="00c1d702-9a1a-46cb-9bcd-5368d837961b" providerId="ADAL" clId="{55F54ABC-6D78-49F5-8110-EA7C6AFDD730}" dt="2023-10-28T14:57:17.399" v="2029"/>
          <ac:spMkLst>
            <pc:docMk/>
            <pc:sldMk cId="2099363372" sldId="6526"/>
            <ac:spMk id="30" creationId="{EEDE2F14-8AC5-E00B-91E4-913A6217A09C}"/>
          </ac:spMkLst>
        </pc:spChg>
        <pc:spChg chg="mod">
          <ac:chgData name="Niittymies Aleksi" userId="00c1d702-9a1a-46cb-9bcd-5368d837961b" providerId="ADAL" clId="{55F54ABC-6D78-49F5-8110-EA7C6AFDD730}" dt="2023-10-28T14:57:17.399" v="2029"/>
          <ac:spMkLst>
            <pc:docMk/>
            <pc:sldMk cId="2099363372" sldId="6526"/>
            <ac:spMk id="31" creationId="{E7CB1D6D-8316-FD31-FEA0-28B67CE0CC86}"/>
          </ac:spMkLst>
        </pc:spChg>
        <pc:spChg chg="mod">
          <ac:chgData name="Niittymies Aleksi" userId="00c1d702-9a1a-46cb-9bcd-5368d837961b" providerId="ADAL" clId="{55F54ABC-6D78-49F5-8110-EA7C6AFDD730}" dt="2023-10-28T14:57:27.034" v="2031" actId="13822"/>
          <ac:spMkLst>
            <pc:docMk/>
            <pc:sldMk cId="2099363372" sldId="6526"/>
            <ac:spMk id="32" creationId="{1B6BAC5C-9833-FE3C-EAF6-7A9D4C4AE098}"/>
          </ac:spMkLst>
        </pc:spChg>
        <pc:spChg chg="mod">
          <ac:chgData name="Niittymies Aleksi" userId="00c1d702-9a1a-46cb-9bcd-5368d837961b" providerId="ADAL" clId="{55F54ABC-6D78-49F5-8110-EA7C6AFDD730}" dt="2023-10-28T14:57:17.399" v="2029"/>
          <ac:spMkLst>
            <pc:docMk/>
            <pc:sldMk cId="2099363372" sldId="6526"/>
            <ac:spMk id="33" creationId="{7A95E879-00EB-5F48-929F-C4471391726B}"/>
          </ac:spMkLst>
        </pc:spChg>
        <pc:grpChg chg="add del mod">
          <ac:chgData name="Niittymies Aleksi" userId="00c1d702-9a1a-46cb-9bcd-5368d837961b" providerId="ADAL" clId="{55F54ABC-6D78-49F5-8110-EA7C6AFDD730}" dt="2023-10-28T14:57:07.761" v="2010"/>
          <ac:grpSpMkLst>
            <pc:docMk/>
            <pc:sldMk cId="2099363372" sldId="6526"/>
            <ac:grpSpMk id="4" creationId="{78CBAA9E-FF53-3670-96A6-8FEC9086D5DE}"/>
          </ac:grpSpMkLst>
        </pc:grpChg>
        <pc:grpChg chg="mod">
          <ac:chgData name="Niittymies Aleksi" userId="00c1d702-9a1a-46cb-9bcd-5368d837961b" providerId="ADAL" clId="{55F54ABC-6D78-49F5-8110-EA7C6AFDD730}" dt="2023-10-28T14:57:05.345" v="2009"/>
          <ac:grpSpMkLst>
            <pc:docMk/>
            <pc:sldMk cId="2099363372" sldId="6526"/>
            <ac:grpSpMk id="5" creationId="{B1603EC9-00F3-5ED9-6DB3-4BF9D32ED7E8}"/>
          </ac:grpSpMkLst>
        </pc:grpChg>
        <pc:grpChg chg="mod">
          <ac:chgData name="Niittymies Aleksi" userId="00c1d702-9a1a-46cb-9bcd-5368d837961b" providerId="ADAL" clId="{55F54ABC-6D78-49F5-8110-EA7C6AFDD730}" dt="2023-10-28T14:57:05.345" v="2009"/>
          <ac:grpSpMkLst>
            <pc:docMk/>
            <pc:sldMk cId="2099363372" sldId="6526"/>
            <ac:grpSpMk id="11" creationId="{36F54576-4DF2-0F5D-7746-15EB7DE73499}"/>
          </ac:grpSpMkLst>
        </pc:grpChg>
        <pc:grpChg chg="add del mod">
          <ac:chgData name="Niittymies Aleksi" userId="00c1d702-9a1a-46cb-9bcd-5368d837961b" providerId="ADAL" clId="{55F54ABC-6D78-49F5-8110-EA7C6AFDD730}" dt="2023-10-28T15:00:57.267" v="2399" actId="21"/>
          <ac:grpSpMkLst>
            <pc:docMk/>
            <pc:sldMk cId="2099363372" sldId="6526"/>
            <ac:grpSpMk id="19" creationId="{A3929111-E9CB-0D29-8ED4-F0EE06460890}"/>
          </ac:grpSpMkLst>
        </pc:grpChg>
        <pc:grpChg chg="mod">
          <ac:chgData name="Niittymies Aleksi" userId="00c1d702-9a1a-46cb-9bcd-5368d837961b" providerId="ADAL" clId="{55F54ABC-6D78-49F5-8110-EA7C6AFDD730}" dt="2023-10-28T14:57:17.399" v="2029"/>
          <ac:grpSpMkLst>
            <pc:docMk/>
            <pc:sldMk cId="2099363372" sldId="6526"/>
            <ac:grpSpMk id="20" creationId="{F15BFADD-3A03-A63B-63EE-DDA74831544B}"/>
          </ac:grpSpMkLst>
        </pc:grpChg>
        <pc:grpChg chg="mod">
          <ac:chgData name="Niittymies Aleksi" userId="00c1d702-9a1a-46cb-9bcd-5368d837961b" providerId="ADAL" clId="{55F54ABC-6D78-49F5-8110-EA7C6AFDD730}" dt="2023-10-28T14:57:17.399" v="2029"/>
          <ac:grpSpMkLst>
            <pc:docMk/>
            <pc:sldMk cId="2099363372" sldId="6526"/>
            <ac:grpSpMk id="26" creationId="{6A01854E-BA7F-A626-EEC3-2E23CED7F6BE}"/>
          </ac:grpSpMkLst>
        </pc:grpChg>
      </pc:sldChg>
      <pc:sldChg chg="addSp delSp modSp new mod">
        <pc:chgData name="Niittymies Aleksi" userId="00c1d702-9a1a-46cb-9bcd-5368d837961b" providerId="ADAL" clId="{55F54ABC-6D78-49F5-8110-EA7C6AFDD730}" dt="2023-10-29T17:04:01.316" v="2943" actId="1076"/>
        <pc:sldMkLst>
          <pc:docMk/>
          <pc:sldMk cId="3499027776" sldId="6526"/>
        </pc:sldMkLst>
        <pc:spChg chg="del">
          <ac:chgData name="Niittymies Aleksi" userId="00c1d702-9a1a-46cb-9bcd-5368d837961b" providerId="ADAL" clId="{55F54ABC-6D78-49F5-8110-EA7C6AFDD730}" dt="2023-10-28T15:33:54.339" v="2460" actId="478"/>
          <ac:spMkLst>
            <pc:docMk/>
            <pc:sldMk cId="3499027776" sldId="6526"/>
            <ac:spMk id="2" creationId="{642BB1AF-3861-E97E-A2EC-5D7D76526AF7}"/>
          </ac:spMkLst>
        </pc:spChg>
        <pc:spChg chg="del">
          <ac:chgData name="Niittymies Aleksi" userId="00c1d702-9a1a-46cb-9bcd-5368d837961b" providerId="ADAL" clId="{55F54ABC-6D78-49F5-8110-EA7C6AFDD730}" dt="2023-10-28T15:33:51.074" v="2459" actId="478"/>
          <ac:spMkLst>
            <pc:docMk/>
            <pc:sldMk cId="3499027776" sldId="6526"/>
            <ac:spMk id="3" creationId="{36B647A3-6CC1-8F64-711D-949DA368A4D1}"/>
          </ac:spMkLst>
        </pc:spChg>
        <pc:spChg chg="mod">
          <ac:chgData name="Niittymies Aleksi" userId="00c1d702-9a1a-46cb-9bcd-5368d837961b" providerId="ADAL" clId="{55F54ABC-6D78-49F5-8110-EA7C6AFDD730}" dt="2023-10-28T15:33:54.756" v="2461"/>
          <ac:spMkLst>
            <pc:docMk/>
            <pc:sldMk cId="3499027776" sldId="6526"/>
            <ac:spMk id="6" creationId="{DB30A23C-B29E-E547-EA5B-986B9D0803F7}"/>
          </ac:spMkLst>
        </pc:spChg>
        <pc:spChg chg="mod">
          <ac:chgData name="Niittymies Aleksi" userId="00c1d702-9a1a-46cb-9bcd-5368d837961b" providerId="ADAL" clId="{55F54ABC-6D78-49F5-8110-EA7C6AFDD730}" dt="2023-10-28T15:33:54.756" v="2461"/>
          <ac:spMkLst>
            <pc:docMk/>
            <pc:sldMk cId="3499027776" sldId="6526"/>
            <ac:spMk id="7" creationId="{4BC33DE8-23BA-9311-F8EA-2942C3F1439C}"/>
          </ac:spMkLst>
        </pc:spChg>
        <pc:spChg chg="mod">
          <ac:chgData name="Niittymies Aleksi" userId="00c1d702-9a1a-46cb-9bcd-5368d837961b" providerId="ADAL" clId="{55F54ABC-6D78-49F5-8110-EA7C6AFDD730}" dt="2023-10-28T15:33:54.756" v="2461"/>
          <ac:spMkLst>
            <pc:docMk/>
            <pc:sldMk cId="3499027776" sldId="6526"/>
            <ac:spMk id="8" creationId="{99714653-C617-E1AC-EB52-2266665FD24F}"/>
          </ac:spMkLst>
        </pc:spChg>
        <pc:spChg chg="mod">
          <ac:chgData name="Niittymies Aleksi" userId="00c1d702-9a1a-46cb-9bcd-5368d837961b" providerId="ADAL" clId="{55F54ABC-6D78-49F5-8110-EA7C6AFDD730}" dt="2023-10-28T15:33:54.756" v="2461"/>
          <ac:spMkLst>
            <pc:docMk/>
            <pc:sldMk cId="3499027776" sldId="6526"/>
            <ac:spMk id="9" creationId="{C5211D56-4635-231D-AA17-53F181ADE714}"/>
          </ac:spMkLst>
        </pc:spChg>
        <pc:spChg chg="mod">
          <ac:chgData name="Niittymies Aleksi" userId="00c1d702-9a1a-46cb-9bcd-5368d837961b" providerId="ADAL" clId="{55F54ABC-6D78-49F5-8110-EA7C6AFDD730}" dt="2023-10-28T15:33:54.756" v="2461"/>
          <ac:spMkLst>
            <pc:docMk/>
            <pc:sldMk cId="3499027776" sldId="6526"/>
            <ac:spMk id="10" creationId="{243AD310-23AB-75C7-B269-6CA128DF021C}"/>
          </ac:spMkLst>
        </pc:spChg>
        <pc:spChg chg="mod">
          <ac:chgData name="Niittymies Aleksi" userId="00c1d702-9a1a-46cb-9bcd-5368d837961b" providerId="ADAL" clId="{55F54ABC-6D78-49F5-8110-EA7C6AFDD730}" dt="2023-10-28T15:33:54.756" v="2461"/>
          <ac:spMkLst>
            <pc:docMk/>
            <pc:sldMk cId="3499027776" sldId="6526"/>
            <ac:spMk id="12" creationId="{1BEE033E-7451-D445-6683-9486D0D07B1F}"/>
          </ac:spMkLst>
        </pc:spChg>
        <pc:spChg chg="mod">
          <ac:chgData name="Niittymies Aleksi" userId="00c1d702-9a1a-46cb-9bcd-5368d837961b" providerId="ADAL" clId="{55F54ABC-6D78-49F5-8110-EA7C6AFDD730}" dt="2023-10-28T15:33:54.756" v="2461"/>
          <ac:spMkLst>
            <pc:docMk/>
            <pc:sldMk cId="3499027776" sldId="6526"/>
            <ac:spMk id="13" creationId="{725AF718-AC2F-BA05-26B1-59290D3090D3}"/>
          </ac:spMkLst>
        </pc:spChg>
        <pc:spChg chg="mod">
          <ac:chgData name="Niittymies Aleksi" userId="00c1d702-9a1a-46cb-9bcd-5368d837961b" providerId="ADAL" clId="{55F54ABC-6D78-49F5-8110-EA7C6AFDD730}" dt="2023-10-28T15:33:54.756" v="2461"/>
          <ac:spMkLst>
            <pc:docMk/>
            <pc:sldMk cId="3499027776" sldId="6526"/>
            <ac:spMk id="14" creationId="{DFF41C2A-3C51-1A44-15C3-FAEB89A18E91}"/>
          </ac:spMkLst>
        </pc:spChg>
        <pc:spChg chg="mod">
          <ac:chgData name="Niittymies Aleksi" userId="00c1d702-9a1a-46cb-9bcd-5368d837961b" providerId="ADAL" clId="{55F54ABC-6D78-49F5-8110-EA7C6AFDD730}" dt="2023-10-28T15:33:54.756" v="2461"/>
          <ac:spMkLst>
            <pc:docMk/>
            <pc:sldMk cId="3499027776" sldId="6526"/>
            <ac:spMk id="15" creationId="{135DFE9D-7425-F3C9-8224-E3BBC41AB5AD}"/>
          </ac:spMkLst>
        </pc:spChg>
        <pc:spChg chg="mod">
          <ac:chgData name="Niittymies Aleksi" userId="00c1d702-9a1a-46cb-9bcd-5368d837961b" providerId="ADAL" clId="{55F54ABC-6D78-49F5-8110-EA7C6AFDD730}" dt="2023-10-28T15:33:54.756" v="2461"/>
          <ac:spMkLst>
            <pc:docMk/>
            <pc:sldMk cId="3499027776" sldId="6526"/>
            <ac:spMk id="16" creationId="{3A8FB199-CAC9-E3E2-0FF0-B5DC7191F842}"/>
          </ac:spMkLst>
        </pc:spChg>
        <pc:spChg chg="mod">
          <ac:chgData name="Niittymies Aleksi" userId="00c1d702-9a1a-46cb-9bcd-5368d837961b" providerId="ADAL" clId="{55F54ABC-6D78-49F5-8110-EA7C6AFDD730}" dt="2023-10-28T15:33:54.756" v="2461"/>
          <ac:spMkLst>
            <pc:docMk/>
            <pc:sldMk cId="3499027776" sldId="6526"/>
            <ac:spMk id="17" creationId="{52F1F7E4-7A63-4DE0-944C-3AD0414290E8}"/>
          </ac:spMkLst>
        </pc:spChg>
        <pc:spChg chg="mod">
          <ac:chgData name="Niittymies Aleksi" userId="00c1d702-9a1a-46cb-9bcd-5368d837961b" providerId="ADAL" clId="{55F54ABC-6D78-49F5-8110-EA7C6AFDD730}" dt="2023-10-28T15:33:54.756" v="2461"/>
          <ac:spMkLst>
            <pc:docMk/>
            <pc:sldMk cId="3499027776" sldId="6526"/>
            <ac:spMk id="18" creationId="{AB7B4772-78DB-A524-5A60-F435787DA06B}"/>
          </ac:spMkLst>
        </pc:spChg>
        <pc:spChg chg="add mod ord">
          <ac:chgData name="Niittymies Aleksi" userId="00c1d702-9a1a-46cb-9bcd-5368d837961b" providerId="ADAL" clId="{55F54ABC-6D78-49F5-8110-EA7C6AFDD730}" dt="2023-10-28T15:34:36.983" v="2469" actId="1076"/>
          <ac:spMkLst>
            <pc:docMk/>
            <pc:sldMk cId="3499027776" sldId="6526"/>
            <ac:spMk id="19" creationId="{A429CCA9-84D9-2813-1F95-1C611808DE05}"/>
          </ac:spMkLst>
        </pc:spChg>
        <pc:spChg chg="add mod ord">
          <ac:chgData name="Niittymies Aleksi" userId="00c1d702-9a1a-46cb-9bcd-5368d837961b" providerId="ADAL" clId="{55F54ABC-6D78-49F5-8110-EA7C6AFDD730}" dt="2023-10-28T15:35:28.529" v="2481" actId="1076"/>
          <ac:spMkLst>
            <pc:docMk/>
            <pc:sldMk cId="3499027776" sldId="6526"/>
            <ac:spMk id="20" creationId="{1DA9A5BA-E0B6-E7A5-9EB1-D5618C09A117}"/>
          </ac:spMkLst>
        </pc:spChg>
        <pc:spChg chg="add mod">
          <ac:chgData name="Niittymies Aleksi" userId="00c1d702-9a1a-46cb-9bcd-5368d837961b" providerId="ADAL" clId="{55F54ABC-6D78-49F5-8110-EA7C6AFDD730}" dt="2023-10-28T15:35:41.790" v="2494" actId="14100"/>
          <ac:spMkLst>
            <pc:docMk/>
            <pc:sldMk cId="3499027776" sldId="6526"/>
            <ac:spMk id="21" creationId="{367D7629-36E4-6986-41C5-D16AAFC0F633}"/>
          </ac:spMkLst>
        </pc:spChg>
        <pc:spChg chg="add mod">
          <ac:chgData name="Niittymies Aleksi" userId="00c1d702-9a1a-46cb-9bcd-5368d837961b" providerId="ADAL" clId="{55F54ABC-6D78-49F5-8110-EA7C6AFDD730}" dt="2023-10-29T17:03:58.260" v="2942" actId="1076"/>
          <ac:spMkLst>
            <pc:docMk/>
            <pc:sldMk cId="3499027776" sldId="6526"/>
            <ac:spMk id="22" creationId="{D9A01B98-503E-1CC4-F5A2-6BE5E1A77FB2}"/>
          </ac:spMkLst>
        </pc:spChg>
        <pc:spChg chg="add mod">
          <ac:chgData name="Niittymies Aleksi" userId="00c1d702-9a1a-46cb-9bcd-5368d837961b" providerId="ADAL" clId="{55F54ABC-6D78-49F5-8110-EA7C6AFDD730}" dt="2023-10-28T15:37:10.145" v="2572" actId="20577"/>
          <ac:spMkLst>
            <pc:docMk/>
            <pc:sldMk cId="3499027776" sldId="6526"/>
            <ac:spMk id="23" creationId="{8D5EF873-0A49-F800-ADFC-55145E4DBA95}"/>
          </ac:spMkLst>
        </pc:spChg>
        <pc:spChg chg="add mod">
          <ac:chgData name="Niittymies Aleksi" userId="00c1d702-9a1a-46cb-9bcd-5368d837961b" providerId="ADAL" clId="{55F54ABC-6D78-49F5-8110-EA7C6AFDD730}" dt="2023-10-28T16:31:32.805" v="2669" actId="20577"/>
          <ac:spMkLst>
            <pc:docMk/>
            <pc:sldMk cId="3499027776" sldId="6526"/>
            <ac:spMk id="24" creationId="{A42B2251-BE45-9BC8-F6F4-52117292DA28}"/>
          </ac:spMkLst>
        </pc:spChg>
        <pc:spChg chg="add mod">
          <ac:chgData name="Niittymies Aleksi" userId="00c1d702-9a1a-46cb-9bcd-5368d837961b" providerId="ADAL" clId="{55F54ABC-6D78-49F5-8110-EA7C6AFDD730}" dt="2023-10-28T15:37:02.289" v="2563" actId="14100"/>
          <ac:spMkLst>
            <pc:docMk/>
            <pc:sldMk cId="3499027776" sldId="6526"/>
            <ac:spMk id="25" creationId="{C2F677D7-402E-26BF-B11E-0A0DD0000584}"/>
          </ac:spMkLst>
        </pc:spChg>
        <pc:spChg chg="add mod">
          <ac:chgData name="Niittymies Aleksi" userId="00c1d702-9a1a-46cb-9bcd-5368d837961b" providerId="ADAL" clId="{55F54ABC-6D78-49F5-8110-EA7C6AFDD730}" dt="2023-10-29T17:04:01.316" v="2943" actId="1076"/>
          <ac:spMkLst>
            <pc:docMk/>
            <pc:sldMk cId="3499027776" sldId="6526"/>
            <ac:spMk id="26" creationId="{39E4A097-03DB-BD48-CE3D-A0B28FB774A2}"/>
          </ac:spMkLst>
        </pc:spChg>
        <pc:spChg chg="add mod">
          <ac:chgData name="Niittymies Aleksi" userId="00c1d702-9a1a-46cb-9bcd-5368d837961b" providerId="ADAL" clId="{55F54ABC-6D78-49F5-8110-EA7C6AFDD730}" dt="2023-10-28T15:38:38.622" v="2626" actId="20577"/>
          <ac:spMkLst>
            <pc:docMk/>
            <pc:sldMk cId="3499027776" sldId="6526"/>
            <ac:spMk id="27" creationId="{A695BCCD-716C-2AB6-1638-C06F5517162A}"/>
          </ac:spMkLst>
        </pc:spChg>
        <pc:spChg chg="add mod">
          <ac:chgData name="Niittymies Aleksi" userId="00c1d702-9a1a-46cb-9bcd-5368d837961b" providerId="ADAL" clId="{55F54ABC-6D78-49F5-8110-EA7C6AFDD730}" dt="2023-10-28T15:39:22.274" v="2639" actId="14100"/>
          <ac:spMkLst>
            <pc:docMk/>
            <pc:sldMk cId="3499027776" sldId="6526"/>
            <ac:spMk id="28" creationId="{6CBF46FC-50B4-DDE6-3515-B00C89077B16}"/>
          </ac:spMkLst>
        </pc:spChg>
        <pc:grpChg chg="add mod">
          <ac:chgData name="Niittymies Aleksi" userId="00c1d702-9a1a-46cb-9bcd-5368d837961b" providerId="ADAL" clId="{55F54ABC-6D78-49F5-8110-EA7C6AFDD730}" dt="2023-10-28T15:33:57.759" v="2462" actId="1076"/>
          <ac:grpSpMkLst>
            <pc:docMk/>
            <pc:sldMk cId="3499027776" sldId="6526"/>
            <ac:grpSpMk id="4" creationId="{252F4333-777A-DFAB-9FAB-F5A0441E3AE2}"/>
          </ac:grpSpMkLst>
        </pc:grpChg>
        <pc:grpChg chg="mod">
          <ac:chgData name="Niittymies Aleksi" userId="00c1d702-9a1a-46cb-9bcd-5368d837961b" providerId="ADAL" clId="{55F54ABC-6D78-49F5-8110-EA7C6AFDD730}" dt="2023-10-28T15:33:54.756" v="2461"/>
          <ac:grpSpMkLst>
            <pc:docMk/>
            <pc:sldMk cId="3499027776" sldId="6526"/>
            <ac:grpSpMk id="5" creationId="{6466B41B-D32E-446B-E8D4-53094E332365}"/>
          </ac:grpSpMkLst>
        </pc:grpChg>
        <pc:grpChg chg="mod">
          <ac:chgData name="Niittymies Aleksi" userId="00c1d702-9a1a-46cb-9bcd-5368d837961b" providerId="ADAL" clId="{55F54ABC-6D78-49F5-8110-EA7C6AFDD730}" dt="2023-10-28T15:33:54.756" v="2461"/>
          <ac:grpSpMkLst>
            <pc:docMk/>
            <pc:sldMk cId="3499027776" sldId="6526"/>
            <ac:grpSpMk id="11" creationId="{6C656AB9-0110-C070-4360-1A873DF21863}"/>
          </ac:grpSpMkLst>
        </pc:grpChg>
      </pc:sldChg>
      <pc:sldMasterChg chg="delSldLayout">
        <pc:chgData name="Niittymies Aleksi" userId="00c1d702-9a1a-46cb-9bcd-5368d837961b" providerId="ADAL" clId="{55F54ABC-6D78-49F5-8110-EA7C6AFDD730}" dt="2023-10-26T18:09:30.121" v="1917" actId="47"/>
        <pc:sldMasterMkLst>
          <pc:docMk/>
          <pc:sldMasterMk cId="1833754440" sldId="2147483648"/>
        </pc:sldMasterMkLst>
        <pc:sldLayoutChg chg="del">
          <pc:chgData name="Niittymies Aleksi" userId="00c1d702-9a1a-46cb-9bcd-5368d837961b" providerId="ADAL" clId="{55F54ABC-6D78-49F5-8110-EA7C6AFDD730}" dt="2023-10-26T18:09:30.121" v="1917" actId="47"/>
          <pc:sldLayoutMkLst>
            <pc:docMk/>
            <pc:sldMasterMk cId="1833754440" sldId="2147483648"/>
            <pc:sldLayoutMk cId="3943979170" sldId="2147483937"/>
          </pc:sldLayoutMkLst>
        </pc:sldLayoutChg>
        <pc:sldLayoutChg chg="del">
          <pc:chgData name="Niittymies Aleksi" userId="00c1d702-9a1a-46cb-9bcd-5368d837961b" providerId="ADAL" clId="{55F54ABC-6D78-49F5-8110-EA7C6AFDD730}" dt="2023-10-26T15:03:15.209" v="308" actId="47"/>
          <pc:sldLayoutMkLst>
            <pc:docMk/>
            <pc:sldMasterMk cId="1833754440" sldId="2147483648"/>
            <pc:sldLayoutMk cId="1392058142" sldId="2147483959"/>
          </pc:sldLayoutMkLst>
        </pc:sldLayoutChg>
      </pc:sldMasterChg>
      <pc:sldMasterChg chg="del delSldLayout">
        <pc:chgData name="Niittymies Aleksi" userId="00c1d702-9a1a-46cb-9bcd-5368d837961b" providerId="ADAL" clId="{55F54ABC-6D78-49F5-8110-EA7C6AFDD730}" dt="2023-10-26T15:03:21.892" v="310" actId="47"/>
        <pc:sldMasterMkLst>
          <pc:docMk/>
          <pc:sldMasterMk cId="3065379356" sldId="2147483972"/>
        </pc:sldMasterMkLst>
        <pc:sldLayoutChg chg="del">
          <pc:chgData name="Niittymies Aleksi" userId="00c1d702-9a1a-46cb-9bcd-5368d837961b" providerId="ADAL" clId="{55F54ABC-6D78-49F5-8110-EA7C6AFDD730}" dt="2023-10-26T15:03:21.892" v="310" actId="47"/>
          <pc:sldLayoutMkLst>
            <pc:docMk/>
            <pc:sldMasterMk cId="3065379356" sldId="2147483972"/>
            <pc:sldLayoutMk cId="437584210" sldId="2147483973"/>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3472263249" sldId="2147483974"/>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4223978128" sldId="2147483975"/>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2699714057" sldId="2147483976"/>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2706481920" sldId="2147483977"/>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1738318242" sldId="2147483978"/>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1817325455" sldId="2147483979"/>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3727589533" sldId="2147483980"/>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2725544421" sldId="2147483981"/>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3058278807" sldId="2147483982"/>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3992361904" sldId="2147483983"/>
          </pc:sldLayoutMkLst>
        </pc:sldLayoutChg>
      </pc:sldMasterChg>
    </pc:docChg>
  </pc:docChgLst>
  <pc:docChgLst>
    <pc:chgData name="Niittymies Aleksi" userId="00c1d702-9a1a-46cb-9bcd-5368d837961b" providerId="ADAL" clId="{5A9225AD-B49B-4444-A0DC-F8BA8F343C3A}"/>
    <pc:docChg chg="undo custSel addSld delSld modSld sldOrd delMainMaster">
      <pc:chgData name="Niittymies Aleksi" userId="00c1d702-9a1a-46cb-9bcd-5368d837961b" providerId="ADAL" clId="{5A9225AD-B49B-4444-A0DC-F8BA8F343C3A}" dt="2023-11-07T15:54:59.443" v="2482" actId="122"/>
      <pc:docMkLst>
        <pc:docMk/>
      </pc:docMkLst>
      <pc:sldChg chg="modSp mod">
        <pc:chgData name="Niittymies Aleksi" userId="00c1d702-9a1a-46cb-9bcd-5368d837961b" providerId="ADAL" clId="{5A9225AD-B49B-4444-A0DC-F8BA8F343C3A}" dt="2023-11-07T13:39:06.553" v="1446" actId="20577"/>
        <pc:sldMkLst>
          <pc:docMk/>
          <pc:sldMk cId="4022952943" sldId="259"/>
        </pc:sldMkLst>
        <pc:spChg chg="mod">
          <ac:chgData name="Niittymies Aleksi" userId="00c1d702-9a1a-46cb-9bcd-5368d837961b" providerId="ADAL" clId="{5A9225AD-B49B-4444-A0DC-F8BA8F343C3A}" dt="2023-11-07T13:39:06.553" v="1446" actId="20577"/>
          <ac:spMkLst>
            <pc:docMk/>
            <pc:sldMk cId="4022952943" sldId="259"/>
            <ac:spMk id="3" creationId="{8A46F9C8-1964-44D9-B1CD-B6CEC744D5F3}"/>
          </ac:spMkLst>
        </pc:spChg>
        <pc:spChg chg="mod">
          <ac:chgData name="Niittymies Aleksi" userId="00c1d702-9a1a-46cb-9bcd-5368d837961b" providerId="ADAL" clId="{5A9225AD-B49B-4444-A0DC-F8BA8F343C3A}" dt="2023-11-07T13:39:03.410" v="1444" actId="20577"/>
          <ac:spMkLst>
            <pc:docMk/>
            <pc:sldMk cId="4022952943" sldId="259"/>
            <ac:spMk id="5" creationId="{14D9E3F0-1051-411B-B4E8-74150CD2A556}"/>
          </ac:spMkLst>
        </pc:spChg>
      </pc:sldChg>
      <pc:sldChg chg="del">
        <pc:chgData name="Niittymies Aleksi" userId="00c1d702-9a1a-46cb-9bcd-5368d837961b" providerId="ADAL" clId="{5A9225AD-B49B-4444-A0DC-F8BA8F343C3A}" dt="2023-11-06T16:45:35.323" v="157" actId="47"/>
        <pc:sldMkLst>
          <pc:docMk/>
          <pc:sldMk cId="2555137741" sldId="269"/>
        </pc:sldMkLst>
      </pc:sldChg>
      <pc:sldChg chg="modSp del mod">
        <pc:chgData name="Niittymies Aleksi" userId="00c1d702-9a1a-46cb-9bcd-5368d837961b" providerId="ADAL" clId="{5A9225AD-B49B-4444-A0DC-F8BA8F343C3A}" dt="2023-11-07T15:07:56.364" v="2203" actId="47"/>
        <pc:sldMkLst>
          <pc:docMk/>
          <pc:sldMk cId="3737811660" sldId="272"/>
        </pc:sldMkLst>
        <pc:spChg chg="mod">
          <ac:chgData name="Niittymies Aleksi" userId="00c1d702-9a1a-46cb-9bcd-5368d837961b" providerId="ADAL" clId="{5A9225AD-B49B-4444-A0DC-F8BA8F343C3A}" dt="2023-11-07T15:04:26.131" v="2147" actId="20577"/>
          <ac:spMkLst>
            <pc:docMk/>
            <pc:sldMk cId="3737811660" sldId="272"/>
            <ac:spMk id="2" creationId="{53552A6B-C65A-43E0-B8CC-E1C6E146A619}"/>
          </ac:spMkLst>
        </pc:spChg>
      </pc:sldChg>
      <pc:sldChg chg="del">
        <pc:chgData name="Niittymies Aleksi" userId="00c1d702-9a1a-46cb-9bcd-5368d837961b" providerId="ADAL" clId="{5A9225AD-B49B-4444-A0DC-F8BA8F343C3A}" dt="2023-11-07T10:26:16.620" v="343" actId="47"/>
        <pc:sldMkLst>
          <pc:docMk/>
          <pc:sldMk cId="2068996606" sldId="278"/>
        </pc:sldMkLst>
      </pc:sldChg>
      <pc:sldChg chg="del">
        <pc:chgData name="Niittymies Aleksi" userId="00c1d702-9a1a-46cb-9bcd-5368d837961b" providerId="ADAL" clId="{5A9225AD-B49B-4444-A0DC-F8BA8F343C3A}" dt="2023-11-07T10:25:36.354" v="341" actId="47"/>
        <pc:sldMkLst>
          <pc:docMk/>
          <pc:sldMk cId="1237508240" sldId="282"/>
        </pc:sldMkLst>
      </pc:sldChg>
      <pc:sldChg chg="del">
        <pc:chgData name="Niittymies Aleksi" userId="00c1d702-9a1a-46cb-9bcd-5368d837961b" providerId="ADAL" clId="{5A9225AD-B49B-4444-A0DC-F8BA8F343C3A}" dt="2023-11-07T10:57:59.995" v="373" actId="47"/>
        <pc:sldMkLst>
          <pc:docMk/>
          <pc:sldMk cId="760655846" sldId="288"/>
        </pc:sldMkLst>
      </pc:sldChg>
      <pc:sldChg chg="del">
        <pc:chgData name="Niittymies Aleksi" userId="00c1d702-9a1a-46cb-9bcd-5368d837961b" providerId="ADAL" clId="{5A9225AD-B49B-4444-A0DC-F8BA8F343C3A}" dt="2023-11-07T10:26:50.719" v="346" actId="47"/>
        <pc:sldMkLst>
          <pc:docMk/>
          <pc:sldMk cId="4058744469" sldId="290"/>
        </pc:sldMkLst>
      </pc:sldChg>
      <pc:sldChg chg="del">
        <pc:chgData name="Niittymies Aleksi" userId="00c1d702-9a1a-46cb-9bcd-5368d837961b" providerId="ADAL" clId="{5A9225AD-B49B-4444-A0DC-F8BA8F343C3A}" dt="2023-11-07T10:25:45.057" v="342" actId="47"/>
        <pc:sldMkLst>
          <pc:docMk/>
          <pc:sldMk cId="1886639995" sldId="300"/>
        </pc:sldMkLst>
      </pc:sldChg>
      <pc:sldChg chg="del">
        <pc:chgData name="Niittymies Aleksi" userId="00c1d702-9a1a-46cb-9bcd-5368d837961b" providerId="ADAL" clId="{5A9225AD-B49B-4444-A0DC-F8BA8F343C3A}" dt="2023-11-07T10:26:53.344" v="348" actId="47"/>
        <pc:sldMkLst>
          <pc:docMk/>
          <pc:sldMk cId="2737998628" sldId="305"/>
        </pc:sldMkLst>
      </pc:sldChg>
      <pc:sldChg chg="modSp mod">
        <pc:chgData name="Niittymies Aleksi" userId="00c1d702-9a1a-46cb-9bcd-5368d837961b" providerId="ADAL" clId="{5A9225AD-B49B-4444-A0DC-F8BA8F343C3A}" dt="2023-11-07T10:28:54.167" v="372" actId="113"/>
        <pc:sldMkLst>
          <pc:docMk/>
          <pc:sldMk cId="3618287028" sldId="979"/>
        </pc:sldMkLst>
        <pc:spChg chg="mod">
          <ac:chgData name="Niittymies Aleksi" userId="00c1d702-9a1a-46cb-9bcd-5368d837961b" providerId="ADAL" clId="{5A9225AD-B49B-4444-A0DC-F8BA8F343C3A}" dt="2023-11-07T10:28:00.852" v="358" actId="6549"/>
          <ac:spMkLst>
            <pc:docMk/>
            <pc:sldMk cId="3618287028" sldId="979"/>
            <ac:spMk id="2" creationId="{DAF2281E-D9A1-4D78-88F1-D5A2007BE0D9}"/>
          </ac:spMkLst>
        </pc:spChg>
        <pc:spChg chg="mod">
          <ac:chgData name="Niittymies Aleksi" userId="00c1d702-9a1a-46cb-9bcd-5368d837961b" providerId="ADAL" clId="{5A9225AD-B49B-4444-A0DC-F8BA8F343C3A}" dt="2023-11-07T10:28:54.167" v="372" actId="113"/>
          <ac:spMkLst>
            <pc:docMk/>
            <pc:sldMk cId="3618287028" sldId="979"/>
            <ac:spMk id="3" creationId="{5F669965-2C37-4E46-9B17-C284E9EEEBCD}"/>
          </ac:spMkLst>
        </pc:spChg>
      </pc:sldChg>
      <pc:sldChg chg="modSp mod ord">
        <pc:chgData name="Niittymies Aleksi" userId="00c1d702-9a1a-46cb-9bcd-5368d837961b" providerId="ADAL" clId="{5A9225AD-B49B-4444-A0DC-F8BA8F343C3A}" dt="2023-11-07T13:44:13.943" v="1534"/>
        <pc:sldMkLst>
          <pc:docMk/>
          <pc:sldMk cId="2555860637" sldId="6511"/>
        </pc:sldMkLst>
        <pc:spChg chg="mod">
          <ac:chgData name="Niittymies Aleksi" userId="00c1d702-9a1a-46cb-9bcd-5368d837961b" providerId="ADAL" clId="{5A9225AD-B49B-4444-A0DC-F8BA8F343C3A}" dt="2023-11-07T13:40:41.850" v="1532" actId="113"/>
          <ac:spMkLst>
            <pc:docMk/>
            <pc:sldMk cId="2555860637" sldId="6511"/>
            <ac:spMk id="3" creationId="{CF3F630B-0F73-483A-838D-6B23394D1B86}"/>
          </ac:spMkLst>
        </pc:spChg>
      </pc:sldChg>
      <pc:sldChg chg="addSp delSp modSp del mod modClrScheme chgLayout">
        <pc:chgData name="Niittymies Aleksi" userId="00c1d702-9a1a-46cb-9bcd-5368d837961b" providerId="ADAL" clId="{5A9225AD-B49B-4444-A0DC-F8BA8F343C3A}" dt="2023-11-07T13:26:56.486" v="1408" actId="47"/>
        <pc:sldMkLst>
          <pc:docMk/>
          <pc:sldMk cId="3262308052" sldId="6518"/>
        </pc:sldMkLst>
        <pc:spChg chg="del mod">
          <ac:chgData name="Niittymies Aleksi" userId="00c1d702-9a1a-46cb-9bcd-5368d837961b" providerId="ADAL" clId="{5A9225AD-B49B-4444-A0DC-F8BA8F343C3A}" dt="2023-11-07T13:25:11.247" v="1383" actId="478"/>
          <ac:spMkLst>
            <pc:docMk/>
            <pc:sldMk cId="3262308052" sldId="6518"/>
            <ac:spMk id="2" creationId="{7188B95F-4310-569A-83C9-3FA1F947D1D9}"/>
          </ac:spMkLst>
        </pc:spChg>
        <pc:spChg chg="del mod">
          <ac:chgData name="Niittymies Aleksi" userId="00c1d702-9a1a-46cb-9bcd-5368d837961b" providerId="ADAL" clId="{5A9225AD-B49B-4444-A0DC-F8BA8F343C3A}" dt="2023-11-07T13:20:16.721" v="1314" actId="478"/>
          <ac:spMkLst>
            <pc:docMk/>
            <pc:sldMk cId="3262308052" sldId="6518"/>
            <ac:spMk id="5" creationId="{4E79B233-C263-4355-BEE2-6A4CD1ED5B59}"/>
          </ac:spMkLst>
        </pc:spChg>
        <pc:spChg chg="add del mod">
          <ac:chgData name="Niittymies Aleksi" userId="00c1d702-9a1a-46cb-9bcd-5368d837961b" providerId="ADAL" clId="{5A9225AD-B49B-4444-A0DC-F8BA8F343C3A}" dt="2023-11-07T13:26:03.612" v="1393" actId="26606"/>
          <ac:spMkLst>
            <pc:docMk/>
            <pc:sldMk cId="3262308052" sldId="6518"/>
            <ac:spMk id="6" creationId="{31000301-0C8E-075A-D4AB-5C5DB3E72B67}"/>
          </ac:spMkLst>
        </pc:spChg>
        <pc:spChg chg="add del mod">
          <ac:chgData name="Niittymies Aleksi" userId="00c1d702-9a1a-46cb-9bcd-5368d837961b" providerId="ADAL" clId="{5A9225AD-B49B-4444-A0DC-F8BA8F343C3A}" dt="2023-11-07T13:25:13.659" v="1384" actId="478"/>
          <ac:spMkLst>
            <pc:docMk/>
            <pc:sldMk cId="3262308052" sldId="6518"/>
            <ac:spMk id="8" creationId="{0A7D8252-EFC9-8979-71C5-623FEE43727D}"/>
          </ac:spMkLst>
        </pc:spChg>
        <pc:spChg chg="mod ord modVis">
          <ac:chgData name="Niittymies Aleksi" userId="00c1d702-9a1a-46cb-9bcd-5368d837961b" providerId="ADAL" clId="{5A9225AD-B49B-4444-A0DC-F8BA8F343C3A}" dt="2023-11-07T13:26:03.612" v="1393" actId="26606"/>
          <ac:spMkLst>
            <pc:docMk/>
            <pc:sldMk cId="3262308052" sldId="6518"/>
            <ac:spMk id="162818" creationId="{4AF7E206-83A6-4CF2-9358-B1234F00AF45}"/>
          </ac:spMkLst>
        </pc:spChg>
        <pc:spChg chg="add del mod">
          <ac:chgData name="Niittymies Aleksi" userId="00c1d702-9a1a-46cb-9bcd-5368d837961b" providerId="ADAL" clId="{5A9225AD-B49B-4444-A0DC-F8BA8F343C3A}" dt="2023-11-07T13:25:24.413" v="1386" actId="478"/>
          <ac:spMkLst>
            <pc:docMk/>
            <pc:sldMk cId="3262308052" sldId="6518"/>
            <ac:spMk id="162823" creationId="{E48B364A-BC01-44FF-4C85-F16377D207A1}"/>
          </ac:spMkLst>
        </pc:spChg>
        <pc:picChg chg="add mod">
          <ac:chgData name="Niittymies Aleksi" userId="00c1d702-9a1a-46cb-9bcd-5368d837961b" providerId="ADAL" clId="{5A9225AD-B49B-4444-A0DC-F8BA8F343C3A}" dt="2023-11-07T13:26:03.612" v="1393" actId="26606"/>
          <ac:picMkLst>
            <pc:docMk/>
            <pc:sldMk cId="3262308052" sldId="6518"/>
            <ac:picMk id="3" creationId="{E17E4863-941A-E128-7C51-1C904BB85469}"/>
          </ac:picMkLst>
        </pc:picChg>
      </pc:sldChg>
      <pc:sldChg chg="del">
        <pc:chgData name="Niittymies Aleksi" userId="00c1d702-9a1a-46cb-9bcd-5368d837961b" providerId="ADAL" clId="{5A9225AD-B49B-4444-A0DC-F8BA8F343C3A}" dt="2023-11-06T16:45:37.697" v="158" actId="47"/>
        <pc:sldMkLst>
          <pc:docMk/>
          <pc:sldMk cId="4190350582" sldId="6521"/>
        </pc:sldMkLst>
      </pc:sldChg>
      <pc:sldChg chg="del">
        <pc:chgData name="Niittymies Aleksi" userId="00c1d702-9a1a-46cb-9bcd-5368d837961b" providerId="ADAL" clId="{5A9225AD-B49B-4444-A0DC-F8BA8F343C3A}" dt="2023-11-06T16:45:38.355" v="159" actId="47"/>
        <pc:sldMkLst>
          <pc:docMk/>
          <pc:sldMk cId="821067728" sldId="6523"/>
        </pc:sldMkLst>
      </pc:sldChg>
      <pc:sldChg chg="del">
        <pc:chgData name="Niittymies Aleksi" userId="00c1d702-9a1a-46cb-9bcd-5368d837961b" providerId="ADAL" clId="{5A9225AD-B49B-4444-A0DC-F8BA8F343C3A}" dt="2023-11-07T10:26:49.792" v="345" actId="47"/>
        <pc:sldMkLst>
          <pc:docMk/>
          <pc:sldMk cId="3499027776" sldId="6526"/>
        </pc:sldMkLst>
      </pc:sldChg>
      <pc:sldChg chg="del">
        <pc:chgData name="Niittymies Aleksi" userId="00c1d702-9a1a-46cb-9bcd-5368d837961b" providerId="ADAL" clId="{5A9225AD-B49B-4444-A0DC-F8BA8F343C3A}" dt="2023-11-06T16:45:15.362" v="151" actId="47"/>
        <pc:sldMkLst>
          <pc:docMk/>
          <pc:sldMk cId="2956272805" sldId="6527"/>
        </pc:sldMkLst>
      </pc:sldChg>
      <pc:sldChg chg="del">
        <pc:chgData name="Niittymies Aleksi" userId="00c1d702-9a1a-46cb-9bcd-5368d837961b" providerId="ADAL" clId="{5A9225AD-B49B-4444-A0DC-F8BA8F343C3A}" dt="2023-11-06T16:45:34.372" v="156" actId="47"/>
        <pc:sldMkLst>
          <pc:docMk/>
          <pc:sldMk cId="864312609" sldId="6528"/>
        </pc:sldMkLst>
      </pc:sldChg>
      <pc:sldChg chg="del">
        <pc:chgData name="Niittymies Aleksi" userId="00c1d702-9a1a-46cb-9bcd-5368d837961b" providerId="ADAL" clId="{5A9225AD-B49B-4444-A0DC-F8BA8F343C3A}" dt="2023-11-06T16:45:32.037" v="154" actId="47"/>
        <pc:sldMkLst>
          <pc:docMk/>
          <pc:sldMk cId="974837380" sldId="6529"/>
        </pc:sldMkLst>
      </pc:sldChg>
      <pc:sldChg chg="del">
        <pc:chgData name="Niittymies Aleksi" userId="00c1d702-9a1a-46cb-9bcd-5368d837961b" providerId="ADAL" clId="{5A9225AD-B49B-4444-A0DC-F8BA8F343C3A}" dt="2023-11-07T10:26:52.427" v="347" actId="47"/>
        <pc:sldMkLst>
          <pc:docMk/>
          <pc:sldMk cId="3377242872" sldId="6531"/>
        </pc:sldMkLst>
      </pc:sldChg>
      <pc:sldChg chg="del">
        <pc:chgData name="Niittymies Aleksi" userId="00c1d702-9a1a-46cb-9bcd-5368d837961b" providerId="ADAL" clId="{5A9225AD-B49B-4444-A0DC-F8BA8F343C3A}" dt="2023-11-07T10:58:02.369" v="374" actId="47"/>
        <pc:sldMkLst>
          <pc:docMk/>
          <pc:sldMk cId="3872872538" sldId="6534"/>
        </pc:sldMkLst>
      </pc:sldChg>
      <pc:sldChg chg="del">
        <pc:chgData name="Niittymies Aleksi" userId="00c1d702-9a1a-46cb-9bcd-5368d837961b" providerId="ADAL" clId="{5A9225AD-B49B-4444-A0DC-F8BA8F343C3A}" dt="2023-11-07T10:26:22.607" v="344" actId="47"/>
        <pc:sldMkLst>
          <pc:docMk/>
          <pc:sldMk cId="662764028" sldId="6535"/>
        </pc:sldMkLst>
      </pc:sldChg>
      <pc:sldChg chg="del">
        <pc:chgData name="Niittymies Aleksi" userId="00c1d702-9a1a-46cb-9bcd-5368d837961b" providerId="ADAL" clId="{5A9225AD-B49B-4444-A0DC-F8BA8F343C3A}" dt="2023-11-07T10:25:28.869" v="340" actId="47"/>
        <pc:sldMkLst>
          <pc:docMk/>
          <pc:sldMk cId="2639510589" sldId="6536"/>
        </pc:sldMkLst>
      </pc:sldChg>
      <pc:sldChg chg="del">
        <pc:chgData name="Niittymies Aleksi" userId="00c1d702-9a1a-46cb-9bcd-5368d837961b" providerId="ADAL" clId="{5A9225AD-B49B-4444-A0DC-F8BA8F343C3A}" dt="2023-11-06T16:45:40.843" v="161" actId="47"/>
        <pc:sldMkLst>
          <pc:docMk/>
          <pc:sldMk cId="3441159763" sldId="6537"/>
        </pc:sldMkLst>
      </pc:sldChg>
      <pc:sldChg chg="del">
        <pc:chgData name="Niittymies Aleksi" userId="00c1d702-9a1a-46cb-9bcd-5368d837961b" providerId="ADAL" clId="{5A9225AD-B49B-4444-A0DC-F8BA8F343C3A}" dt="2023-11-07T10:25:24.457" v="339" actId="47"/>
        <pc:sldMkLst>
          <pc:docMk/>
          <pc:sldMk cId="3837377118" sldId="6538"/>
        </pc:sldMkLst>
      </pc:sldChg>
      <pc:sldChg chg="del">
        <pc:chgData name="Niittymies Aleksi" userId="00c1d702-9a1a-46cb-9bcd-5368d837961b" providerId="ADAL" clId="{5A9225AD-B49B-4444-A0DC-F8BA8F343C3A}" dt="2023-11-06T16:45:33.517" v="155" actId="47"/>
        <pc:sldMkLst>
          <pc:docMk/>
          <pc:sldMk cId="1617255748" sldId="6539"/>
        </pc:sldMkLst>
      </pc:sldChg>
      <pc:sldChg chg="del">
        <pc:chgData name="Niittymies Aleksi" userId="00c1d702-9a1a-46cb-9bcd-5368d837961b" providerId="ADAL" clId="{5A9225AD-B49B-4444-A0DC-F8BA8F343C3A}" dt="2023-11-07T10:27:47.755" v="349" actId="47"/>
        <pc:sldMkLst>
          <pc:docMk/>
          <pc:sldMk cId="432294595" sldId="6540"/>
        </pc:sldMkLst>
      </pc:sldChg>
      <pc:sldChg chg="del">
        <pc:chgData name="Niittymies Aleksi" userId="00c1d702-9a1a-46cb-9bcd-5368d837961b" providerId="ADAL" clId="{5A9225AD-B49B-4444-A0DC-F8BA8F343C3A}" dt="2023-11-06T16:45:12.187" v="150" actId="47"/>
        <pc:sldMkLst>
          <pc:docMk/>
          <pc:sldMk cId="3948031391" sldId="6541"/>
        </pc:sldMkLst>
      </pc:sldChg>
      <pc:sldChg chg="del">
        <pc:chgData name="Niittymies Aleksi" userId="00c1d702-9a1a-46cb-9bcd-5368d837961b" providerId="ADAL" clId="{5A9225AD-B49B-4444-A0DC-F8BA8F343C3A}" dt="2023-11-06T16:45:27.594" v="153" actId="47"/>
        <pc:sldMkLst>
          <pc:docMk/>
          <pc:sldMk cId="3284805987" sldId="6543"/>
        </pc:sldMkLst>
      </pc:sldChg>
      <pc:sldChg chg="del">
        <pc:chgData name="Niittymies Aleksi" userId="00c1d702-9a1a-46cb-9bcd-5368d837961b" providerId="ADAL" clId="{5A9225AD-B49B-4444-A0DC-F8BA8F343C3A}" dt="2023-11-06T16:45:26.379" v="152" actId="47"/>
        <pc:sldMkLst>
          <pc:docMk/>
          <pc:sldMk cId="1234379086" sldId="6544"/>
        </pc:sldMkLst>
      </pc:sldChg>
      <pc:sldChg chg="del">
        <pc:chgData name="Niittymies Aleksi" userId="00c1d702-9a1a-46cb-9bcd-5368d837961b" providerId="ADAL" clId="{5A9225AD-B49B-4444-A0DC-F8BA8F343C3A}" dt="2023-11-06T16:45:38.954" v="160" actId="47"/>
        <pc:sldMkLst>
          <pc:docMk/>
          <pc:sldMk cId="607334413" sldId="6545"/>
        </pc:sldMkLst>
      </pc:sldChg>
      <pc:sldChg chg="addSp delSp modSp add mod ord">
        <pc:chgData name="Niittymies Aleksi" userId="00c1d702-9a1a-46cb-9bcd-5368d837961b" providerId="ADAL" clId="{5A9225AD-B49B-4444-A0DC-F8BA8F343C3A}" dt="2023-11-06T16:26:20.381" v="149"/>
        <pc:sldMkLst>
          <pc:docMk/>
          <pc:sldMk cId="1567777736" sldId="6546"/>
        </pc:sldMkLst>
        <pc:spChg chg="del">
          <ac:chgData name="Niittymies Aleksi" userId="00c1d702-9a1a-46cb-9bcd-5368d837961b" providerId="ADAL" clId="{5A9225AD-B49B-4444-A0DC-F8BA8F343C3A}" dt="2023-11-06T16:10:52.050" v="1" actId="478"/>
          <ac:spMkLst>
            <pc:docMk/>
            <pc:sldMk cId="1567777736" sldId="6546"/>
            <ac:spMk id="2" creationId="{7188B95F-4310-569A-83C9-3FA1F947D1D9}"/>
          </ac:spMkLst>
        </pc:spChg>
        <pc:spChg chg="add del mod">
          <ac:chgData name="Niittymies Aleksi" userId="00c1d702-9a1a-46cb-9bcd-5368d837961b" providerId="ADAL" clId="{5A9225AD-B49B-4444-A0DC-F8BA8F343C3A}" dt="2023-11-06T16:10:53.995" v="2" actId="478"/>
          <ac:spMkLst>
            <pc:docMk/>
            <pc:sldMk cId="1567777736" sldId="6546"/>
            <ac:spMk id="4" creationId="{71642006-97E7-7B01-3A4A-D7A68564A9A6}"/>
          </ac:spMkLst>
        </pc:spChg>
        <pc:spChg chg="mod">
          <ac:chgData name="Niittymies Aleksi" userId="00c1d702-9a1a-46cb-9bcd-5368d837961b" providerId="ADAL" clId="{5A9225AD-B49B-4444-A0DC-F8BA8F343C3A}" dt="2023-11-06T16:11:25.099" v="44" actId="20577"/>
          <ac:spMkLst>
            <pc:docMk/>
            <pc:sldMk cId="1567777736" sldId="6546"/>
            <ac:spMk id="5" creationId="{4E79B233-C263-4355-BEE2-6A4CD1ED5B59}"/>
          </ac:spMkLst>
        </pc:spChg>
        <pc:picChg chg="add mod">
          <ac:chgData name="Niittymies Aleksi" userId="00c1d702-9a1a-46cb-9bcd-5368d837961b" providerId="ADAL" clId="{5A9225AD-B49B-4444-A0DC-F8BA8F343C3A}" dt="2023-11-06T16:11:04.111" v="7" actId="1076"/>
          <ac:picMkLst>
            <pc:docMk/>
            <pc:sldMk cId="1567777736" sldId="6546"/>
            <ac:picMk id="6" creationId="{3E34222C-791E-7641-188C-B7B359355C0A}"/>
          </ac:picMkLst>
        </pc:picChg>
      </pc:sldChg>
      <pc:sldChg chg="modSp add mod modShow">
        <pc:chgData name="Niittymies Aleksi" userId="00c1d702-9a1a-46cb-9bcd-5368d837961b" providerId="ADAL" clId="{5A9225AD-B49B-4444-A0DC-F8BA8F343C3A}" dt="2023-11-07T13:59:47.703" v="1622" actId="729"/>
        <pc:sldMkLst>
          <pc:docMk/>
          <pc:sldMk cId="556931927" sldId="6547"/>
        </pc:sldMkLst>
        <pc:spChg chg="mod">
          <ac:chgData name="Niittymies Aleksi" userId="00c1d702-9a1a-46cb-9bcd-5368d837961b" providerId="ADAL" clId="{5A9225AD-B49B-4444-A0DC-F8BA8F343C3A}" dt="2023-11-07T11:15:23.936" v="668" actId="20577"/>
          <ac:spMkLst>
            <pc:docMk/>
            <pc:sldMk cId="556931927" sldId="6547"/>
            <ac:spMk id="2" creationId="{7188B95F-4310-569A-83C9-3FA1F947D1D9}"/>
          </ac:spMkLst>
        </pc:spChg>
        <pc:spChg chg="mod">
          <ac:chgData name="Niittymies Aleksi" userId="00c1d702-9a1a-46cb-9bcd-5368d837961b" providerId="ADAL" clId="{5A9225AD-B49B-4444-A0DC-F8BA8F343C3A}" dt="2023-11-07T11:14:31.876" v="598" actId="14100"/>
          <ac:spMkLst>
            <pc:docMk/>
            <pc:sldMk cId="556931927" sldId="6547"/>
            <ac:spMk id="5" creationId="{4E79B233-C263-4355-BEE2-6A4CD1ED5B59}"/>
          </ac:spMkLst>
        </pc:spChg>
      </pc:sldChg>
      <pc:sldChg chg="addSp modSp add mod">
        <pc:chgData name="Niittymies Aleksi" userId="00c1d702-9a1a-46cb-9bcd-5368d837961b" providerId="ADAL" clId="{5A9225AD-B49B-4444-A0DC-F8BA8F343C3A}" dt="2023-11-07T13:55:47.556" v="1620" actId="14100"/>
        <pc:sldMkLst>
          <pc:docMk/>
          <pc:sldMk cId="57300053" sldId="6548"/>
        </pc:sldMkLst>
        <pc:spChg chg="mod">
          <ac:chgData name="Niittymies Aleksi" userId="00c1d702-9a1a-46cb-9bcd-5368d837961b" providerId="ADAL" clId="{5A9225AD-B49B-4444-A0DC-F8BA8F343C3A}" dt="2023-11-07T13:55:47.556" v="1620" actId="14100"/>
          <ac:spMkLst>
            <pc:docMk/>
            <pc:sldMk cId="57300053" sldId="6548"/>
            <ac:spMk id="2" creationId="{7188B95F-4310-569A-83C9-3FA1F947D1D9}"/>
          </ac:spMkLst>
        </pc:spChg>
        <pc:spChg chg="mod">
          <ac:chgData name="Niittymies Aleksi" userId="00c1d702-9a1a-46cb-9bcd-5368d837961b" providerId="ADAL" clId="{5A9225AD-B49B-4444-A0DC-F8BA8F343C3A}" dt="2023-11-07T13:29:56.816" v="1442" actId="14100"/>
          <ac:spMkLst>
            <pc:docMk/>
            <pc:sldMk cId="57300053" sldId="6548"/>
            <ac:spMk id="5" creationId="{4E79B233-C263-4355-BEE2-6A4CD1ED5B59}"/>
          </ac:spMkLst>
        </pc:spChg>
        <pc:picChg chg="add mod">
          <ac:chgData name="Niittymies Aleksi" userId="00c1d702-9a1a-46cb-9bcd-5368d837961b" providerId="ADAL" clId="{5A9225AD-B49B-4444-A0DC-F8BA8F343C3A}" dt="2023-11-07T13:55:44.899" v="1619" actId="1076"/>
          <ac:picMkLst>
            <pc:docMk/>
            <pc:sldMk cId="57300053" sldId="6548"/>
            <ac:picMk id="3" creationId="{37D38F75-9514-B583-506A-1CAD53A652FA}"/>
          </ac:picMkLst>
        </pc:picChg>
      </pc:sldChg>
      <pc:sldChg chg="modSp add mod ord">
        <pc:chgData name="Niittymies Aleksi" userId="00c1d702-9a1a-46cb-9bcd-5368d837961b" providerId="ADAL" clId="{5A9225AD-B49B-4444-A0DC-F8BA8F343C3A}" dt="2023-11-07T15:48:23.751" v="2472" actId="20577"/>
        <pc:sldMkLst>
          <pc:docMk/>
          <pc:sldMk cId="1373114127" sldId="6549"/>
        </pc:sldMkLst>
        <pc:spChg chg="mod">
          <ac:chgData name="Niittymies Aleksi" userId="00c1d702-9a1a-46cb-9bcd-5368d837961b" providerId="ADAL" clId="{5A9225AD-B49B-4444-A0DC-F8BA8F343C3A}" dt="2023-11-07T15:48:23.751" v="2472" actId="20577"/>
          <ac:spMkLst>
            <pc:docMk/>
            <pc:sldMk cId="1373114127" sldId="6549"/>
            <ac:spMk id="2" creationId="{7188B95F-4310-569A-83C9-3FA1F947D1D9}"/>
          </ac:spMkLst>
        </pc:spChg>
        <pc:spChg chg="mod">
          <ac:chgData name="Niittymies Aleksi" userId="00c1d702-9a1a-46cb-9bcd-5368d837961b" providerId="ADAL" clId="{5A9225AD-B49B-4444-A0DC-F8BA8F343C3A}" dt="2023-11-07T13:46:56.405" v="1555" actId="20577"/>
          <ac:spMkLst>
            <pc:docMk/>
            <pc:sldMk cId="1373114127" sldId="6549"/>
            <ac:spMk id="5" creationId="{4E79B233-C263-4355-BEE2-6A4CD1ED5B59}"/>
          </ac:spMkLst>
        </pc:spChg>
      </pc:sldChg>
      <pc:sldChg chg="modSp add mod modShow">
        <pc:chgData name="Niittymies Aleksi" userId="00c1d702-9a1a-46cb-9bcd-5368d837961b" providerId="ADAL" clId="{5A9225AD-B49B-4444-A0DC-F8BA8F343C3A}" dt="2023-11-07T13:58:44.671" v="1621" actId="729"/>
        <pc:sldMkLst>
          <pc:docMk/>
          <pc:sldMk cId="1372546491" sldId="6550"/>
        </pc:sldMkLst>
        <pc:spChg chg="mod">
          <ac:chgData name="Niittymies Aleksi" userId="00c1d702-9a1a-46cb-9bcd-5368d837961b" providerId="ADAL" clId="{5A9225AD-B49B-4444-A0DC-F8BA8F343C3A}" dt="2023-11-07T13:54:34.026" v="1587" actId="313"/>
          <ac:spMkLst>
            <pc:docMk/>
            <pc:sldMk cId="1372546491" sldId="6550"/>
            <ac:spMk id="2" creationId="{7188B95F-4310-569A-83C9-3FA1F947D1D9}"/>
          </ac:spMkLst>
        </pc:spChg>
        <pc:spChg chg="mod">
          <ac:chgData name="Niittymies Aleksi" userId="00c1d702-9a1a-46cb-9bcd-5368d837961b" providerId="ADAL" clId="{5A9225AD-B49B-4444-A0DC-F8BA8F343C3A}" dt="2023-11-07T13:55:00.468" v="1614" actId="20577"/>
          <ac:spMkLst>
            <pc:docMk/>
            <pc:sldMk cId="1372546491" sldId="6550"/>
            <ac:spMk id="5" creationId="{4E79B233-C263-4355-BEE2-6A4CD1ED5B59}"/>
          </ac:spMkLst>
        </pc:spChg>
      </pc:sldChg>
      <pc:sldChg chg="modSp add mod ord">
        <pc:chgData name="Niittymies Aleksi" userId="00c1d702-9a1a-46cb-9bcd-5368d837961b" providerId="ADAL" clId="{5A9225AD-B49B-4444-A0DC-F8BA8F343C3A}" dt="2023-11-07T15:51:14.371" v="2480" actId="115"/>
        <pc:sldMkLst>
          <pc:docMk/>
          <pc:sldMk cId="1528671345" sldId="6551"/>
        </pc:sldMkLst>
        <pc:spChg chg="mod">
          <ac:chgData name="Niittymies Aleksi" userId="00c1d702-9a1a-46cb-9bcd-5368d837961b" providerId="ADAL" clId="{5A9225AD-B49B-4444-A0DC-F8BA8F343C3A}" dt="2023-11-07T15:51:14.371" v="2480" actId="115"/>
          <ac:spMkLst>
            <pc:docMk/>
            <pc:sldMk cId="1528671345" sldId="6551"/>
            <ac:spMk id="2" creationId="{7188B95F-4310-569A-83C9-3FA1F947D1D9}"/>
          </ac:spMkLst>
        </pc:spChg>
        <pc:spChg chg="mod">
          <ac:chgData name="Niittymies Aleksi" userId="00c1d702-9a1a-46cb-9bcd-5368d837961b" providerId="ADAL" clId="{5A9225AD-B49B-4444-A0DC-F8BA8F343C3A}" dt="2023-11-06T16:25:01.330" v="143"/>
          <ac:spMkLst>
            <pc:docMk/>
            <pc:sldMk cId="1528671345" sldId="6551"/>
            <ac:spMk id="5" creationId="{4E79B233-C263-4355-BEE2-6A4CD1ED5B59}"/>
          </ac:spMkLst>
        </pc:spChg>
      </pc:sldChg>
      <pc:sldChg chg="modSp add del mod">
        <pc:chgData name="Niittymies Aleksi" userId="00c1d702-9a1a-46cb-9bcd-5368d837961b" providerId="ADAL" clId="{5A9225AD-B49B-4444-A0DC-F8BA8F343C3A}" dt="2023-11-07T14:56:27.655" v="2055" actId="47"/>
        <pc:sldMkLst>
          <pc:docMk/>
          <pc:sldMk cId="3133999861" sldId="6552"/>
        </pc:sldMkLst>
        <pc:spChg chg="mod">
          <ac:chgData name="Niittymies Aleksi" userId="00c1d702-9a1a-46cb-9bcd-5368d837961b" providerId="ADAL" clId="{5A9225AD-B49B-4444-A0DC-F8BA8F343C3A}" dt="2023-11-07T08:48:58.938" v="187"/>
          <ac:spMkLst>
            <pc:docMk/>
            <pc:sldMk cId="3133999861" sldId="6552"/>
            <ac:spMk id="2" creationId="{7188B95F-4310-569A-83C9-3FA1F947D1D9}"/>
          </ac:spMkLst>
        </pc:spChg>
        <pc:spChg chg="mod">
          <ac:chgData name="Niittymies Aleksi" userId="00c1d702-9a1a-46cb-9bcd-5368d837961b" providerId="ADAL" clId="{5A9225AD-B49B-4444-A0DC-F8BA8F343C3A}" dt="2023-11-07T08:48:46.219" v="186" actId="20577"/>
          <ac:spMkLst>
            <pc:docMk/>
            <pc:sldMk cId="3133999861" sldId="6552"/>
            <ac:spMk id="5" creationId="{4E79B233-C263-4355-BEE2-6A4CD1ED5B59}"/>
          </ac:spMkLst>
        </pc:spChg>
      </pc:sldChg>
      <pc:sldChg chg="modSp add del mod">
        <pc:chgData name="Niittymies Aleksi" userId="00c1d702-9a1a-46cb-9bcd-5368d837961b" providerId="ADAL" clId="{5A9225AD-B49B-4444-A0DC-F8BA8F343C3A}" dt="2023-11-07T14:56:29.840" v="2056" actId="47"/>
        <pc:sldMkLst>
          <pc:docMk/>
          <pc:sldMk cId="521407671" sldId="6553"/>
        </pc:sldMkLst>
        <pc:spChg chg="mod">
          <ac:chgData name="Niittymies Aleksi" userId="00c1d702-9a1a-46cb-9bcd-5368d837961b" providerId="ADAL" clId="{5A9225AD-B49B-4444-A0DC-F8BA8F343C3A}" dt="2023-11-07T08:52:19.320" v="201"/>
          <ac:spMkLst>
            <pc:docMk/>
            <pc:sldMk cId="521407671" sldId="6553"/>
            <ac:spMk id="2" creationId="{7188B95F-4310-569A-83C9-3FA1F947D1D9}"/>
          </ac:spMkLst>
        </pc:spChg>
        <pc:spChg chg="mod">
          <ac:chgData name="Niittymies Aleksi" userId="00c1d702-9a1a-46cb-9bcd-5368d837961b" providerId="ADAL" clId="{5A9225AD-B49B-4444-A0DC-F8BA8F343C3A}" dt="2023-11-07T08:52:10.491" v="200" actId="20577"/>
          <ac:spMkLst>
            <pc:docMk/>
            <pc:sldMk cId="521407671" sldId="6553"/>
            <ac:spMk id="5" creationId="{4E79B233-C263-4355-BEE2-6A4CD1ED5B59}"/>
          </ac:spMkLst>
        </pc:spChg>
      </pc:sldChg>
      <pc:sldChg chg="addSp delSp modSp add del mod ord">
        <pc:chgData name="Niittymies Aleksi" userId="00c1d702-9a1a-46cb-9bcd-5368d837961b" providerId="ADAL" clId="{5A9225AD-B49B-4444-A0DC-F8BA8F343C3A}" dt="2023-11-07T14:31:21.705" v="1647" actId="47"/>
        <pc:sldMkLst>
          <pc:docMk/>
          <pc:sldMk cId="1590556831" sldId="6554"/>
        </pc:sldMkLst>
        <pc:spChg chg="del">
          <ac:chgData name="Niittymies Aleksi" userId="00c1d702-9a1a-46cb-9bcd-5368d837961b" providerId="ADAL" clId="{5A9225AD-B49B-4444-A0DC-F8BA8F343C3A}" dt="2023-11-07T09:04:06.368" v="203" actId="478"/>
          <ac:spMkLst>
            <pc:docMk/>
            <pc:sldMk cId="1590556831" sldId="6554"/>
            <ac:spMk id="2" creationId="{7188B95F-4310-569A-83C9-3FA1F947D1D9}"/>
          </ac:spMkLst>
        </pc:spChg>
        <pc:spChg chg="add del mod">
          <ac:chgData name="Niittymies Aleksi" userId="00c1d702-9a1a-46cb-9bcd-5368d837961b" providerId="ADAL" clId="{5A9225AD-B49B-4444-A0DC-F8BA8F343C3A}" dt="2023-11-07T09:04:09.194" v="204" actId="478"/>
          <ac:spMkLst>
            <pc:docMk/>
            <pc:sldMk cId="1590556831" sldId="6554"/>
            <ac:spMk id="4" creationId="{D9B2A4CC-A51E-595C-9C8A-3E350A980203}"/>
          </ac:spMkLst>
        </pc:spChg>
        <pc:spChg chg="mod">
          <ac:chgData name="Niittymies Aleksi" userId="00c1d702-9a1a-46cb-9bcd-5368d837961b" providerId="ADAL" clId="{5A9225AD-B49B-4444-A0DC-F8BA8F343C3A}" dt="2023-11-07T11:06:11.222" v="521" actId="20577"/>
          <ac:spMkLst>
            <pc:docMk/>
            <pc:sldMk cId="1590556831" sldId="6554"/>
            <ac:spMk id="5" creationId="{4E79B233-C263-4355-BEE2-6A4CD1ED5B59}"/>
          </ac:spMkLst>
        </pc:spChg>
        <pc:picChg chg="add mod">
          <ac:chgData name="Niittymies Aleksi" userId="00c1d702-9a1a-46cb-9bcd-5368d837961b" providerId="ADAL" clId="{5A9225AD-B49B-4444-A0DC-F8BA8F343C3A}" dt="2023-11-07T11:06:40.020" v="528" actId="1076"/>
          <ac:picMkLst>
            <pc:docMk/>
            <pc:sldMk cId="1590556831" sldId="6554"/>
            <ac:picMk id="7" creationId="{06407020-14F7-8C8C-6A86-B68EEE02C576}"/>
          </ac:picMkLst>
        </pc:picChg>
        <pc:picChg chg="add mod">
          <ac:chgData name="Niittymies Aleksi" userId="00c1d702-9a1a-46cb-9bcd-5368d837961b" providerId="ADAL" clId="{5A9225AD-B49B-4444-A0DC-F8BA8F343C3A}" dt="2023-11-07T11:06:35.972" v="526" actId="1076"/>
          <ac:picMkLst>
            <pc:docMk/>
            <pc:sldMk cId="1590556831" sldId="6554"/>
            <ac:picMk id="9" creationId="{F631998D-6AA4-992B-7CA4-4DEA316DE143}"/>
          </ac:picMkLst>
        </pc:picChg>
        <pc:picChg chg="add mod">
          <ac:chgData name="Niittymies Aleksi" userId="00c1d702-9a1a-46cb-9bcd-5368d837961b" providerId="ADAL" clId="{5A9225AD-B49B-4444-A0DC-F8BA8F343C3A}" dt="2023-11-07T11:06:31.957" v="524" actId="1076"/>
          <ac:picMkLst>
            <pc:docMk/>
            <pc:sldMk cId="1590556831" sldId="6554"/>
            <ac:picMk id="11" creationId="{24378F6B-C25B-317D-CD95-5A1B1D4D2842}"/>
          </ac:picMkLst>
        </pc:picChg>
        <pc:picChg chg="add mod">
          <ac:chgData name="Niittymies Aleksi" userId="00c1d702-9a1a-46cb-9bcd-5368d837961b" providerId="ADAL" clId="{5A9225AD-B49B-4444-A0DC-F8BA8F343C3A}" dt="2023-11-07T11:06:33.812" v="525" actId="1076"/>
          <ac:picMkLst>
            <pc:docMk/>
            <pc:sldMk cId="1590556831" sldId="6554"/>
            <ac:picMk id="13" creationId="{7DA9BCDF-3DDA-D1DF-1A76-AD5F21ECB4A7}"/>
          </ac:picMkLst>
        </pc:picChg>
        <pc:picChg chg="add del mod">
          <ac:chgData name="Niittymies Aleksi" userId="00c1d702-9a1a-46cb-9bcd-5368d837961b" providerId="ADAL" clId="{5A9225AD-B49B-4444-A0DC-F8BA8F343C3A}" dt="2023-11-07T09:28:47.996" v="317" actId="21"/>
          <ac:picMkLst>
            <pc:docMk/>
            <pc:sldMk cId="1590556831" sldId="6554"/>
            <ac:picMk id="15" creationId="{F24EDE4D-94F2-BC4C-D069-4441BB3E07FA}"/>
          </ac:picMkLst>
        </pc:picChg>
        <pc:picChg chg="add del mod">
          <ac:chgData name="Niittymies Aleksi" userId="00c1d702-9a1a-46cb-9bcd-5368d837961b" providerId="ADAL" clId="{5A9225AD-B49B-4444-A0DC-F8BA8F343C3A}" dt="2023-11-07T09:28:39.444" v="315" actId="21"/>
          <ac:picMkLst>
            <pc:docMk/>
            <pc:sldMk cId="1590556831" sldId="6554"/>
            <ac:picMk id="17" creationId="{8052B606-DBFF-43AA-2C44-8D87912D5740}"/>
          </ac:picMkLst>
        </pc:picChg>
        <pc:picChg chg="add del mod">
          <ac:chgData name="Niittymies Aleksi" userId="00c1d702-9a1a-46cb-9bcd-5368d837961b" providerId="ADAL" clId="{5A9225AD-B49B-4444-A0DC-F8BA8F343C3A}" dt="2023-11-07T09:22:56.903" v="275" actId="21"/>
          <ac:picMkLst>
            <pc:docMk/>
            <pc:sldMk cId="1590556831" sldId="6554"/>
            <ac:picMk id="19" creationId="{AAE9120F-AA30-965F-EE98-3493DCFB04BC}"/>
          </ac:picMkLst>
        </pc:picChg>
      </pc:sldChg>
      <pc:sldChg chg="addSp delSp modSp add mod ord">
        <pc:chgData name="Niittymies Aleksi" userId="00c1d702-9a1a-46cb-9bcd-5368d837961b" providerId="ADAL" clId="{5A9225AD-B49B-4444-A0DC-F8BA8F343C3A}" dt="2023-11-07T14:57:02.989" v="2066" actId="114"/>
        <pc:sldMkLst>
          <pc:docMk/>
          <pc:sldMk cId="403354690" sldId="6555"/>
        </pc:sldMkLst>
        <pc:spChg chg="mod">
          <ac:chgData name="Niittymies Aleksi" userId="00c1d702-9a1a-46cb-9bcd-5368d837961b" providerId="ADAL" clId="{5A9225AD-B49B-4444-A0DC-F8BA8F343C3A}" dt="2023-11-07T14:25:13.043" v="1644" actId="20577"/>
          <ac:spMkLst>
            <pc:docMk/>
            <pc:sldMk cId="403354690" sldId="6555"/>
            <ac:spMk id="5" creationId="{4E79B233-C263-4355-BEE2-6A4CD1ED5B59}"/>
          </ac:spMkLst>
        </pc:spChg>
        <pc:spChg chg="add mod">
          <ac:chgData name="Niittymies Aleksi" userId="00c1d702-9a1a-46cb-9bcd-5368d837961b" providerId="ADAL" clId="{5A9225AD-B49B-4444-A0DC-F8BA8F343C3A}" dt="2023-11-07T14:57:02.989" v="2066" actId="114"/>
          <ac:spMkLst>
            <pc:docMk/>
            <pc:sldMk cId="403354690" sldId="6555"/>
            <ac:spMk id="27" creationId="{4ED95E8D-C6A4-1D6A-8B63-CBB6AEB69390}"/>
          </ac:spMkLst>
        </pc:spChg>
        <pc:picChg chg="add mod">
          <ac:chgData name="Niittymies Aleksi" userId="00c1d702-9a1a-46cb-9bcd-5368d837961b" providerId="ADAL" clId="{5A9225AD-B49B-4444-A0DC-F8BA8F343C3A}" dt="2023-11-07T11:10:56.324" v="553" actId="1076"/>
          <ac:picMkLst>
            <pc:docMk/>
            <pc:sldMk cId="403354690" sldId="6555"/>
            <ac:picMk id="3" creationId="{4CE0F6F0-6C11-3F33-D477-47E82DFA85C1}"/>
          </ac:picMkLst>
        </pc:picChg>
        <pc:picChg chg="add mod">
          <ac:chgData name="Niittymies Aleksi" userId="00c1d702-9a1a-46cb-9bcd-5368d837961b" providerId="ADAL" clId="{5A9225AD-B49B-4444-A0DC-F8BA8F343C3A}" dt="2023-11-07T14:28:07.230" v="1645" actId="1076"/>
          <ac:picMkLst>
            <pc:docMk/>
            <pc:sldMk cId="403354690" sldId="6555"/>
            <ac:picMk id="6" creationId="{0AC6D274-6E5F-5C87-C9A8-2B5F3C2DAEFE}"/>
          </ac:picMkLst>
        </pc:picChg>
        <pc:picChg chg="del">
          <ac:chgData name="Niittymies Aleksi" userId="00c1d702-9a1a-46cb-9bcd-5368d837961b" providerId="ADAL" clId="{5A9225AD-B49B-4444-A0DC-F8BA8F343C3A}" dt="2023-11-07T09:11:21.782" v="229" actId="478"/>
          <ac:picMkLst>
            <pc:docMk/>
            <pc:sldMk cId="403354690" sldId="6555"/>
            <ac:picMk id="7" creationId="{06407020-14F7-8C8C-6A86-B68EEE02C576}"/>
          </ac:picMkLst>
        </pc:picChg>
        <pc:picChg chg="del">
          <ac:chgData name="Niittymies Aleksi" userId="00c1d702-9a1a-46cb-9bcd-5368d837961b" providerId="ADAL" clId="{5A9225AD-B49B-4444-A0DC-F8BA8F343C3A}" dt="2023-11-07T09:11:23.366" v="232" actId="478"/>
          <ac:picMkLst>
            <pc:docMk/>
            <pc:sldMk cId="403354690" sldId="6555"/>
            <ac:picMk id="9" creationId="{F631998D-6AA4-992B-7CA4-4DEA316DE143}"/>
          </ac:picMkLst>
        </pc:picChg>
        <pc:picChg chg="add mod">
          <ac:chgData name="Niittymies Aleksi" userId="00c1d702-9a1a-46cb-9bcd-5368d837961b" providerId="ADAL" clId="{5A9225AD-B49B-4444-A0DC-F8BA8F343C3A}" dt="2023-11-07T11:11:00.140" v="554" actId="1076"/>
          <ac:picMkLst>
            <pc:docMk/>
            <pc:sldMk cId="403354690" sldId="6555"/>
            <ac:picMk id="10" creationId="{27303D72-71E1-43BC-7506-EB26CB8186DE}"/>
          </ac:picMkLst>
        </pc:picChg>
        <pc:picChg chg="del">
          <ac:chgData name="Niittymies Aleksi" userId="00c1d702-9a1a-46cb-9bcd-5368d837961b" providerId="ADAL" clId="{5A9225AD-B49B-4444-A0DC-F8BA8F343C3A}" dt="2023-11-07T09:11:22.262" v="230" actId="478"/>
          <ac:picMkLst>
            <pc:docMk/>
            <pc:sldMk cId="403354690" sldId="6555"/>
            <ac:picMk id="11" creationId="{24378F6B-C25B-317D-CD95-5A1B1D4D2842}"/>
          </ac:picMkLst>
        </pc:picChg>
        <pc:picChg chg="del">
          <ac:chgData name="Niittymies Aleksi" userId="00c1d702-9a1a-46cb-9bcd-5368d837961b" providerId="ADAL" clId="{5A9225AD-B49B-4444-A0DC-F8BA8F343C3A}" dt="2023-11-07T09:11:20.903" v="227" actId="478"/>
          <ac:picMkLst>
            <pc:docMk/>
            <pc:sldMk cId="403354690" sldId="6555"/>
            <ac:picMk id="13" creationId="{7DA9BCDF-3DDA-D1DF-1A76-AD5F21ECB4A7}"/>
          </ac:picMkLst>
        </pc:picChg>
        <pc:picChg chg="add del mod">
          <ac:chgData name="Niittymies Aleksi" userId="00c1d702-9a1a-46cb-9bcd-5368d837961b" providerId="ADAL" clId="{5A9225AD-B49B-4444-A0DC-F8BA8F343C3A}" dt="2023-11-07T09:22:19.678" v="268" actId="21"/>
          <ac:picMkLst>
            <pc:docMk/>
            <pc:sldMk cId="403354690" sldId="6555"/>
            <ac:picMk id="14" creationId="{862828B8-C7EF-0B80-E2F4-4F55F0DE093B}"/>
          </ac:picMkLst>
        </pc:picChg>
        <pc:picChg chg="del">
          <ac:chgData name="Niittymies Aleksi" userId="00c1d702-9a1a-46cb-9bcd-5368d837961b" providerId="ADAL" clId="{5A9225AD-B49B-4444-A0DC-F8BA8F343C3A}" dt="2023-11-07T09:11:24.200" v="233" actId="478"/>
          <ac:picMkLst>
            <pc:docMk/>
            <pc:sldMk cId="403354690" sldId="6555"/>
            <ac:picMk id="15" creationId="{F24EDE4D-94F2-BC4C-D069-4441BB3E07FA}"/>
          </ac:picMkLst>
        </pc:picChg>
        <pc:picChg chg="del">
          <ac:chgData name="Niittymies Aleksi" userId="00c1d702-9a1a-46cb-9bcd-5368d837961b" providerId="ADAL" clId="{5A9225AD-B49B-4444-A0DC-F8BA8F343C3A}" dt="2023-11-07T09:11:21.382" v="228" actId="478"/>
          <ac:picMkLst>
            <pc:docMk/>
            <pc:sldMk cId="403354690" sldId="6555"/>
            <ac:picMk id="17" creationId="{8052B606-DBFF-43AA-2C44-8D87912D5740}"/>
          </ac:picMkLst>
        </pc:picChg>
        <pc:picChg chg="add del mod">
          <ac:chgData name="Niittymies Aleksi" userId="00c1d702-9a1a-46cb-9bcd-5368d837961b" providerId="ADAL" clId="{5A9225AD-B49B-4444-A0DC-F8BA8F343C3A}" dt="2023-11-07T09:22:45.068" v="273" actId="21"/>
          <ac:picMkLst>
            <pc:docMk/>
            <pc:sldMk cId="403354690" sldId="6555"/>
            <ac:picMk id="18" creationId="{4DAB9590-36AA-1AFE-79F1-4A701D7558B3}"/>
          </ac:picMkLst>
        </pc:picChg>
        <pc:picChg chg="del">
          <ac:chgData name="Niittymies Aleksi" userId="00c1d702-9a1a-46cb-9bcd-5368d837961b" providerId="ADAL" clId="{5A9225AD-B49B-4444-A0DC-F8BA8F343C3A}" dt="2023-11-07T09:11:22.773" v="231" actId="478"/>
          <ac:picMkLst>
            <pc:docMk/>
            <pc:sldMk cId="403354690" sldId="6555"/>
            <ac:picMk id="19" creationId="{AAE9120F-AA30-965F-EE98-3493DCFB04BC}"/>
          </ac:picMkLst>
        </pc:picChg>
        <pc:picChg chg="add del mod">
          <ac:chgData name="Niittymies Aleksi" userId="00c1d702-9a1a-46cb-9bcd-5368d837961b" providerId="ADAL" clId="{5A9225AD-B49B-4444-A0DC-F8BA8F343C3A}" dt="2023-11-07T09:22:27.039" v="271" actId="21"/>
          <ac:picMkLst>
            <pc:docMk/>
            <pc:sldMk cId="403354690" sldId="6555"/>
            <ac:picMk id="21" creationId="{AA53FA5D-5220-53EF-9978-676FCC972C75}"/>
          </ac:picMkLst>
        </pc:picChg>
        <pc:picChg chg="add mod">
          <ac:chgData name="Niittymies Aleksi" userId="00c1d702-9a1a-46cb-9bcd-5368d837961b" providerId="ADAL" clId="{5A9225AD-B49B-4444-A0DC-F8BA8F343C3A}" dt="2023-11-07T11:10:08.907" v="539" actId="1076"/>
          <ac:picMkLst>
            <pc:docMk/>
            <pc:sldMk cId="403354690" sldId="6555"/>
            <ac:picMk id="23" creationId="{1ED5B146-C2AF-B277-50B6-C82A23058DBC}"/>
          </ac:picMkLst>
        </pc:picChg>
        <pc:picChg chg="add del mod">
          <ac:chgData name="Niittymies Aleksi" userId="00c1d702-9a1a-46cb-9bcd-5368d837961b" providerId="ADAL" clId="{5A9225AD-B49B-4444-A0DC-F8BA8F343C3A}" dt="2023-11-07T11:09:38.110" v="530" actId="21"/>
          <ac:picMkLst>
            <pc:docMk/>
            <pc:sldMk cId="403354690" sldId="6555"/>
            <ac:picMk id="25" creationId="{9E086014-FC46-1DBA-E440-6D43EDBC72E9}"/>
          </ac:picMkLst>
        </pc:picChg>
        <pc:picChg chg="add mod">
          <ac:chgData name="Niittymies Aleksi" userId="00c1d702-9a1a-46cb-9bcd-5368d837961b" providerId="ADAL" clId="{5A9225AD-B49B-4444-A0DC-F8BA8F343C3A}" dt="2023-11-07T11:10:45.876" v="550" actId="1076"/>
          <ac:picMkLst>
            <pc:docMk/>
            <pc:sldMk cId="403354690" sldId="6555"/>
            <ac:picMk id="28" creationId="{37E82545-2EB5-F273-2DE5-E98B2C0472C4}"/>
          </ac:picMkLst>
        </pc:picChg>
      </pc:sldChg>
      <pc:sldChg chg="addSp delSp modSp new mod ord">
        <pc:chgData name="Niittymies Aleksi" userId="00c1d702-9a1a-46cb-9bcd-5368d837961b" providerId="ADAL" clId="{5A9225AD-B49B-4444-A0DC-F8BA8F343C3A}" dt="2023-11-07T14:56:06.833" v="2054" actId="1076"/>
        <pc:sldMkLst>
          <pc:docMk/>
          <pc:sldMk cId="2928754361" sldId="6556"/>
        </pc:sldMkLst>
        <pc:spChg chg="mod">
          <ac:chgData name="Niittymies Aleksi" userId="00c1d702-9a1a-46cb-9bcd-5368d837961b" providerId="ADAL" clId="{5A9225AD-B49B-4444-A0DC-F8BA8F343C3A}" dt="2023-11-07T14:25:06.734" v="1634" actId="207"/>
          <ac:spMkLst>
            <pc:docMk/>
            <pc:sldMk cId="2928754361" sldId="6556"/>
            <ac:spMk id="2" creationId="{ABF64B63-BBDD-FE79-2280-BC765AF0C8D8}"/>
          </ac:spMkLst>
        </pc:spChg>
        <pc:spChg chg="del">
          <ac:chgData name="Niittymies Aleksi" userId="00c1d702-9a1a-46cb-9bcd-5368d837961b" providerId="ADAL" clId="{5A9225AD-B49B-4444-A0DC-F8BA8F343C3A}" dt="2023-11-07T09:22:23.019" v="270" actId="478"/>
          <ac:spMkLst>
            <pc:docMk/>
            <pc:sldMk cId="2928754361" sldId="6556"/>
            <ac:spMk id="3" creationId="{19730502-5FDF-EF83-8666-93D93F022F8E}"/>
          </ac:spMkLst>
        </pc:spChg>
        <pc:spChg chg="add mod">
          <ac:chgData name="Niittymies Aleksi" userId="00c1d702-9a1a-46cb-9bcd-5368d837961b" providerId="ADAL" clId="{5A9225AD-B49B-4444-A0DC-F8BA8F343C3A}" dt="2023-11-07T14:55:17.507" v="1945" actId="1076"/>
          <ac:spMkLst>
            <pc:docMk/>
            <pc:sldMk cId="2928754361" sldId="6556"/>
            <ac:spMk id="14" creationId="{AD2D92F6-CFDD-6086-6649-C74847D05EB7}"/>
          </ac:spMkLst>
        </pc:spChg>
        <pc:spChg chg="add mod">
          <ac:chgData name="Niittymies Aleksi" userId="00c1d702-9a1a-46cb-9bcd-5368d837961b" providerId="ADAL" clId="{5A9225AD-B49B-4444-A0DC-F8BA8F343C3A}" dt="2023-11-07T14:56:06.833" v="2054" actId="1076"/>
          <ac:spMkLst>
            <pc:docMk/>
            <pc:sldMk cId="2928754361" sldId="6556"/>
            <ac:spMk id="15" creationId="{609EE3B5-A141-731E-50C1-053CFBE8902D}"/>
          </ac:spMkLst>
        </pc:spChg>
        <pc:grpChg chg="add mod">
          <ac:chgData name="Niittymies Aleksi" userId="00c1d702-9a1a-46cb-9bcd-5368d837961b" providerId="ADAL" clId="{5A9225AD-B49B-4444-A0DC-F8BA8F343C3A}" dt="2023-11-07T10:58:55.207" v="383" actId="1076"/>
          <ac:grpSpMkLst>
            <pc:docMk/>
            <pc:sldMk cId="2928754361" sldId="6556"/>
            <ac:grpSpMk id="12" creationId="{A509EA7F-A235-6C2F-2599-60317C8CCA01}"/>
          </ac:grpSpMkLst>
        </pc:grpChg>
        <pc:picChg chg="add mod">
          <ac:chgData name="Niittymies Aleksi" userId="00c1d702-9a1a-46cb-9bcd-5368d837961b" providerId="ADAL" clId="{5A9225AD-B49B-4444-A0DC-F8BA8F343C3A}" dt="2023-11-07T10:58:48.543" v="381" actId="1076"/>
          <ac:picMkLst>
            <pc:docMk/>
            <pc:sldMk cId="2928754361" sldId="6556"/>
            <ac:picMk id="4" creationId="{16CD879A-B376-1842-832B-462D21DAE198}"/>
          </ac:picMkLst>
        </pc:picChg>
        <pc:picChg chg="add mod">
          <ac:chgData name="Niittymies Aleksi" userId="00c1d702-9a1a-46cb-9bcd-5368d837961b" providerId="ADAL" clId="{5A9225AD-B49B-4444-A0DC-F8BA8F343C3A}" dt="2023-11-07T10:59:57.007" v="403" actId="1076"/>
          <ac:picMkLst>
            <pc:docMk/>
            <pc:sldMk cId="2928754361" sldId="6556"/>
            <ac:picMk id="5" creationId="{EA3BBB6C-FC3C-EA8E-F34D-990F3E8E97CF}"/>
          </ac:picMkLst>
        </pc:picChg>
        <pc:picChg chg="add del mod">
          <ac:chgData name="Niittymies Aleksi" userId="00c1d702-9a1a-46cb-9bcd-5368d837961b" providerId="ADAL" clId="{5A9225AD-B49B-4444-A0DC-F8BA8F343C3A}" dt="2023-11-07T10:58:22.911" v="376" actId="478"/>
          <ac:picMkLst>
            <pc:docMk/>
            <pc:sldMk cId="2928754361" sldId="6556"/>
            <ac:picMk id="6" creationId="{701350B0-8C52-A3C5-10B7-459940AC271E}"/>
          </ac:picMkLst>
        </pc:picChg>
        <pc:picChg chg="add mod">
          <ac:chgData name="Niittymies Aleksi" userId="00c1d702-9a1a-46cb-9bcd-5368d837961b" providerId="ADAL" clId="{5A9225AD-B49B-4444-A0DC-F8BA8F343C3A}" dt="2023-11-07T11:00:15.726" v="409" actId="1076"/>
          <ac:picMkLst>
            <pc:docMk/>
            <pc:sldMk cId="2928754361" sldId="6556"/>
            <ac:picMk id="7" creationId="{2C7900C1-26E8-EC63-7ED6-6F9BD68BC0DD}"/>
          </ac:picMkLst>
        </pc:picChg>
        <pc:picChg chg="add mod">
          <ac:chgData name="Niittymies Aleksi" userId="00c1d702-9a1a-46cb-9bcd-5368d837961b" providerId="ADAL" clId="{5A9225AD-B49B-4444-A0DC-F8BA8F343C3A}" dt="2023-11-07T09:25:03.518" v="285" actId="164"/>
          <ac:picMkLst>
            <pc:docMk/>
            <pc:sldMk cId="2928754361" sldId="6556"/>
            <ac:picMk id="9" creationId="{87EF63D1-4DB1-E44D-DADE-C4F34B0A48AC}"/>
          </ac:picMkLst>
        </pc:picChg>
        <pc:picChg chg="add mod">
          <ac:chgData name="Niittymies Aleksi" userId="00c1d702-9a1a-46cb-9bcd-5368d837961b" providerId="ADAL" clId="{5A9225AD-B49B-4444-A0DC-F8BA8F343C3A}" dt="2023-11-07T09:25:03.518" v="285" actId="164"/>
          <ac:picMkLst>
            <pc:docMk/>
            <pc:sldMk cId="2928754361" sldId="6556"/>
            <ac:picMk id="11" creationId="{60FCBE26-DD1A-8795-AFFD-38EBB8AAE01D}"/>
          </ac:picMkLst>
        </pc:picChg>
      </pc:sldChg>
      <pc:sldChg chg="addSp delSp modSp add del mod ord">
        <pc:chgData name="Niittymies Aleksi" userId="00c1d702-9a1a-46cb-9bcd-5368d837961b" providerId="ADAL" clId="{5A9225AD-B49B-4444-A0DC-F8BA8F343C3A}" dt="2023-11-07T14:31:01.002" v="1646" actId="47"/>
        <pc:sldMkLst>
          <pc:docMk/>
          <pc:sldMk cId="106686543" sldId="6557"/>
        </pc:sldMkLst>
        <pc:spChg chg="mod">
          <ac:chgData name="Niittymies Aleksi" userId="00c1d702-9a1a-46cb-9bcd-5368d837961b" providerId="ADAL" clId="{5A9225AD-B49B-4444-A0DC-F8BA8F343C3A}" dt="2023-11-07T09:28:11.428" v="310" actId="20577"/>
          <ac:spMkLst>
            <pc:docMk/>
            <pc:sldMk cId="106686543" sldId="6557"/>
            <ac:spMk id="5" creationId="{4E79B233-C263-4355-BEE2-6A4CD1ED5B59}"/>
          </ac:spMkLst>
        </pc:spChg>
        <pc:spChg chg="del">
          <ac:chgData name="Niittymies Aleksi" userId="00c1d702-9a1a-46cb-9bcd-5368d837961b" providerId="ADAL" clId="{5A9225AD-B49B-4444-A0DC-F8BA8F343C3A}" dt="2023-11-07T09:28:28.178" v="313" actId="478"/>
          <ac:spMkLst>
            <pc:docMk/>
            <pc:sldMk cId="106686543" sldId="6557"/>
            <ac:spMk id="27" creationId="{4ED95E8D-C6A4-1D6A-8B63-CBB6AEB69390}"/>
          </ac:spMkLst>
        </pc:spChg>
        <pc:picChg chg="add mod">
          <ac:chgData name="Niittymies Aleksi" userId="00c1d702-9a1a-46cb-9bcd-5368d837961b" providerId="ADAL" clId="{5A9225AD-B49B-4444-A0DC-F8BA8F343C3A}" dt="2023-11-07T14:24:17.288" v="1632" actId="1076"/>
          <ac:picMkLst>
            <pc:docMk/>
            <pc:sldMk cId="106686543" sldId="6557"/>
            <ac:picMk id="2" creationId="{A31CF1A0-27B7-B806-4254-A62933E8610E}"/>
          </ac:picMkLst>
        </pc:picChg>
        <pc:picChg chg="del">
          <ac:chgData name="Niittymies Aleksi" userId="00c1d702-9a1a-46cb-9bcd-5368d837961b" providerId="ADAL" clId="{5A9225AD-B49B-4444-A0DC-F8BA8F343C3A}" dt="2023-11-07T09:28:30.385" v="314" actId="478"/>
          <ac:picMkLst>
            <pc:docMk/>
            <pc:sldMk cId="106686543" sldId="6557"/>
            <ac:picMk id="3" creationId="{4CE0F6F0-6C11-3F33-D477-47E82DFA85C1}"/>
          </ac:picMkLst>
        </pc:picChg>
        <pc:picChg chg="add del mod">
          <ac:chgData name="Niittymies Aleksi" userId="00c1d702-9a1a-46cb-9bcd-5368d837961b" providerId="ADAL" clId="{5A9225AD-B49B-4444-A0DC-F8BA8F343C3A}" dt="2023-11-07T11:09:45.878" v="533" actId="478"/>
          <ac:picMkLst>
            <pc:docMk/>
            <pc:sldMk cId="106686543" sldId="6557"/>
            <ac:picMk id="4" creationId="{F4CDD4F2-3FEF-8FBF-C2F9-82DE9E3B70CD}"/>
          </ac:picMkLst>
        </pc:picChg>
        <pc:picChg chg="mod">
          <ac:chgData name="Niittymies Aleksi" userId="00c1d702-9a1a-46cb-9bcd-5368d837961b" providerId="ADAL" clId="{5A9225AD-B49B-4444-A0DC-F8BA8F343C3A}" dt="2023-11-07T14:24:03.135" v="1627" actId="1076"/>
          <ac:picMkLst>
            <pc:docMk/>
            <pc:sldMk cId="106686543" sldId="6557"/>
            <ac:picMk id="6" creationId="{0AC6D274-6E5F-5C87-C9A8-2B5F3C2DAEFE}"/>
          </ac:picMkLst>
        </pc:picChg>
        <pc:picChg chg="del">
          <ac:chgData name="Niittymies Aleksi" userId="00c1d702-9a1a-46cb-9bcd-5368d837961b" providerId="ADAL" clId="{5A9225AD-B49B-4444-A0DC-F8BA8F343C3A}" dt="2023-11-07T09:28:22.022" v="312" actId="478"/>
          <ac:picMkLst>
            <pc:docMk/>
            <pc:sldMk cId="106686543" sldId="6557"/>
            <ac:picMk id="10" creationId="{27303D72-71E1-43BC-7506-EB26CB8186DE}"/>
          </ac:picMkLst>
        </pc:picChg>
        <pc:picChg chg="del">
          <ac:chgData name="Niittymies Aleksi" userId="00c1d702-9a1a-46cb-9bcd-5368d837961b" providerId="ADAL" clId="{5A9225AD-B49B-4444-A0DC-F8BA8F343C3A}" dt="2023-11-07T09:28:19.092" v="311" actId="478"/>
          <ac:picMkLst>
            <pc:docMk/>
            <pc:sldMk cId="106686543" sldId="6557"/>
            <ac:picMk id="23" creationId="{1ED5B146-C2AF-B277-50B6-C82A23058DBC}"/>
          </ac:picMkLst>
        </pc:picChg>
        <pc:picChg chg="mod">
          <ac:chgData name="Niittymies Aleksi" userId="00c1d702-9a1a-46cb-9bcd-5368d837961b" providerId="ADAL" clId="{5A9225AD-B49B-4444-A0DC-F8BA8F343C3A}" dt="2023-11-07T14:24:09.120" v="1630" actId="1076"/>
          <ac:picMkLst>
            <pc:docMk/>
            <pc:sldMk cId="106686543" sldId="6557"/>
            <ac:picMk id="25" creationId="{9E086014-FC46-1DBA-E440-6D43EDBC72E9}"/>
          </ac:picMkLst>
        </pc:picChg>
      </pc:sldChg>
      <pc:sldChg chg="modSp new mod ord">
        <pc:chgData name="Niittymies Aleksi" userId="00c1d702-9a1a-46cb-9bcd-5368d837961b" providerId="ADAL" clId="{5A9225AD-B49B-4444-A0DC-F8BA8F343C3A}" dt="2023-11-07T13:27:44.185" v="1410"/>
        <pc:sldMkLst>
          <pc:docMk/>
          <pc:sldMk cId="3668279927" sldId="6558"/>
        </pc:sldMkLst>
        <pc:spChg chg="mod">
          <ac:chgData name="Niittymies Aleksi" userId="00c1d702-9a1a-46cb-9bcd-5368d837961b" providerId="ADAL" clId="{5A9225AD-B49B-4444-A0DC-F8BA8F343C3A}" dt="2023-11-07T10:25:07.827" v="334" actId="20577"/>
          <ac:spMkLst>
            <pc:docMk/>
            <pc:sldMk cId="3668279927" sldId="6558"/>
            <ac:spMk id="2" creationId="{F1DBC7B4-AF4F-FD73-3B04-3D2220ADF51C}"/>
          </ac:spMkLst>
        </pc:spChg>
      </pc:sldChg>
      <pc:sldChg chg="modSp add mod ord">
        <pc:chgData name="Niittymies Aleksi" userId="00c1d702-9a1a-46cb-9bcd-5368d837961b" providerId="ADAL" clId="{5A9225AD-B49B-4444-A0DC-F8BA8F343C3A}" dt="2023-11-07T14:54:40.418" v="1943" actId="20577"/>
        <pc:sldMkLst>
          <pc:docMk/>
          <pc:sldMk cId="2997093962" sldId="6559"/>
        </pc:sldMkLst>
        <pc:spChg chg="mod">
          <ac:chgData name="Niittymies Aleksi" userId="00c1d702-9a1a-46cb-9bcd-5368d837961b" providerId="ADAL" clId="{5A9225AD-B49B-4444-A0DC-F8BA8F343C3A}" dt="2023-11-07T14:54:40.418" v="1943" actId="20577"/>
          <ac:spMkLst>
            <pc:docMk/>
            <pc:sldMk cId="2997093962" sldId="6559"/>
            <ac:spMk id="2" creationId="{F1DBC7B4-AF4F-FD73-3B04-3D2220ADF51C}"/>
          </ac:spMkLst>
        </pc:spChg>
      </pc:sldChg>
      <pc:sldChg chg="addSp delSp modSp add mod ord">
        <pc:chgData name="Niittymies Aleksi" userId="00c1d702-9a1a-46cb-9bcd-5368d837961b" providerId="ADAL" clId="{5A9225AD-B49B-4444-A0DC-F8BA8F343C3A}" dt="2023-11-07T11:18:15.213" v="695" actId="1076"/>
        <pc:sldMkLst>
          <pc:docMk/>
          <pc:sldMk cId="2153976433" sldId="6560"/>
        </pc:sldMkLst>
        <pc:spChg chg="del mod">
          <ac:chgData name="Niittymies Aleksi" userId="00c1d702-9a1a-46cb-9bcd-5368d837961b" providerId="ADAL" clId="{5A9225AD-B49B-4444-A0DC-F8BA8F343C3A}" dt="2023-11-07T11:16:22.553" v="688" actId="478"/>
          <ac:spMkLst>
            <pc:docMk/>
            <pc:sldMk cId="2153976433" sldId="6560"/>
            <ac:spMk id="2" creationId="{7188B95F-4310-569A-83C9-3FA1F947D1D9}"/>
          </ac:spMkLst>
        </pc:spChg>
        <pc:spChg chg="add del">
          <ac:chgData name="Niittymies Aleksi" userId="00c1d702-9a1a-46cb-9bcd-5368d837961b" providerId="ADAL" clId="{5A9225AD-B49B-4444-A0DC-F8BA8F343C3A}" dt="2023-11-07T11:18:00.229" v="691" actId="478"/>
          <ac:spMkLst>
            <pc:docMk/>
            <pc:sldMk cId="2153976433" sldId="6560"/>
            <ac:spMk id="3" creationId="{C30684D7-E024-F4F8-DF6D-3150543783A7}"/>
          </ac:spMkLst>
        </pc:spChg>
        <pc:spChg chg="mod">
          <ac:chgData name="Niittymies Aleksi" userId="00c1d702-9a1a-46cb-9bcd-5368d837961b" providerId="ADAL" clId="{5A9225AD-B49B-4444-A0DC-F8BA8F343C3A}" dt="2023-11-07T11:18:15.213" v="695" actId="1076"/>
          <ac:spMkLst>
            <pc:docMk/>
            <pc:sldMk cId="2153976433" sldId="6560"/>
            <ac:spMk id="5" creationId="{4E79B233-C263-4355-BEE2-6A4CD1ED5B59}"/>
          </ac:spMkLst>
        </pc:spChg>
        <pc:picChg chg="add mod">
          <ac:chgData name="Niittymies Aleksi" userId="00c1d702-9a1a-46cb-9bcd-5368d837961b" providerId="ADAL" clId="{5A9225AD-B49B-4444-A0DC-F8BA8F343C3A}" dt="2023-11-07T11:18:07.965" v="693" actId="1076"/>
          <ac:picMkLst>
            <pc:docMk/>
            <pc:sldMk cId="2153976433" sldId="6560"/>
            <ac:picMk id="4" creationId="{7E1BC0D5-F034-82B8-EF08-946E61111BCC}"/>
          </ac:picMkLst>
        </pc:picChg>
      </pc:sldChg>
      <pc:sldChg chg="addSp delSp modSp add mod ord">
        <pc:chgData name="Niittymies Aleksi" userId="00c1d702-9a1a-46cb-9bcd-5368d837961b" providerId="ADAL" clId="{5A9225AD-B49B-4444-A0DC-F8BA8F343C3A}" dt="2023-11-07T14:54:29.781" v="1930"/>
        <pc:sldMkLst>
          <pc:docMk/>
          <pc:sldMk cId="84455869" sldId="6561"/>
        </pc:sldMkLst>
        <pc:spChg chg="del">
          <ac:chgData name="Niittymies Aleksi" userId="00c1d702-9a1a-46cb-9bcd-5368d837961b" providerId="ADAL" clId="{5A9225AD-B49B-4444-A0DC-F8BA8F343C3A}" dt="2023-11-07T11:02:28.791" v="500" actId="478"/>
          <ac:spMkLst>
            <pc:docMk/>
            <pc:sldMk cId="84455869" sldId="6561"/>
            <ac:spMk id="2" creationId="{7188B95F-4310-569A-83C9-3FA1F947D1D9}"/>
          </ac:spMkLst>
        </pc:spChg>
        <pc:spChg chg="mod">
          <ac:chgData name="Niittymies Aleksi" userId="00c1d702-9a1a-46cb-9bcd-5368d837961b" providerId="ADAL" clId="{5A9225AD-B49B-4444-A0DC-F8BA8F343C3A}" dt="2023-11-07T11:02:26.152" v="499" actId="20577"/>
          <ac:spMkLst>
            <pc:docMk/>
            <pc:sldMk cId="84455869" sldId="6561"/>
            <ac:spMk id="5" creationId="{4E79B233-C263-4355-BEE2-6A4CD1ED5B59}"/>
          </ac:spMkLst>
        </pc:spChg>
        <pc:picChg chg="add mod">
          <ac:chgData name="Niittymies Aleksi" userId="00c1d702-9a1a-46cb-9bcd-5368d837961b" providerId="ADAL" clId="{5A9225AD-B49B-4444-A0DC-F8BA8F343C3A}" dt="2023-11-07T11:03:35.989" v="503" actId="1076"/>
          <ac:picMkLst>
            <pc:docMk/>
            <pc:sldMk cId="84455869" sldId="6561"/>
            <ac:picMk id="4" creationId="{663BDE2F-2F8A-02DD-0FF6-3D8667C816F2}"/>
          </ac:picMkLst>
        </pc:picChg>
      </pc:sldChg>
      <pc:sldChg chg="addSp modSp add mod">
        <pc:chgData name="Niittymies Aleksi" userId="00c1d702-9a1a-46cb-9bcd-5368d837961b" providerId="ADAL" clId="{5A9225AD-B49B-4444-A0DC-F8BA8F343C3A}" dt="2023-11-07T15:54:59.443" v="2482" actId="122"/>
        <pc:sldMkLst>
          <pc:docMk/>
          <pc:sldMk cId="1052488949" sldId="6562"/>
        </pc:sldMkLst>
        <pc:spChg chg="mod">
          <ac:chgData name="Niittymies Aleksi" userId="00c1d702-9a1a-46cb-9bcd-5368d837961b" providerId="ADAL" clId="{5A9225AD-B49B-4444-A0DC-F8BA8F343C3A}" dt="2023-11-07T15:54:59.443" v="2482" actId="122"/>
          <ac:spMkLst>
            <pc:docMk/>
            <pc:sldMk cId="1052488949" sldId="6562"/>
            <ac:spMk id="2" creationId="{7188B95F-4310-569A-83C9-3FA1F947D1D9}"/>
          </ac:spMkLst>
        </pc:spChg>
        <pc:spChg chg="add mod">
          <ac:chgData name="Niittymies Aleksi" userId="00c1d702-9a1a-46cb-9bcd-5368d837961b" providerId="ADAL" clId="{5A9225AD-B49B-4444-A0DC-F8BA8F343C3A}" dt="2023-11-07T15:54:57.266" v="2481" actId="122"/>
          <ac:spMkLst>
            <pc:docMk/>
            <pc:sldMk cId="1052488949" sldId="6562"/>
            <ac:spMk id="4" creationId="{4F2A0A15-1F15-185D-CBC8-8145EE824EC8}"/>
          </ac:spMkLst>
        </pc:spChg>
        <pc:picChg chg="mod">
          <ac:chgData name="Niittymies Aleksi" userId="00c1d702-9a1a-46cb-9bcd-5368d837961b" providerId="ADAL" clId="{5A9225AD-B49B-4444-A0DC-F8BA8F343C3A}" dt="2023-11-07T13:22:06.561" v="1338" actId="1076"/>
          <ac:picMkLst>
            <pc:docMk/>
            <pc:sldMk cId="1052488949" sldId="6562"/>
            <ac:picMk id="3" creationId="{E17E4863-941A-E128-7C51-1C904BB85469}"/>
          </ac:picMkLst>
        </pc:picChg>
      </pc:sldChg>
      <pc:sldChg chg="addSp delSp modSp add mod">
        <pc:chgData name="Niittymies Aleksi" userId="00c1d702-9a1a-46cb-9bcd-5368d837961b" providerId="ADAL" clId="{5A9225AD-B49B-4444-A0DC-F8BA8F343C3A}" dt="2023-11-07T13:50:42.021" v="1586" actId="1076"/>
        <pc:sldMkLst>
          <pc:docMk/>
          <pc:sldMk cId="317233660" sldId="6563"/>
        </pc:sldMkLst>
        <pc:spChg chg="add del">
          <ac:chgData name="Niittymies Aleksi" userId="00c1d702-9a1a-46cb-9bcd-5368d837961b" providerId="ADAL" clId="{5A9225AD-B49B-4444-A0DC-F8BA8F343C3A}" dt="2023-11-07T13:46:25.477" v="1538" actId="478"/>
          <ac:spMkLst>
            <pc:docMk/>
            <pc:sldMk cId="317233660" sldId="6563"/>
            <ac:spMk id="2" creationId="{B907C749-D3DF-283D-A4B2-7B84C13808E1}"/>
          </ac:spMkLst>
        </pc:spChg>
        <pc:spChg chg="mod">
          <ac:chgData name="Niittymies Aleksi" userId="00c1d702-9a1a-46cb-9bcd-5368d837961b" providerId="ADAL" clId="{5A9225AD-B49B-4444-A0DC-F8BA8F343C3A}" dt="2023-11-07T13:47:11.381" v="1580" actId="20577"/>
          <ac:spMkLst>
            <pc:docMk/>
            <pc:sldMk cId="317233660" sldId="6563"/>
            <ac:spMk id="5" creationId="{4E79B233-C263-4355-BEE2-6A4CD1ED5B59}"/>
          </ac:spMkLst>
        </pc:spChg>
        <pc:picChg chg="add del mod">
          <ac:chgData name="Niittymies Aleksi" userId="00c1d702-9a1a-46cb-9bcd-5368d837961b" providerId="ADAL" clId="{5A9225AD-B49B-4444-A0DC-F8BA8F343C3A}" dt="2023-11-07T13:48:00.967" v="1582" actId="478"/>
          <ac:picMkLst>
            <pc:docMk/>
            <pc:sldMk cId="317233660" sldId="6563"/>
            <ac:picMk id="3" creationId="{8124635F-62E8-8B6C-864E-26FC4D64DC0E}"/>
          </ac:picMkLst>
        </pc:picChg>
        <pc:picChg chg="del">
          <ac:chgData name="Niittymies Aleksi" userId="00c1d702-9a1a-46cb-9bcd-5368d837961b" providerId="ADAL" clId="{5A9225AD-B49B-4444-A0DC-F8BA8F343C3A}" dt="2023-11-07T13:46:22.917" v="1536" actId="478"/>
          <ac:picMkLst>
            <pc:docMk/>
            <pc:sldMk cId="317233660" sldId="6563"/>
            <ac:picMk id="4" creationId="{7E1BC0D5-F034-82B8-EF08-946E61111BCC}"/>
          </ac:picMkLst>
        </pc:picChg>
        <pc:picChg chg="add del mod">
          <ac:chgData name="Niittymies Aleksi" userId="00c1d702-9a1a-46cb-9bcd-5368d837961b" providerId="ADAL" clId="{5A9225AD-B49B-4444-A0DC-F8BA8F343C3A}" dt="2023-11-07T13:50:37.893" v="1584" actId="478"/>
          <ac:picMkLst>
            <pc:docMk/>
            <pc:sldMk cId="317233660" sldId="6563"/>
            <ac:picMk id="6" creationId="{D151B6A1-5D0F-BB52-C10F-5613AF4B1B43}"/>
          </ac:picMkLst>
        </pc:picChg>
        <pc:picChg chg="add mod">
          <ac:chgData name="Niittymies Aleksi" userId="00c1d702-9a1a-46cb-9bcd-5368d837961b" providerId="ADAL" clId="{5A9225AD-B49B-4444-A0DC-F8BA8F343C3A}" dt="2023-11-07T13:50:42.021" v="1586" actId="1076"/>
          <ac:picMkLst>
            <pc:docMk/>
            <pc:sldMk cId="317233660" sldId="6563"/>
            <ac:picMk id="7" creationId="{3F41D085-ACAE-B198-BF6C-BE98ECD96665}"/>
          </ac:picMkLst>
        </pc:picChg>
      </pc:sldChg>
      <pc:sldChg chg="new del">
        <pc:chgData name="Niittymies Aleksi" userId="00c1d702-9a1a-46cb-9bcd-5368d837961b" providerId="ADAL" clId="{5A9225AD-B49B-4444-A0DC-F8BA8F343C3A}" dt="2023-11-07T13:26:55.312" v="1407" actId="47"/>
        <pc:sldMkLst>
          <pc:docMk/>
          <pc:sldMk cId="4021628669" sldId="6563"/>
        </pc:sldMkLst>
      </pc:sldChg>
      <pc:sldChg chg="addSp delSp modSp new del mod">
        <pc:chgData name="Niittymies Aleksi" userId="00c1d702-9a1a-46cb-9bcd-5368d837961b" providerId="ADAL" clId="{5A9225AD-B49B-4444-A0DC-F8BA8F343C3A}" dt="2023-11-07T13:29:32.401" v="1411" actId="47"/>
        <pc:sldMkLst>
          <pc:docMk/>
          <pc:sldMk cId="52661037" sldId="6564"/>
        </pc:sldMkLst>
        <pc:spChg chg="mod">
          <ac:chgData name="Niittymies Aleksi" userId="00c1d702-9a1a-46cb-9bcd-5368d837961b" providerId="ADAL" clId="{5A9225AD-B49B-4444-A0DC-F8BA8F343C3A}" dt="2023-11-07T13:26:50.106" v="1406" actId="20577"/>
          <ac:spMkLst>
            <pc:docMk/>
            <pc:sldMk cId="52661037" sldId="6564"/>
            <ac:spMk id="2" creationId="{B8350D3F-1C27-E27E-7B24-FEC62F1A0FE0}"/>
          </ac:spMkLst>
        </pc:spChg>
        <pc:spChg chg="del">
          <ac:chgData name="Niittymies Aleksi" userId="00c1d702-9a1a-46cb-9bcd-5368d837961b" providerId="ADAL" clId="{5A9225AD-B49B-4444-A0DC-F8BA8F343C3A}" dt="2023-11-07T13:26:19.759" v="1397" actId="478"/>
          <ac:spMkLst>
            <pc:docMk/>
            <pc:sldMk cId="52661037" sldId="6564"/>
            <ac:spMk id="3" creationId="{79E1EB12-AF45-C9AD-300A-847E0296271E}"/>
          </ac:spMkLst>
        </pc:spChg>
        <pc:picChg chg="add mod">
          <ac:chgData name="Niittymies Aleksi" userId="00c1d702-9a1a-46cb-9bcd-5368d837961b" providerId="ADAL" clId="{5A9225AD-B49B-4444-A0DC-F8BA8F343C3A}" dt="2023-11-07T13:26:17.390" v="1396"/>
          <ac:picMkLst>
            <pc:docMk/>
            <pc:sldMk cId="52661037" sldId="6564"/>
            <ac:picMk id="4" creationId="{3BF79357-DC5A-68AE-64FD-AEB498CDB789}"/>
          </ac:picMkLst>
        </pc:picChg>
      </pc:sldChg>
      <pc:sldChg chg="addSp delSp modSp add mod">
        <pc:chgData name="Niittymies Aleksi" userId="00c1d702-9a1a-46cb-9bcd-5368d837961b" providerId="ADAL" clId="{5A9225AD-B49B-4444-A0DC-F8BA8F343C3A}" dt="2023-11-07T14:51:19.250" v="1928" actId="478"/>
        <pc:sldMkLst>
          <pc:docMk/>
          <pc:sldMk cId="2178369638" sldId="6564"/>
        </pc:sldMkLst>
        <pc:spChg chg="mod">
          <ac:chgData name="Niittymies Aleksi" userId="00c1d702-9a1a-46cb-9bcd-5368d837961b" providerId="ADAL" clId="{5A9225AD-B49B-4444-A0DC-F8BA8F343C3A}" dt="2023-11-07T14:51:13.772" v="1927" actId="14100"/>
          <ac:spMkLst>
            <pc:docMk/>
            <pc:sldMk cId="2178369638" sldId="6564"/>
            <ac:spMk id="2" creationId="{7188B95F-4310-569A-83C9-3FA1F947D1D9}"/>
          </ac:spMkLst>
        </pc:spChg>
        <pc:spChg chg="add del">
          <ac:chgData name="Niittymies Aleksi" userId="00c1d702-9a1a-46cb-9bcd-5368d837961b" providerId="ADAL" clId="{5A9225AD-B49B-4444-A0DC-F8BA8F343C3A}" dt="2023-11-07T14:48:56.199" v="1863"/>
          <ac:spMkLst>
            <pc:docMk/>
            <pc:sldMk cId="2178369638" sldId="6564"/>
            <ac:spMk id="4" creationId="{0ABE4C41-5469-5C5F-C6D5-28093DB7C16E}"/>
          </ac:spMkLst>
        </pc:spChg>
        <pc:spChg chg="mod">
          <ac:chgData name="Niittymies Aleksi" userId="00c1d702-9a1a-46cb-9bcd-5368d837961b" providerId="ADAL" clId="{5A9225AD-B49B-4444-A0DC-F8BA8F343C3A}" dt="2023-11-07T14:46:14.999" v="1860" actId="20577"/>
          <ac:spMkLst>
            <pc:docMk/>
            <pc:sldMk cId="2178369638" sldId="6564"/>
            <ac:spMk id="5" creationId="{4E79B233-C263-4355-BEE2-6A4CD1ED5B59}"/>
          </ac:spMkLst>
        </pc:spChg>
        <pc:spChg chg="add del mod">
          <ac:chgData name="Niittymies Aleksi" userId="00c1d702-9a1a-46cb-9bcd-5368d837961b" providerId="ADAL" clId="{5A9225AD-B49B-4444-A0DC-F8BA8F343C3A}" dt="2023-11-07T14:51:19.250" v="1928" actId="478"/>
          <ac:spMkLst>
            <pc:docMk/>
            <pc:sldMk cId="2178369638" sldId="6564"/>
            <ac:spMk id="7" creationId="{187497EB-8059-2759-3B2F-2CC991718715}"/>
          </ac:spMkLst>
        </pc:spChg>
        <pc:picChg chg="del">
          <ac:chgData name="Niittymies Aleksi" userId="00c1d702-9a1a-46cb-9bcd-5368d837961b" providerId="ADAL" clId="{5A9225AD-B49B-4444-A0DC-F8BA8F343C3A}" dt="2023-11-07T14:46:16.807" v="1861" actId="478"/>
          <ac:picMkLst>
            <pc:docMk/>
            <pc:sldMk cId="2178369638" sldId="6564"/>
            <ac:picMk id="3" creationId="{37D38F75-9514-B583-506A-1CAD53A652FA}"/>
          </ac:picMkLst>
        </pc:picChg>
        <pc:picChg chg="add mod">
          <ac:chgData name="Niittymies Aleksi" userId="00c1d702-9a1a-46cb-9bcd-5368d837961b" providerId="ADAL" clId="{5A9225AD-B49B-4444-A0DC-F8BA8F343C3A}" dt="2023-11-07T14:49:06.466" v="1867" actId="1076"/>
          <ac:picMkLst>
            <pc:docMk/>
            <pc:sldMk cId="2178369638" sldId="6564"/>
            <ac:picMk id="6" creationId="{C759CCD0-AE26-7ACB-C0E1-CE52361F3853}"/>
          </ac:picMkLst>
        </pc:picChg>
      </pc:sldChg>
      <pc:sldChg chg="addSp delSp modSp new del mod">
        <pc:chgData name="Niittymies Aleksi" userId="00c1d702-9a1a-46cb-9bcd-5368d837961b" providerId="ADAL" clId="{5A9225AD-B49B-4444-A0DC-F8BA8F343C3A}" dt="2023-11-07T15:07:54.811" v="2202" actId="47"/>
        <pc:sldMkLst>
          <pc:docMk/>
          <pc:sldMk cId="3338876126" sldId="6565"/>
        </pc:sldMkLst>
        <pc:spChg chg="del">
          <ac:chgData name="Niittymies Aleksi" userId="00c1d702-9a1a-46cb-9bcd-5368d837961b" providerId="ADAL" clId="{5A9225AD-B49B-4444-A0DC-F8BA8F343C3A}" dt="2023-11-07T15:04:51.426" v="2156" actId="478"/>
          <ac:spMkLst>
            <pc:docMk/>
            <pc:sldMk cId="3338876126" sldId="6565"/>
            <ac:spMk id="2" creationId="{3B302B2B-9489-CFC5-5C1C-91CFC5D157D4}"/>
          </ac:spMkLst>
        </pc:spChg>
        <pc:spChg chg="del">
          <ac:chgData name="Niittymies Aleksi" userId="00c1d702-9a1a-46cb-9bcd-5368d837961b" providerId="ADAL" clId="{5A9225AD-B49B-4444-A0DC-F8BA8F343C3A}" dt="2023-11-07T15:04:37.347" v="2149" actId="478"/>
          <ac:spMkLst>
            <pc:docMk/>
            <pc:sldMk cId="3338876126" sldId="6565"/>
            <ac:spMk id="3" creationId="{599658C2-8128-50FA-E5B6-42DF7E00AAC9}"/>
          </ac:spMkLst>
        </pc:spChg>
        <pc:spChg chg="add mod">
          <ac:chgData name="Niittymies Aleksi" userId="00c1d702-9a1a-46cb-9bcd-5368d837961b" providerId="ADAL" clId="{5A9225AD-B49B-4444-A0DC-F8BA8F343C3A}" dt="2023-11-07T15:05:15.399" v="2167" actId="1076"/>
          <ac:spMkLst>
            <pc:docMk/>
            <pc:sldMk cId="3338876126" sldId="6565"/>
            <ac:spMk id="4" creationId="{1A0CCD70-38D3-BFCD-A36D-F0AEF5EF904F}"/>
          </ac:spMkLst>
        </pc:spChg>
      </pc:sldChg>
      <pc:sldChg chg="addSp delSp modSp new mod ord">
        <pc:chgData name="Niittymies Aleksi" userId="00c1d702-9a1a-46cb-9bcd-5368d837961b" providerId="ADAL" clId="{5A9225AD-B49B-4444-A0DC-F8BA8F343C3A}" dt="2023-11-07T15:43:45.287" v="2373" actId="20577"/>
        <pc:sldMkLst>
          <pc:docMk/>
          <pc:sldMk cId="1467631248" sldId="6566"/>
        </pc:sldMkLst>
        <pc:spChg chg="del">
          <ac:chgData name="Niittymies Aleksi" userId="00c1d702-9a1a-46cb-9bcd-5368d837961b" providerId="ADAL" clId="{5A9225AD-B49B-4444-A0DC-F8BA8F343C3A}" dt="2023-11-07T15:05:49.507" v="2173" actId="478"/>
          <ac:spMkLst>
            <pc:docMk/>
            <pc:sldMk cId="1467631248" sldId="6566"/>
            <ac:spMk id="2" creationId="{E8CF6D07-CE30-9148-F544-3608D9B9E30D}"/>
          </ac:spMkLst>
        </pc:spChg>
        <pc:spChg chg="del">
          <ac:chgData name="Niittymies Aleksi" userId="00c1d702-9a1a-46cb-9bcd-5368d837961b" providerId="ADAL" clId="{5A9225AD-B49B-4444-A0DC-F8BA8F343C3A}" dt="2023-11-07T15:05:45.954" v="2171" actId="478"/>
          <ac:spMkLst>
            <pc:docMk/>
            <pc:sldMk cId="1467631248" sldId="6566"/>
            <ac:spMk id="3" creationId="{9523B7F1-F8DF-5766-31CB-65A174BDA626}"/>
          </ac:spMkLst>
        </pc:spChg>
        <pc:spChg chg="add mod">
          <ac:chgData name="Niittymies Aleksi" userId="00c1d702-9a1a-46cb-9bcd-5368d837961b" providerId="ADAL" clId="{5A9225AD-B49B-4444-A0DC-F8BA8F343C3A}" dt="2023-11-07T15:43:45.287" v="2373" actId="20577"/>
          <ac:spMkLst>
            <pc:docMk/>
            <pc:sldMk cId="1467631248" sldId="6566"/>
            <ac:spMk id="4" creationId="{FE942A7F-DBE4-530F-13F9-2344E1522364}"/>
          </ac:spMkLst>
        </pc:spChg>
        <pc:picChg chg="add mod modCrop">
          <ac:chgData name="Niittymies Aleksi" userId="00c1d702-9a1a-46cb-9bcd-5368d837961b" providerId="ADAL" clId="{5A9225AD-B49B-4444-A0DC-F8BA8F343C3A}" dt="2023-11-07T15:07:42.097" v="2201" actId="1076"/>
          <ac:picMkLst>
            <pc:docMk/>
            <pc:sldMk cId="1467631248" sldId="6566"/>
            <ac:picMk id="5" creationId="{B5EE198F-7CF0-7FE7-931D-F07E7140B8D9}"/>
          </ac:picMkLst>
        </pc:picChg>
      </pc:sldChg>
      <pc:sldChg chg="addSp delSp modSp add mod ord">
        <pc:chgData name="Niittymies Aleksi" userId="00c1d702-9a1a-46cb-9bcd-5368d837961b" providerId="ADAL" clId="{5A9225AD-B49B-4444-A0DC-F8BA8F343C3A}" dt="2023-11-07T15:46:41.862" v="2449"/>
        <pc:sldMkLst>
          <pc:docMk/>
          <pc:sldMk cId="3245350694" sldId="6567"/>
        </pc:sldMkLst>
        <pc:spChg chg="add del mod">
          <ac:chgData name="Niittymies Aleksi" userId="00c1d702-9a1a-46cb-9bcd-5368d837961b" providerId="ADAL" clId="{5A9225AD-B49B-4444-A0DC-F8BA8F343C3A}" dt="2023-11-07T15:44:48.040" v="2432" actId="20577"/>
          <ac:spMkLst>
            <pc:docMk/>
            <pc:sldMk cId="3245350694" sldId="6567"/>
            <ac:spMk id="2" creationId="{ABF64B63-BBDD-FE79-2280-BC765AF0C8D8}"/>
          </ac:spMkLst>
        </pc:spChg>
        <pc:spChg chg="add del mod">
          <ac:chgData name="Niittymies Aleksi" userId="00c1d702-9a1a-46cb-9bcd-5368d837961b" providerId="ADAL" clId="{5A9225AD-B49B-4444-A0DC-F8BA8F343C3A}" dt="2023-11-07T15:44:40.963" v="2414" actId="478"/>
          <ac:spMkLst>
            <pc:docMk/>
            <pc:sldMk cId="3245350694" sldId="6567"/>
            <ac:spMk id="6" creationId="{92409CB5-9D04-9D3C-A26B-9BAE284CC705}"/>
          </ac:spMkLst>
        </pc:spChg>
        <pc:spChg chg="del mod">
          <ac:chgData name="Niittymies Aleksi" userId="00c1d702-9a1a-46cb-9bcd-5368d837961b" providerId="ADAL" clId="{5A9225AD-B49B-4444-A0DC-F8BA8F343C3A}" dt="2023-11-07T15:45:44.475" v="2441" actId="478"/>
          <ac:spMkLst>
            <pc:docMk/>
            <pc:sldMk cId="3245350694" sldId="6567"/>
            <ac:spMk id="14" creationId="{AD2D92F6-CFDD-6086-6649-C74847D05EB7}"/>
          </ac:spMkLst>
        </pc:spChg>
        <pc:spChg chg="del">
          <ac:chgData name="Niittymies Aleksi" userId="00c1d702-9a1a-46cb-9bcd-5368d837961b" providerId="ADAL" clId="{5A9225AD-B49B-4444-A0DC-F8BA8F343C3A}" dt="2023-11-07T15:45:08.791" v="2437" actId="478"/>
          <ac:spMkLst>
            <pc:docMk/>
            <pc:sldMk cId="3245350694" sldId="6567"/>
            <ac:spMk id="15" creationId="{609EE3B5-A141-731E-50C1-053CFBE8902D}"/>
          </ac:spMkLst>
        </pc:spChg>
        <pc:grpChg chg="mod">
          <ac:chgData name="Niittymies Aleksi" userId="00c1d702-9a1a-46cb-9bcd-5368d837961b" providerId="ADAL" clId="{5A9225AD-B49B-4444-A0DC-F8BA8F343C3A}" dt="2023-11-07T15:45:55.598" v="2444" actId="14100"/>
          <ac:grpSpMkLst>
            <pc:docMk/>
            <pc:sldMk cId="3245350694" sldId="6567"/>
            <ac:grpSpMk id="12" creationId="{A509EA7F-A235-6C2F-2599-60317C8CCA01}"/>
          </ac:grpSpMkLst>
        </pc:grpChg>
        <pc:picChg chg="del mod">
          <ac:chgData name="Niittymies Aleksi" userId="00c1d702-9a1a-46cb-9bcd-5368d837961b" providerId="ADAL" clId="{5A9225AD-B49B-4444-A0DC-F8BA8F343C3A}" dt="2023-11-07T15:45:00.469" v="2434" actId="478"/>
          <ac:picMkLst>
            <pc:docMk/>
            <pc:sldMk cId="3245350694" sldId="6567"/>
            <ac:picMk id="4" creationId="{16CD879A-B376-1842-832B-462D21DAE198}"/>
          </ac:picMkLst>
        </pc:picChg>
        <pc:picChg chg="del">
          <ac:chgData name="Niittymies Aleksi" userId="00c1d702-9a1a-46cb-9bcd-5368d837961b" providerId="ADAL" clId="{5A9225AD-B49B-4444-A0DC-F8BA8F343C3A}" dt="2023-11-07T15:44:43.014" v="2415" actId="478"/>
          <ac:picMkLst>
            <pc:docMk/>
            <pc:sldMk cId="3245350694" sldId="6567"/>
            <ac:picMk id="5" creationId="{EA3BBB6C-FC3C-EA8E-F34D-990F3E8E97CF}"/>
          </ac:picMkLst>
        </pc:picChg>
        <pc:picChg chg="del">
          <ac:chgData name="Niittymies Aleksi" userId="00c1d702-9a1a-46cb-9bcd-5368d837961b" providerId="ADAL" clId="{5A9225AD-B49B-4444-A0DC-F8BA8F343C3A}" dt="2023-11-07T15:45:04.120" v="2435" actId="478"/>
          <ac:picMkLst>
            <pc:docMk/>
            <pc:sldMk cId="3245350694" sldId="6567"/>
            <ac:picMk id="7" creationId="{2C7900C1-26E8-EC63-7ED6-6F9BD68BC0DD}"/>
          </ac:picMkLst>
        </pc:picChg>
        <pc:picChg chg="add mod">
          <ac:chgData name="Niittymies Aleksi" userId="00c1d702-9a1a-46cb-9bcd-5368d837961b" providerId="ADAL" clId="{5A9225AD-B49B-4444-A0DC-F8BA8F343C3A}" dt="2023-11-07T15:45:49.580" v="2443" actId="1076"/>
          <ac:picMkLst>
            <pc:docMk/>
            <pc:sldMk cId="3245350694" sldId="6567"/>
            <ac:picMk id="8" creationId="{B215C1BE-9ED6-5BAD-2876-871359631644}"/>
          </ac:picMkLst>
        </pc:picChg>
        <pc:picChg chg="add mod">
          <ac:chgData name="Niittymies Aleksi" userId="00c1d702-9a1a-46cb-9bcd-5368d837961b" providerId="ADAL" clId="{5A9225AD-B49B-4444-A0DC-F8BA8F343C3A}" dt="2023-11-07T15:45:58.980" v="2445" actId="1076"/>
          <ac:picMkLst>
            <pc:docMk/>
            <pc:sldMk cId="3245350694" sldId="6567"/>
            <ac:picMk id="10" creationId="{780C419A-D3C0-D5F2-2446-BD3BF42F6B9C}"/>
          </ac:picMkLst>
        </pc:picChg>
      </pc:sldChg>
      <pc:sldMasterChg chg="del delSldLayout">
        <pc:chgData name="Niittymies Aleksi" userId="00c1d702-9a1a-46cb-9bcd-5368d837961b" providerId="ADAL" clId="{5A9225AD-B49B-4444-A0DC-F8BA8F343C3A}" dt="2023-11-07T10:57:59.995" v="373" actId="47"/>
        <pc:sldMasterMkLst>
          <pc:docMk/>
          <pc:sldMasterMk cId="2044814166" sldId="2147483996"/>
        </pc:sldMasterMkLst>
        <pc:sldLayoutChg chg="del">
          <pc:chgData name="Niittymies Aleksi" userId="00c1d702-9a1a-46cb-9bcd-5368d837961b" providerId="ADAL" clId="{5A9225AD-B49B-4444-A0DC-F8BA8F343C3A}" dt="2023-11-07T10:57:59.995" v="373" actId="47"/>
          <pc:sldLayoutMkLst>
            <pc:docMk/>
            <pc:sldMasterMk cId="2044814166" sldId="2147483996"/>
            <pc:sldLayoutMk cId="2637206674" sldId="2147483997"/>
          </pc:sldLayoutMkLst>
        </pc:sldLayoutChg>
        <pc:sldLayoutChg chg="del">
          <pc:chgData name="Niittymies Aleksi" userId="00c1d702-9a1a-46cb-9bcd-5368d837961b" providerId="ADAL" clId="{5A9225AD-B49B-4444-A0DC-F8BA8F343C3A}" dt="2023-11-07T10:57:59.995" v="373" actId="47"/>
          <pc:sldLayoutMkLst>
            <pc:docMk/>
            <pc:sldMasterMk cId="2044814166" sldId="2147483996"/>
            <pc:sldLayoutMk cId="2623165420" sldId="2147483998"/>
          </pc:sldLayoutMkLst>
        </pc:sldLayoutChg>
        <pc:sldLayoutChg chg="del">
          <pc:chgData name="Niittymies Aleksi" userId="00c1d702-9a1a-46cb-9bcd-5368d837961b" providerId="ADAL" clId="{5A9225AD-B49B-4444-A0DC-F8BA8F343C3A}" dt="2023-11-07T10:57:59.995" v="373" actId="47"/>
          <pc:sldLayoutMkLst>
            <pc:docMk/>
            <pc:sldMasterMk cId="2044814166" sldId="2147483996"/>
            <pc:sldLayoutMk cId="631171537" sldId="2147483999"/>
          </pc:sldLayoutMkLst>
        </pc:sldLayoutChg>
        <pc:sldLayoutChg chg="del">
          <pc:chgData name="Niittymies Aleksi" userId="00c1d702-9a1a-46cb-9bcd-5368d837961b" providerId="ADAL" clId="{5A9225AD-B49B-4444-A0DC-F8BA8F343C3A}" dt="2023-11-07T10:57:59.995" v="373" actId="47"/>
          <pc:sldLayoutMkLst>
            <pc:docMk/>
            <pc:sldMasterMk cId="2044814166" sldId="2147483996"/>
            <pc:sldLayoutMk cId="590688113" sldId="2147484000"/>
          </pc:sldLayoutMkLst>
        </pc:sldLayoutChg>
        <pc:sldLayoutChg chg="del">
          <pc:chgData name="Niittymies Aleksi" userId="00c1d702-9a1a-46cb-9bcd-5368d837961b" providerId="ADAL" clId="{5A9225AD-B49B-4444-A0DC-F8BA8F343C3A}" dt="2023-11-07T10:57:59.995" v="373" actId="47"/>
          <pc:sldLayoutMkLst>
            <pc:docMk/>
            <pc:sldMasterMk cId="2044814166" sldId="2147483996"/>
            <pc:sldLayoutMk cId="2418155434" sldId="2147484001"/>
          </pc:sldLayoutMkLst>
        </pc:sldLayoutChg>
        <pc:sldLayoutChg chg="del">
          <pc:chgData name="Niittymies Aleksi" userId="00c1d702-9a1a-46cb-9bcd-5368d837961b" providerId="ADAL" clId="{5A9225AD-B49B-4444-A0DC-F8BA8F343C3A}" dt="2023-11-07T10:57:59.995" v="373" actId="47"/>
          <pc:sldLayoutMkLst>
            <pc:docMk/>
            <pc:sldMasterMk cId="2044814166" sldId="2147483996"/>
            <pc:sldLayoutMk cId="1995411185" sldId="2147484002"/>
          </pc:sldLayoutMkLst>
        </pc:sldLayoutChg>
        <pc:sldLayoutChg chg="del">
          <pc:chgData name="Niittymies Aleksi" userId="00c1d702-9a1a-46cb-9bcd-5368d837961b" providerId="ADAL" clId="{5A9225AD-B49B-4444-A0DC-F8BA8F343C3A}" dt="2023-11-07T10:57:59.995" v="373" actId="47"/>
          <pc:sldLayoutMkLst>
            <pc:docMk/>
            <pc:sldMasterMk cId="2044814166" sldId="2147483996"/>
            <pc:sldLayoutMk cId="533677144" sldId="2147484003"/>
          </pc:sldLayoutMkLst>
        </pc:sldLayoutChg>
        <pc:sldLayoutChg chg="del">
          <pc:chgData name="Niittymies Aleksi" userId="00c1d702-9a1a-46cb-9bcd-5368d837961b" providerId="ADAL" clId="{5A9225AD-B49B-4444-A0DC-F8BA8F343C3A}" dt="2023-11-07T10:57:59.995" v="373" actId="47"/>
          <pc:sldLayoutMkLst>
            <pc:docMk/>
            <pc:sldMasterMk cId="2044814166" sldId="2147483996"/>
            <pc:sldLayoutMk cId="75130656" sldId="2147484004"/>
          </pc:sldLayoutMkLst>
        </pc:sldLayoutChg>
        <pc:sldLayoutChg chg="del">
          <pc:chgData name="Niittymies Aleksi" userId="00c1d702-9a1a-46cb-9bcd-5368d837961b" providerId="ADAL" clId="{5A9225AD-B49B-4444-A0DC-F8BA8F343C3A}" dt="2023-11-07T10:57:59.995" v="373" actId="47"/>
          <pc:sldLayoutMkLst>
            <pc:docMk/>
            <pc:sldMasterMk cId="2044814166" sldId="2147483996"/>
            <pc:sldLayoutMk cId="1925304501" sldId="2147484005"/>
          </pc:sldLayoutMkLst>
        </pc:sldLayoutChg>
        <pc:sldLayoutChg chg="del">
          <pc:chgData name="Niittymies Aleksi" userId="00c1d702-9a1a-46cb-9bcd-5368d837961b" providerId="ADAL" clId="{5A9225AD-B49B-4444-A0DC-F8BA8F343C3A}" dt="2023-11-07T10:57:59.995" v="373" actId="47"/>
          <pc:sldLayoutMkLst>
            <pc:docMk/>
            <pc:sldMasterMk cId="2044814166" sldId="2147483996"/>
            <pc:sldLayoutMk cId="3251592859" sldId="2147484006"/>
          </pc:sldLayoutMkLst>
        </pc:sldLayoutChg>
        <pc:sldLayoutChg chg="del">
          <pc:chgData name="Niittymies Aleksi" userId="00c1d702-9a1a-46cb-9bcd-5368d837961b" providerId="ADAL" clId="{5A9225AD-B49B-4444-A0DC-F8BA8F343C3A}" dt="2023-11-07T10:57:59.995" v="373" actId="47"/>
          <pc:sldLayoutMkLst>
            <pc:docMk/>
            <pc:sldMasterMk cId="2044814166" sldId="2147483996"/>
            <pc:sldLayoutMk cId="1132459802" sldId="2147484007"/>
          </pc:sldLayoutMkLst>
        </pc:sldLayoutChg>
      </pc:sldMasterChg>
      <pc:sldMasterChg chg="del delSldLayout">
        <pc:chgData name="Niittymies Aleksi" userId="00c1d702-9a1a-46cb-9bcd-5368d837961b" providerId="ADAL" clId="{5A9225AD-B49B-4444-A0DC-F8BA8F343C3A}" dt="2023-11-07T15:07:56.364" v="2203" actId="47"/>
        <pc:sldMasterMkLst>
          <pc:docMk/>
          <pc:sldMasterMk cId="2236896248" sldId="2147483996"/>
        </pc:sldMasterMkLst>
        <pc:sldLayoutChg chg="del">
          <pc:chgData name="Niittymies Aleksi" userId="00c1d702-9a1a-46cb-9bcd-5368d837961b" providerId="ADAL" clId="{5A9225AD-B49B-4444-A0DC-F8BA8F343C3A}" dt="2023-11-07T15:07:56.364" v="2203" actId="47"/>
          <pc:sldLayoutMkLst>
            <pc:docMk/>
            <pc:sldMasterMk cId="2236896248" sldId="2147483996"/>
            <pc:sldLayoutMk cId="1419492991" sldId="2147483997"/>
          </pc:sldLayoutMkLst>
        </pc:sldLayoutChg>
        <pc:sldLayoutChg chg="del">
          <pc:chgData name="Niittymies Aleksi" userId="00c1d702-9a1a-46cb-9bcd-5368d837961b" providerId="ADAL" clId="{5A9225AD-B49B-4444-A0DC-F8BA8F343C3A}" dt="2023-11-07T15:07:56.364" v="2203" actId="47"/>
          <pc:sldLayoutMkLst>
            <pc:docMk/>
            <pc:sldMasterMk cId="2236896248" sldId="2147483996"/>
            <pc:sldLayoutMk cId="1012460197" sldId="2147483998"/>
          </pc:sldLayoutMkLst>
        </pc:sldLayoutChg>
        <pc:sldLayoutChg chg="del">
          <pc:chgData name="Niittymies Aleksi" userId="00c1d702-9a1a-46cb-9bcd-5368d837961b" providerId="ADAL" clId="{5A9225AD-B49B-4444-A0DC-F8BA8F343C3A}" dt="2023-11-07T15:07:56.364" v="2203" actId="47"/>
          <pc:sldLayoutMkLst>
            <pc:docMk/>
            <pc:sldMasterMk cId="2236896248" sldId="2147483996"/>
            <pc:sldLayoutMk cId="3318042055" sldId="2147483999"/>
          </pc:sldLayoutMkLst>
        </pc:sldLayoutChg>
        <pc:sldLayoutChg chg="del">
          <pc:chgData name="Niittymies Aleksi" userId="00c1d702-9a1a-46cb-9bcd-5368d837961b" providerId="ADAL" clId="{5A9225AD-B49B-4444-A0DC-F8BA8F343C3A}" dt="2023-11-07T15:07:56.364" v="2203" actId="47"/>
          <pc:sldLayoutMkLst>
            <pc:docMk/>
            <pc:sldMasterMk cId="2236896248" sldId="2147483996"/>
            <pc:sldLayoutMk cId="561197945" sldId="2147484000"/>
          </pc:sldLayoutMkLst>
        </pc:sldLayoutChg>
        <pc:sldLayoutChg chg="del">
          <pc:chgData name="Niittymies Aleksi" userId="00c1d702-9a1a-46cb-9bcd-5368d837961b" providerId="ADAL" clId="{5A9225AD-B49B-4444-A0DC-F8BA8F343C3A}" dt="2023-11-07T15:07:56.364" v="2203" actId="47"/>
          <pc:sldLayoutMkLst>
            <pc:docMk/>
            <pc:sldMasterMk cId="2236896248" sldId="2147483996"/>
            <pc:sldLayoutMk cId="4097033339" sldId="2147484001"/>
          </pc:sldLayoutMkLst>
        </pc:sldLayoutChg>
        <pc:sldLayoutChg chg="del">
          <pc:chgData name="Niittymies Aleksi" userId="00c1d702-9a1a-46cb-9bcd-5368d837961b" providerId="ADAL" clId="{5A9225AD-B49B-4444-A0DC-F8BA8F343C3A}" dt="2023-11-07T15:07:56.364" v="2203" actId="47"/>
          <pc:sldLayoutMkLst>
            <pc:docMk/>
            <pc:sldMasterMk cId="2236896248" sldId="2147483996"/>
            <pc:sldLayoutMk cId="3971829642" sldId="2147484002"/>
          </pc:sldLayoutMkLst>
        </pc:sldLayoutChg>
        <pc:sldLayoutChg chg="del">
          <pc:chgData name="Niittymies Aleksi" userId="00c1d702-9a1a-46cb-9bcd-5368d837961b" providerId="ADAL" clId="{5A9225AD-B49B-4444-A0DC-F8BA8F343C3A}" dt="2023-11-07T15:07:56.364" v="2203" actId="47"/>
          <pc:sldLayoutMkLst>
            <pc:docMk/>
            <pc:sldMasterMk cId="2236896248" sldId="2147483996"/>
            <pc:sldLayoutMk cId="1035878497" sldId="2147484003"/>
          </pc:sldLayoutMkLst>
        </pc:sldLayoutChg>
        <pc:sldLayoutChg chg="del">
          <pc:chgData name="Niittymies Aleksi" userId="00c1d702-9a1a-46cb-9bcd-5368d837961b" providerId="ADAL" clId="{5A9225AD-B49B-4444-A0DC-F8BA8F343C3A}" dt="2023-11-07T15:07:56.364" v="2203" actId="47"/>
          <pc:sldLayoutMkLst>
            <pc:docMk/>
            <pc:sldMasterMk cId="2236896248" sldId="2147483996"/>
            <pc:sldLayoutMk cId="1655375985" sldId="2147484004"/>
          </pc:sldLayoutMkLst>
        </pc:sldLayoutChg>
        <pc:sldLayoutChg chg="del">
          <pc:chgData name="Niittymies Aleksi" userId="00c1d702-9a1a-46cb-9bcd-5368d837961b" providerId="ADAL" clId="{5A9225AD-B49B-4444-A0DC-F8BA8F343C3A}" dt="2023-11-07T15:07:56.364" v="2203" actId="47"/>
          <pc:sldLayoutMkLst>
            <pc:docMk/>
            <pc:sldMasterMk cId="2236896248" sldId="2147483996"/>
            <pc:sldLayoutMk cId="1661797350" sldId="2147484005"/>
          </pc:sldLayoutMkLst>
        </pc:sldLayoutChg>
        <pc:sldLayoutChg chg="del">
          <pc:chgData name="Niittymies Aleksi" userId="00c1d702-9a1a-46cb-9bcd-5368d837961b" providerId="ADAL" clId="{5A9225AD-B49B-4444-A0DC-F8BA8F343C3A}" dt="2023-11-07T15:07:56.364" v="2203" actId="47"/>
          <pc:sldLayoutMkLst>
            <pc:docMk/>
            <pc:sldMasterMk cId="2236896248" sldId="2147483996"/>
            <pc:sldLayoutMk cId="2941386009" sldId="2147484006"/>
          </pc:sldLayoutMkLst>
        </pc:sldLayoutChg>
        <pc:sldLayoutChg chg="del">
          <pc:chgData name="Niittymies Aleksi" userId="00c1d702-9a1a-46cb-9bcd-5368d837961b" providerId="ADAL" clId="{5A9225AD-B49B-4444-A0DC-F8BA8F343C3A}" dt="2023-11-07T15:07:56.364" v="2203" actId="47"/>
          <pc:sldLayoutMkLst>
            <pc:docMk/>
            <pc:sldMasterMk cId="2236896248" sldId="2147483996"/>
            <pc:sldLayoutMk cId="301692381" sldId="2147484007"/>
          </pc:sldLayoutMkLst>
        </pc:sldLayoutChg>
      </pc:sldMasterChg>
      <pc:sldMasterChg chg="del delSldLayout">
        <pc:chgData name="Niittymies Aleksi" userId="00c1d702-9a1a-46cb-9bcd-5368d837961b" providerId="ADAL" clId="{5A9225AD-B49B-4444-A0DC-F8BA8F343C3A}" dt="2023-11-07T10:26:53.344" v="348" actId="47"/>
        <pc:sldMasterMkLst>
          <pc:docMk/>
          <pc:sldMasterMk cId="4010853733" sldId="2147484008"/>
        </pc:sldMasterMkLst>
        <pc:sldLayoutChg chg="del">
          <pc:chgData name="Niittymies Aleksi" userId="00c1d702-9a1a-46cb-9bcd-5368d837961b" providerId="ADAL" clId="{5A9225AD-B49B-4444-A0DC-F8BA8F343C3A}" dt="2023-11-07T10:26:53.344" v="348" actId="47"/>
          <pc:sldLayoutMkLst>
            <pc:docMk/>
            <pc:sldMasterMk cId="4010853733" sldId="2147484008"/>
            <pc:sldLayoutMk cId="29230978" sldId="2147484009"/>
          </pc:sldLayoutMkLst>
        </pc:sldLayoutChg>
        <pc:sldLayoutChg chg="del">
          <pc:chgData name="Niittymies Aleksi" userId="00c1d702-9a1a-46cb-9bcd-5368d837961b" providerId="ADAL" clId="{5A9225AD-B49B-4444-A0DC-F8BA8F343C3A}" dt="2023-11-07T10:26:53.344" v="348" actId="47"/>
          <pc:sldLayoutMkLst>
            <pc:docMk/>
            <pc:sldMasterMk cId="4010853733" sldId="2147484008"/>
            <pc:sldLayoutMk cId="2988050697" sldId="2147484010"/>
          </pc:sldLayoutMkLst>
        </pc:sldLayoutChg>
        <pc:sldLayoutChg chg="del">
          <pc:chgData name="Niittymies Aleksi" userId="00c1d702-9a1a-46cb-9bcd-5368d837961b" providerId="ADAL" clId="{5A9225AD-B49B-4444-A0DC-F8BA8F343C3A}" dt="2023-11-07T10:26:53.344" v="348" actId="47"/>
          <pc:sldLayoutMkLst>
            <pc:docMk/>
            <pc:sldMasterMk cId="4010853733" sldId="2147484008"/>
            <pc:sldLayoutMk cId="3759554258" sldId="2147484011"/>
          </pc:sldLayoutMkLst>
        </pc:sldLayoutChg>
        <pc:sldLayoutChg chg="del">
          <pc:chgData name="Niittymies Aleksi" userId="00c1d702-9a1a-46cb-9bcd-5368d837961b" providerId="ADAL" clId="{5A9225AD-B49B-4444-A0DC-F8BA8F343C3A}" dt="2023-11-07T10:26:53.344" v="348" actId="47"/>
          <pc:sldLayoutMkLst>
            <pc:docMk/>
            <pc:sldMasterMk cId="4010853733" sldId="2147484008"/>
            <pc:sldLayoutMk cId="750748991" sldId="2147484012"/>
          </pc:sldLayoutMkLst>
        </pc:sldLayoutChg>
        <pc:sldLayoutChg chg="del">
          <pc:chgData name="Niittymies Aleksi" userId="00c1d702-9a1a-46cb-9bcd-5368d837961b" providerId="ADAL" clId="{5A9225AD-B49B-4444-A0DC-F8BA8F343C3A}" dt="2023-11-07T10:26:53.344" v="348" actId="47"/>
          <pc:sldLayoutMkLst>
            <pc:docMk/>
            <pc:sldMasterMk cId="4010853733" sldId="2147484008"/>
            <pc:sldLayoutMk cId="850524368" sldId="2147484013"/>
          </pc:sldLayoutMkLst>
        </pc:sldLayoutChg>
        <pc:sldLayoutChg chg="del">
          <pc:chgData name="Niittymies Aleksi" userId="00c1d702-9a1a-46cb-9bcd-5368d837961b" providerId="ADAL" clId="{5A9225AD-B49B-4444-A0DC-F8BA8F343C3A}" dt="2023-11-07T10:26:53.344" v="348" actId="47"/>
          <pc:sldLayoutMkLst>
            <pc:docMk/>
            <pc:sldMasterMk cId="4010853733" sldId="2147484008"/>
            <pc:sldLayoutMk cId="3378837829" sldId="2147484014"/>
          </pc:sldLayoutMkLst>
        </pc:sldLayoutChg>
        <pc:sldLayoutChg chg="del">
          <pc:chgData name="Niittymies Aleksi" userId="00c1d702-9a1a-46cb-9bcd-5368d837961b" providerId="ADAL" clId="{5A9225AD-B49B-4444-A0DC-F8BA8F343C3A}" dt="2023-11-07T10:26:53.344" v="348" actId="47"/>
          <pc:sldLayoutMkLst>
            <pc:docMk/>
            <pc:sldMasterMk cId="4010853733" sldId="2147484008"/>
            <pc:sldLayoutMk cId="3884186567" sldId="2147484015"/>
          </pc:sldLayoutMkLst>
        </pc:sldLayoutChg>
        <pc:sldLayoutChg chg="del">
          <pc:chgData name="Niittymies Aleksi" userId="00c1d702-9a1a-46cb-9bcd-5368d837961b" providerId="ADAL" clId="{5A9225AD-B49B-4444-A0DC-F8BA8F343C3A}" dt="2023-11-07T10:26:53.344" v="348" actId="47"/>
          <pc:sldLayoutMkLst>
            <pc:docMk/>
            <pc:sldMasterMk cId="4010853733" sldId="2147484008"/>
            <pc:sldLayoutMk cId="1853464667" sldId="2147484016"/>
          </pc:sldLayoutMkLst>
        </pc:sldLayoutChg>
        <pc:sldLayoutChg chg="del">
          <pc:chgData name="Niittymies Aleksi" userId="00c1d702-9a1a-46cb-9bcd-5368d837961b" providerId="ADAL" clId="{5A9225AD-B49B-4444-A0DC-F8BA8F343C3A}" dt="2023-11-07T10:26:53.344" v="348" actId="47"/>
          <pc:sldLayoutMkLst>
            <pc:docMk/>
            <pc:sldMasterMk cId="4010853733" sldId="2147484008"/>
            <pc:sldLayoutMk cId="1258013219" sldId="2147484017"/>
          </pc:sldLayoutMkLst>
        </pc:sldLayoutChg>
        <pc:sldLayoutChg chg="del">
          <pc:chgData name="Niittymies Aleksi" userId="00c1d702-9a1a-46cb-9bcd-5368d837961b" providerId="ADAL" clId="{5A9225AD-B49B-4444-A0DC-F8BA8F343C3A}" dt="2023-11-07T10:26:53.344" v="348" actId="47"/>
          <pc:sldLayoutMkLst>
            <pc:docMk/>
            <pc:sldMasterMk cId="4010853733" sldId="2147484008"/>
            <pc:sldLayoutMk cId="1724140525" sldId="2147484018"/>
          </pc:sldLayoutMkLst>
        </pc:sldLayoutChg>
        <pc:sldLayoutChg chg="del">
          <pc:chgData name="Niittymies Aleksi" userId="00c1d702-9a1a-46cb-9bcd-5368d837961b" providerId="ADAL" clId="{5A9225AD-B49B-4444-A0DC-F8BA8F343C3A}" dt="2023-11-07T10:26:53.344" v="348" actId="47"/>
          <pc:sldLayoutMkLst>
            <pc:docMk/>
            <pc:sldMasterMk cId="4010853733" sldId="2147484008"/>
            <pc:sldLayoutMk cId="543108037" sldId="2147484019"/>
          </pc:sldLayoutMkLst>
        </pc:sldLayoutChg>
      </pc:sldMasterChg>
    </pc:docChg>
  </pc:docChgLst>
  <pc:docChgLst>
    <pc:chgData name="Niittymies Aleksi" userId="00c1d702-9a1a-46cb-9bcd-5368d837961b" providerId="ADAL" clId="{777E9463-A5D1-4581-A176-232A55A8FD4B}"/>
    <pc:docChg chg="undo custSel addSld delSld modSld sldOrd">
      <pc:chgData name="Niittymies Aleksi" userId="00c1d702-9a1a-46cb-9bcd-5368d837961b" providerId="ADAL" clId="{777E9463-A5D1-4581-A176-232A55A8FD4B}" dt="2023-11-06T10:14:22.797" v="1978"/>
      <pc:docMkLst>
        <pc:docMk/>
      </pc:docMkLst>
      <pc:sldChg chg="modSp mod">
        <pc:chgData name="Niittymies Aleksi" userId="00c1d702-9a1a-46cb-9bcd-5368d837961b" providerId="ADAL" clId="{777E9463-A5D1-4581-A176-232A55A8FD4B}" dt="2023-11-03T15:20:32.995" v="5" actId="20577"/>
        <pc:sldMkLst>
          <pc:docMk/>
          <pc:sldMk cId="4022952943" sldId="259"/>
        </pc:sldMkLst>
        <pc:spChg chg="mod">
          <ac:chgData name="Niittymies Aleksi" userId="00c1d702-9a1a-46cb-9bcd-5368d837961b" providerId="ADAL" clId="{777E9463-A5D1-4581-A176-232A55A8FD4B}" dt="2023-11-03T15:20:29.311" v="3" actId="20577"/>
          <ac:spMkLst>
            <pc:docMk/>
            <pc:sldMk cId="4022952943" sldId="259"/>
            <ac:spMk id="3" creationId="{8A46F9C8-1964-44D9-B1CD-B6CEC744D5F3}"/>
          </ac:spMkLst>
        </pc:spChg>
        <pc:spChg chg="mod">
          <ac:chgData name="Niittymies Aleksi" userId="00c1d702-9a1a-46cb-9bcd-5368d837961b" providerId="ADAL" clId="{777E9463-A5D1-4581-A176-232A55A8FD4B}" dt="2023-11-03T15:20:32.995" v="5" actId="20577"/>
          <ac:spMkLst>
            <pc:docMk/>
            <pc:sldMk cId="4022952943" sldId="259"/>
            <ac:spMk id="5" creationId="{14D9E3F0-1051-411B-B4E8-74150CD2A556}"/>
          </ac:spMkLst>
        </pc:spChg>
      </pc:sldChg>
      <pc:sldChg chg="del">
        <pc:chgData name="Niittymies Aleksi" userId="00c1d702-9a1a-46cb-9bcd-5368d837961b" providerId="ADAL" clId="{777E9463-A5D1-4581-A176-232A55A8FD4B}" dt="2023-11-05T11:53:17.334" v="1551" actId="47"/>
        <pc:sldMkLst>
          <pc:docMk/>
          <pc:sldMk cId="1957632854" sldId="262"/>
        </pc:sldMkLst>
      </pc:sldChg>
      <pc:sldChg chg="addSp del delDesignElem">
        <pc:chgData name="Niittymies Aleksi" userId="00c1d702-9a1a-46cb-9bcd-5368d837961b" providerId="ADAL" clId="{777E9463-A5D1-4581-A176-232A55A8FD4B}" dt="2023-11-03T15:33:50.698" v="260"/>
        <pc:sldMkLst>
          <pc:docMk/>
          <pc:sldMk cId="2555137741" sldId="269"/>
        </pc:sldMkLst>
        <pc:spChg chg="add">
          <ac:chgData name="Niittymies Aleksi" userId="00c1d702-9a1a-46cb-9bcd-5368d837961b" providerId="ADAL" clId="{777E9463-A5D1-4581-A176-232A55A8FD4B}" dt="2023-11-03T15:33:50.698" v="260"/>
          <ac:spMkLst>
            <pc:docMk/>
            <pc:sldMk cId="2555137741" sldId="269"/>
            <ac:spMk id="10" creationId="{32BC26D8-82FB-445E-AA49-62A77D7C1EE0}"/>
          </ac:spMkLst>
        </pc:spChg>
        <pc:spChg chg="add">
          <ac:chgData name="Niittymies Aleksi" userId="00c1d702-9a1a-46cb-9bcd-5368d837961b" providerId="ADAL" clId="{777E9463-A5D1-4581-A176-232A55A8FD4B}" dt="2023-11-03T15:33:50.698" v="260"/>
          <ac:spMkLst>
            <pc:docMk/>
            <pc:sldMk cId="2555137741" sldId="269"/>
            <ac:spMk id="12" creationId="{CB44330D-EA18-4254-AA95-EB49948539B8}"/>
          </ac:spMkLst>
        </pc:spChg>
      </pc:sldChg>
      <pc:sldChg chg="del">
        <pc:chgData name="Niittymies Aleksi" userId="00c1d702-9a1a-46cb-9bcd-5368d837961b" providerId="ADAL" clId="{777E9463-A5D1-4581-A176-232A55A8FD4B}" dt="2023-11-03T16:18:15.306" v="857" actId="47"/>
        <pc:sldMkLst>
          <pc:docMk/>
          <pc:sldMk cId="2377531744" sldId="277"/>
        </pc:sldMkLst>
      </pc:sldChg>
      <pc:sldChg chg="addSp modSp mod">
        <pc:chgData name="Niittymies Aleksi" userId="00c1d702-9a1a-46cb-9bcd-5368d837961b" providerId="ADAL" clId="{777E9463-A5D1-4581-A176-232A55A8FD4B}" dt="2023-11-05T19:37:04.033" v="1887" actId="1076"/>
        <pc:sldMkLst>
          <pc:docMk/>
          <pc:sldMk cId="2068996606" sldId="278"/>
        </pc:sldMkLst>
        <pc:spChg chg="add mod">
          <ac:chgData name="Niittymies Aleksi" userId="00c1d702-9a1a-46cb-9bcd-5368d837961b" providerId="ADAL" clId="{777E9463-A5D1-4581-A176-232A55A8FD4B}" dt="2023-11-05T19:37:04.033" v="1887" actId="1076"/>
          <ac:spMkLst>
            <pc:docMk/>
            <pc:sldMk cId="2068996606" sldId="278"/>
            <ac:spMk id="4" creationId="{2C0720E4-9E87-F8B2-061F-65112570ACC6}"/>
          </ac:spMkLst>
        </pc:spChg>
      </pc:sldChg>
      <pc:sldChg chg="addSp delSp modSp mod">
        <pc:chgData name="Niittymies Aleksi" userId="00c1d702-9a1a-46cb-9bcd-5368d837961b" providerId="ADAL" clId="{777E9463-A5D1-4581-A176-232A55A8FD4B}" dt="2023-11-03T16:03:35.295" v="403" actId="113"/>
        <pc:sldMkLst>
          <pc:docMk/>
          <pc:sldMk cId="1237508240" sldId="282"/>
        </pc:sldMkLst>
        <pc:spChg chg="mod">
          <ac:chgData name="Niittymies Aleksi" userId="00c1d702-9a1a-46cb-9bcd-5368d837961b" providerId="ADAL" clId="{777E9463-A5D1-4581-A176-232A55A8FD4B}" dt="2023-11-03T16:03:35.295" v="403" actId="113"/>
          <ac:spMkLst>
            <pc:docMk/>
            <pc:sldMk cId="1237508240" sldId="282"/>
            <ac:spMk id="2" creationId="{12ECB206-0A52-492A-A546-47DCCF02AE0B}"/>
          </ac:spMkLst>
        </pc:spChg>
        <pc:spChg chg="add del">
          <ac:chgData name="Niittymies Aleksi" userId="00c1d702-9a1a-46cb-9bcd-5368d837961b" providerId="ADAL" clId="{777E9463-A5D1-4581-A176-232A55A8FD4B}" dt="2023-11-03T16:02:49.367" v="396" actId="26606"/>
          <ac:spMkLst>
            <pc:docMk/>
            <pc:sldMk cId="1237508240" sldId="282"/>
            <ac:spMk id="51" creationId="{F13C74B1-5B17-4795-BED0-7140497B445A}"/>
          </ac:spMkLst>
        </pc:spChg>
        <pc:spChg chg="add del">
          <ac:chgData name="Niittymies Aleksi" userId="00c1d702-9a1a-46cb-9bcd-5368d837961b" providerId="ADAL" clId="{777E9463-A5D1-4581-A176-232A55A8FD4B}" dt="2023-11-03T16:02:49.367" v="396" actId="26606"/>
          <ac:spMkLst>
            <pc:docMk/>
            <pc:sldMk cId="1237508240" sldId="282"/>
            <ac:spMk id="53" creationId="{D4974D33-8DC5-464E-8C6D-BE58F0669C17}"/>
          </ac:spMkLst>
        </pc:spChg>
        <pc:graphicFrameChg chg="mod ord modGraphic">
          <ac:chgData name="Niittymies Aleksi" userId="00c1d702-9a1a-46cb-9bcd-5368d837961b" providerId="ADAL" clId="{777E9463-A5D1-4581-A176-232A55A8FD4B}" dt="2023-11-03T16:03:08.142" v="398" actId="1076"/>
          <ac:graphicFrameMkLst>
            <pc:docMk/>
            <pc:sldMk cId="1237508240" sldId="282"/>
            <ac:graphicFrameMk id="5" creationId="{7F09E4EF-0634-47BB-8BE0-0C21E5A07A92}"/>
          </ac:graphicFrameMkLst>
        </pc:graphicFrameChg>
        <pc:picChg chg="add del mod">
          <ac:chgData name="Niittymies Aleksi" userId="00c1d702-9a1a-46cb-9bcd-5368d837961b" providerId="ADAL" clId="{777E9463-A5D1-4581-A176-232A55A8FD4B}" dt="2023-11-03T16:03:24.056" v="400" actId="478"/>
          <ac:picMkLst>
            <pc:docMk/>
            <pc:sldMk cId="1237508240" sldId="282"/>
            <ac:picMk id="3" creationId="{F749252F-FEEE-674E-D756-CE8063A04CF4}"/>
          </ac:picMkLst>
        </pc:picChg>
        <pc:picChg chg="add mod">
          <ac:chgData name="Niittymies Aleksi" userId="00c1d702-9a1a-46cb-9bcd-5368d837961b" providerId="ADAL" clId="{777E9463-A5D1-4581-A176-232A55A8FD4B}" dt="2023-11-03T16:03:31.321" v="402" actId="1076"/>
          <ac:picMkLst>
            <pc:docMk/>
            <pc:sldMk cId="1237508240" sldId="282"/>
            <ac:picMk id="4" creationId="{243D1D09-4134-BBA8-4EB9-1B56824014C1}"/>
          </ac:picMkLst>
        </pc:picChg>
        <pc:picChg chg="del">
          <ac:chgData name="Niittymies Aleksi" userId="00c1d702-9a1a-46cb-9bcd-5368d837961b" providerId="ADAL" clId="{777E9463-A5D1-4581-A176-232A55A8FD4B}" dt="2023-11-03T16:02:26.752" v="391" actId="478"/>
          <ac:picMkLst>
            <pc:docMk/>
            <pc:sldMk cId="1237508240" sldId="282"/>
            <ac:picMk id="6" creationId="{76A46F59-5D93-4EFB-8D5C-243D71F9C34F}"/>
          </ac:picMkLst>
        </pc:picChg>
        <pc:picChg chg="add del">
          <ac:chgData name="Niittymies Aleksi" userId="00c1d702-9a1a-46cb-9bcd-5368d837961b" providerId="ADAL" clId="{777E9463-A5D1-4581-A176-232A55A8FD4B}" dt="2023-11-03T16:02:49.367" v="396" actId="26606"/>
          <ac:picMkLst>
            <pc:docMk/>
            <pc:sldMk cId="1237508240" sldId="282"/>
            <ac:picMk id="46" creationId="{54DDEBDD-D8BD-41A6-8A0D-B00E3768B0F9}"/>
          </ac:picMkLst>
        </pc:picChg>
      </pc:sldChg>
      <pc:sldChg chg="mod modShow">
        <pc:chgData name="Niittymies Aleksi" userId="00c1d702-9a1a-46cb-9bcd-5368d837961b" providerId="ADAL" clId="{777E9463-A5D1-4581-A176-232A55A8FD4B}" dt="2023-11-05T11:56:27.586" v="1556" actId="729"/>
        <pc:sldMkLst>
          <pc:docMk/>
          <pc:sldMk cId="760655846" sldId="288"/>
        </pc:sldMkLst>
      </pc:sldChg>
      <pc:sldChg chg="addSp modSp mod">
        <pc:chgData name="Niittymies Aleksi" userId="00c1d702-9a1a-46cb-9bcd-5368d837961b" providerId="ADAL" clId="{777E9463-A5D1-4581-A176-232A55A8FD4B}" dt="2023-11-03T16:26:23.701" v="956" actId="1076"/>
        <pc:sldMkLst>
          <pc:docMk/>
          <pc:sldMk cId="1886639995" sldId="300"/>
        </pc:sldMkLst>
        <pc:spChg chg="add mod">
          <ac:chgData name="Niittymies Aleksi" userId="00c1d702-9a1a-46cb-9bcd-5368d837961b" providerId="ADAL" clId="{777E9463-A5D1-4581-A176-232A55A8FD4B}" dt="2023-11-03T16:26:23.701" v="956" actId="1076"/>
          <ac:spMkLst>
            <pc:docMk/>
            <pc:sldMk cId="1886639995" sldId="300"/>
            <ac:spMk id="5" creationId="{16B5D0FE-1E5D-81CF-220F-1AFD2027155A}"/>
          </ac:spMkLst>
        </pc:spChg>
        <pc:graphicFrameChg chg="mod">
          <ac:chgData name="Niittymies Aleksi" userId="00c1d702-9a1a-46cb-9bcd-5368d837961b" providerId="ADAL" clId="{777E9463-A5D1-4581-A176-232A55A8FD4B}" dt="2023-11-03T16:26:18.092" v="955"/>
          <ac:graphicFrameMkLst>
            <pc:docMk/>
            <pc:sldMk cId="1886639995" sldId="300"/>
            <ac:graphicFrameMk id="9" creationId="{623F34E6-D17B-42C9-A6A5-5461B09D7E29}"/>
          </ac:graphicFrameMkLst>
        </pc:graphicFrameChg>
        <pc:picChg chg="mod">
          <ac:chgData name="Niittymies Aleksi" userId="00c1d702-9a1a-46cb-9bcd-5368d837961b" providerId="ADAL" clId="{777E9463-A5D1-4581-A176-232A55A8FD4B}" dt="2023-11-03T16:25:35.492" v="945" actId="1076"/>
          <ac:picMkLst>
            <pc:docMk/>
            <pc:sldMk cId="1886639995" sldId="300"/>
            <ac:picMk id="4" creationId="{1C2BD351-6476-471B-92AE-43044E984C89}"/>
          </ac:picMkLst>
        </pc:picChg>
      </pc:sldChg>
      <pc:sldChg chg="modSp mod">
        <pc:chgData name="Niittymies Aleksi" userId="00c1d702-9a1a-46cb-9bcd-5368d837961b" providerId="ADAL" clId="{777E9463-A5D1-4581-A176-232A55A8FD4B}" dt="2023-11-03T15:41:30.594" v="266" actId="27636"/>
        <pc:sldMkLst>
          <pc:docMk/>
          <pc:sldMk cId="2737998628" sldId="305"/>
        </pc:sldMkLst>
        <pc:spChg chg="mod">
          <ac:chgData name="Niittymies Aleksi" userId="00c1d702-9a1a-46cb-9bcd-5368d837961b" providerId="ADAL" clId="{777E9463-A5D1-4581-A176-232A55A8FD4B}" dt="2023-11-03T15:41:30.594" v="266" actId="27636"/>
          <ac:spMkLst>
            <pc:docMk/>
            <pc:sldMk cId="2737998628" sldId="305"/>
            <ac:spMk id="2" creationId="{988583B6-8CF7-41A8-9C4A-7CF831058912}"/>
          </ac:spMkLst>
        </pc:spChg>
      </pc:sldChg>
      <pc:sldChg chg="del ord">
        <pc:chgData name="Niittymies Aleksi" userId="00c1d702-9a1a-46cb-9bcd-5368d837961b" providerId="ADAL" clId="{777E9463-A5D1-4581-A176-232A55A8FD4B}" dt="2023-11-05T10:32:15.414" v="1268" actId="47"/>
        <pc:sldMkLst>
          <pc:docMk/>
          <pc:sldMk cId="3727756119" sldId="514"/>
        </pc:sldMkLst>
      </pc:sldChg>
      <pc:sldChg chg="modSp mod">
        <pc:chgData name="Niittymies Aleksi" userId="00c1d702-9a1a-46cb-9bcd-5368d837961b" providerId="ADAL" clId="{777E9463-A5D1-4581-A176-232A55A8FD4B}" dt="2023-11-03T16:35:33.775" v="1185" actId="20577"/>
        <pc:sldMkLst>
          <pc:docMk/>
          <pc:sldMk cId="3618287028" sldId="979"/>
        </pc:sldMkLst>
        <pc:spChg chg="mod">
          <ac:chgData name="Niittymies Aleksi" userId="00c1d702-9a1a-46cb-9bcd-5368d837961b" providerId="ADAL" clId="{777E9463-A5D1-4581-A176-232A55A8FD4B}" dt="2023-11-03T16:34:25.599" v="1175" actId="20577"/>
          <ac:spMkLst>
            <pc:docMk/>
            <pc:sldMk cId="3618287028" sldId="979"/>
            <ac:spMk id="2" creationId="{DAF2281E-D9A1-4D78-88F1-D5A2007BE0D9}"/>
          </ac:spMkLst>
        </pc:spChg>
        <pc:spChg chg="mod">
          <ac:chgData name="Niittymies Aleksi" userId="00c1d702-9a1a-46cb-9bcd-5368d837961b" providerId="ADAL" clId="{777E9463-A5D1-4581-A176-232A55A8FD4B}" dt="2023-11-03T16:35:33.775" v="1185" actId="20577"/>
          <ac:spMkLst>
            <pc:docMk/>
            <pc:sldMk cId="3618287028" sldId="979"/>
            <ac:spMk id="3" creationId="{5F669965-2C37-4E46-9B17-C284E9EEEBCD}"/>
          </ac:spMkLst>
        </pc:spChg>
      </pc:sldChg>
      <pc:sldChg chg="del">
        <pc:chgData name="Niittymies Aleksi" userId="00c1d702-9a1a-46cb-9bcd-5368d837961b" providerId="ADAL" clId="{777E9463-A5D1-4581-A176-232A55A8FD4B}" dt="2023-11-03T15:34:05.973" v="261" actId="47"/>
        <pc:sldMkLst>
          <pc:docMk/>
          <pc:sldMk cId="3567938623" sldId="6477"/>
        </pc:sldMkLst>
      </pc:sldChg>
      <pc:sldChg chg="modSp mod">
        <pc:chgData name="Niittymies Aleksi" userId="00c1d702-9a1a-46cb-9bcd-5368d837961b" providerId="ADAL" clId="{777E9463-A5D1-4581-A176-232A55A8FD4B}" dt="2023-11-03T15:21:29.859" v="79" actId="20577"/>
        <pc:sldMkLst>
          <pc:docMk/>
          <pc:sldMk cId="2555860637" sldId="6511"/>
        </pc:sldMkLst>
        <pc:spChg chg="mod">
          <ac:chgData name="Niittymies Aleksi" userId="00c1d702-9a1a-46cb-9bcd-5368d837961b" providerId="ADAL" clId="{777E9463-A5D1-4581-A176-232A55A8FD4B}" dt="2023-11-03T15:21:29.859" v="79" actId="20577"/>
          <ac:spMkLst>
            <pc:docMk/>
            <pc:sldMk cId="2555860637" sldId="6511"/>
            <ac:spMk id="3" creationId="{CF3F630B-0F73-483A-838D-6B23394D1B86}"/>
          </ac:spMkLst>
        </pc:spChg>
      </pc:sldChg>
      <pc:sldChg chg="modSp mod ord">
        <pc:chgData name="Niittymies Aleksi" userId="00c1d702-9a1a-46cb-9bcd-5368d837961b" providerId="ADAL" clId="{777E9463-A5D1-4581-A176-232A55A8FD4B}" dt="2023-11-05T10:33:18.641" v="1275" actId="20577"/>
        <pc:sldMkLst>
          <pc:docMk/>
          <pc:sldMk cId="3262308052" sldId="6518"/>
        </pc:sldMkLst>
        <pc:spChg chg="mod">
          <ac:chgData name="Niittymies Aleksi" userId="00c1d702-9a1a-46cb-9bcd-5368d837961b" providerId="ADAL" clId="{777E9463-A5D1-4581-A176-232A55A8FD4B}" dt="2023-11-05T10:33:18.641" v="1275" actId="20577"/>
          <ac:spMkLst>
            <pc:docMk/>
            <pc:sldMk cId="3262308052" sldId="6518"/>
            <ac:spMk id="2" creationId="{7188B95F-4310-569A-83C9-3FA1F947D1D9}"/>
          </ac:spMkLst>
        </pc:spChg>
        <pc:spChg chg="mod">
          <ac:chgData name="Niittymies Aleksi" userId="00c1d702-9a1a-46cb-9bcd-5368d837961b" providerId="ADAL" clId="{777E9463-A5D1-4581-A176-232A55A8FD4B}" dt="2023-11-03T15:28:12.037" v="183" actId="14100"/>
          <ac:spMkLst>
            <pc:docMk/>
            <pc:sldMk cId="3262308052" sldId="6518"/>
            <ac:spMk id="5" creationId="{4E79B233-C263-4355-BEE2-6A4CD1ED5B59}"/>
          </ac:spMkLst>
        </pc:spChg>
      </pc:sldChg>
      <pc:sldChg chg="del">
        <pc:chgData name="Niittymies Aleksi" userId="00c1d702-9a1a-46cb-9bcd-5368d837961b" providerId="ADAL" clId="{777E9463-A5D1-4581-A176-232A55A8FD4B}" dt="2023-11-03T15:30:13.151" v="190" actId="47"/>
        <pc:sldMkLst>
          <pc:docMk/>
          <pc:sldMk cId="2293747233" sldId="6519"/>
        </pc:sldMkLst>
      </pc:sldChg>
      <pc:sldChg chg="del">
        <pc:chgData name="Niittymies Aleksi" userId="00c1d702-9a1a-46cb-9bcd-5368d837961b" providerId="ADAL" clId="{777E9463-A5D1-4581-A176-232A55A8FD4B}" dt="2023-11-03T15:30:15.760" v="191" actId="47"/>
        <pc:sldMkLst>
          <pc:docMk/>
          <pc:sldMk cId="2886959941" sldId="6520"/>
        </pc:sldMkLst>
      </pc:sldChg>
      <pc:sldChg chg="ord">
        <pc:chgData name="Niittymies Aleksi" userId="00c1d702-9a1a-46cb-9bcd-5368d837961b" providerId="ADAL" clId="{777E9463-A5D1-4581-A176-232A55A8FD4B}" dt="2023-11-03T15:31:06.174" v="198"/>
        <pc:sldMkLst>
          <pc:docMk/>
          <pc:sldMk cId="4190350582" sldId="6521"/>
        </pc:sldMkLst>
      </pc:sldChg>
      <pc:sldChg chg="ord">
        <pc:chgData name="Niittymies Aleksi" userId="00c1d702-9a1a-46cb-9bcd-5368d837961b" providerId="ADAL" clId="{777E9463-A5D1-4581-A176-232A55A8FD4B}" dt="2023-11-03T15:34:26.182" v="263"/>
        <pc:sldMkLst>
          <pc:docMk/>
          <pc:sldMk cId="821067728" sldId="6523"/>
        </pc:sldMkLst>
      </pc:sldChg>
      <pc:sldChg chg="addSp modSp mod ord">
        <pc:chgData name="Niittymies Aleksi" userId="00c1d702-9a1a-46cb-9bcd-5368d837961b" providerId="ADAL" clId="{777E9463-A5D1-4581-A176-232A55A8FD4B}" dt="2023-11-06T09:54:17.107" v="1974"/>
        <pc:sldMkLst>
          <pc:docMk/>
          <pc:sldMk cId="3499027776" sldId="6526"/>
        </pc:sldMkLst>
        <pc:spChg chg="add mod">
          <ac:chgData name="Niittymies Aleksi" userId="00c1d702-9a1a-46cb-9bcd-5368d837961b" providerId="ADAL" clId="{777E9463-A5D1-4581-A176-232A55A8FD4B}" dt="2023-11-05T19:03:07.631" v="1623" actId="1037"/>
          <ac:spMkLst>
            <pc:docMk/>
            <pc:sldMk cId="3499027776" sldId="6526"/>
            <ac:spMk id="2" creationId="{CE18D152-A48D-4DC1-5A3D-A94C63EF8B42}"/>
          </ac:spMkLst>
        </pc:spChg>
      </pc:sldChg>
      <pc:sldChg chg="modSp add mod">
        <pc:chgData name="Niittymies Aleksi" userId="00c1d702-9a1a-46cb-9bcd-5368d837961b" providerId="ADAL" clId="{777E9463-A5D1-4581-A176-232A55A8FD4B}" dt="2023-11-03T15:25:18.454" v="156" actId="20577"/>
        <pc:sldMkLst>
          <pc:docMk/>
          <pc:sldMk cId="2956272805" sldId="6527"/>
        </pc:sldMkLst>
        <pc:spChg chg="mod">
          <ac:chgData name="Niittymies Aleksi" userId="00c1d702-9a1a-46cb-9bcd-5368d837961b" providerId="ADAL" clId="{777E9463-A5D1-4581-A176-232A55A8FD4B}" dt="2023-11-03T15:25:18.454" v="156" actId="20577"/>
          <ac:spMkLst>
            <pc:docMk/>
            <pc:sldMk cId="2956272805" sldId="6527"/>
            <ac:spMk id="3" creationId="{CF3F630B-0F73-483A-838D-6B23394D1B86}"/>
          </ac:spMkLst>
        </pc:spChg>
      </pc:sldChg>
      <pc:sldChg chg="modSp add mod ord">
        <pc:chgData name="Niittymies Aleksi" userId="00c1d702-9a1a-46cb-9bcd-5368d837961b" providerId="ADAL" clId="{777E9463-A5D1-4581-A176-232A55A8FD4B}" dt="2023-11-05T19:08:26.594" v="1662" actId="20577"/>
        <pc:sldMkLst>
          <pc:docMk/>
          <pc:sldMk cId="864312609" sldId="6528"/>
        </pc:sldMkLst>
        <pc:spChg chg="mod">
          <ac:chgData name="Niittymies Aleksi" userId="00c1d702-9a1a-46cb-9bcd-5368d837961b" providerId="ADAL" clId="{777E9463-A5D1-4581-A176-232A55A8FD4B}" dt="2023-11-05T19:08:26.594" v="1662" actId="20577"/>
          <ac:spMkLst>
            <pc:docMk/>
            <pc:sldMk cId="864312609" sldId="6528"/>
            <ac:spMk id="2" creationId="{7188B95F-4310-569A-83C9-3FA1F947D1D9}"/>
          </ac:spMkLst>
        </pc:spChg>
        <pc:spChg chg="mod">
          <ac:chgData name="Niittymies Aleksi" userId="00c1d702-9a1a-46cb-9bcd-5368d837961b" providerId="ADAL" clId="{777E9463-A5D1-4581-A176-232A55A8FD4B}" dt="2023-11-03T15:33:21.004" v="256" actId="20577"/>
          <ac:spMkLst>
            <pc:docMk/>
            <pc:sldMk cId="864312609" sldId="6528"/>
            <ac:spMk id="5" creationId="{4E79B233-C263-4355-BEE2-6A4CD1ED5B59}"/>
          </ac:spMkLst>
        </pc:spChg>
      </pc:sldChg>
      <pc:sldChg chg="modSp add mod ord">
        <pc:chgData name="Niittymies Aleksi" userId="00c1d702-9a1a-46cb-9bcd-5368d837961b" providerId="ADAL" clId="{777E9463-A5D1-4581-A176-232A55A8FD4B}" dt="2023-11-05T11:39:32.290" v="1450" actId="20577"/>
        <pc:sldMkLst>
          <pc:docMk/>
          <pc:sldMk cId="974837380" sldId="6529"/>
        </pc:sldMkLst>
        <pc:spChg chg="mod">
          <ac:chgData name="Niittymies Aleksi" userId="00c1d702-9a1a-46cb-9bcd-5368d837961b" providerId="ADAL" clId="{777E9463-A5D1-4581-A176-232A55A8FD4B}" dt="2023-11-05T11:39:32.290" v="1450" actId="20577"/>
          <ac:spMkLst>
            <pc:docMk/>
            <pc:sldMk cId="974837380" sldId="6529"/>
            <ac:spMk id="2" creationId="{7188B95F-4310-569A-83C9-3FA1F947D1D9}"/>
          </ac:spMkLst>
        </pc:spChg>
        <pc:spChg chg="mod">
          <ac:chgData name="Niittymies Aleksi" userId="00c1d702-9a1a-46cb-9bcd-5368d837961b" providerId="ADAL" clId="{777E9463-A5D1-4581-A176-232A55A8FD4B}" dt="2023-11-03T16:39:58.106" v="1186" actId="313"/>
          <ac:spMkLst>
            <pc:docMk/>
            <pc:sldMk cId="974837380" sldId="6529"/>
            <ac:spMk id="5" creationId="{4E79B233-C263-4355-BEE2-6A4CD1ED5B59}"/>
          </ac:spMkLst>
        </pc:spChg>
      </pc:sldChg>
      <pc:sldChg chg="add del ord">
        <pc:chgData name="Niittymies Aleksi" userId="00c1d702-9a1a-46cb-9bcd-5368d837961b" providerId="ADAL" clId="{777E9463-A5D1-4581-A176-232A55A8FD4B}" dt="2023-11-06T09:54:19.312" v="1975" actId="47"/>
        <pc:sldMkLst>
          <pc:docMk/>
          <pc:sldMk cId="626119251" sldId="6530"/>
        </pc:sldMkLst>
      </pc:sldChg>
      <pc:sldChg chg="modSp add mod ord">
        <pc:chgData name="Niittymies Aleksi" userId="00c1d702-9a1a-46cb-9bcd-5368d837961b" providerId="ADAL" clId="{777E9463-A5D1-4581-A176-232A55A8FD4B}" dt="2023-11-03T15:42:58.025" v="302"/>
        <pc:sldMkLst>
          <pc:docMk/>
          <pc:sldMk cId="3377242872" sldId="6531"/>
        </pc:sldMkLst>
        <pc:spChg chg="mod">
          <ac:chgData name="Niittymies Aleksi" userId="00c1d702-9a1a-46cb-9bcd-5368d837961b" providerId="ADAL" clId="{777E9463-A5D1-4581-A176-232A55A8FD4B}" dt="2023-11-03T15:42:29.433" v="300" actId="20577"/>
          <ac:spMkLst>
            <pc:docMk/>
            <pc:sldMk cId="3377242872" sldId="6531"/>
            <ac:spMk id="2" creationId="{7188B95F-4310-569A-83C9-3FA1F947D1D9}"/>
          </ac:spMkLst>
        </pc:spChg>
        <pc:spChg chg="mod">
          <ac:chgData name="Niittymies Aleksi" userId="00c1d702-9a1a-46cb-9bcd-5368d837961b" providerId="ADAL" clId="{777E9463-A5D1-4581-A176-232A55A8FD4B}" dt="2023-11-03T15:41:52.056" v="277" actId="20577"/>
          <ac:spMkLst>
            <pc:docMk/>
            <pc:sldMk cId="3377242872" sldId="6531"/>
            <ac:spMk id="5" creationId="{4E79B233-C263-4355-BEE2-6A4CD1ED5B59}"/>
          </ac:spMkLst>
        </pc:spChg>
      </pc:sldChg>
      <pc:sldChg chg="modSp add del mod ord">
        <pc:chgData name="Niittymies Aleksi" userId="00c1d702-9a1a-46cb-9bcd-5368d837961b" providerId="ADAL" clId="{777E9463-A5D1-4581-A176-232A55A8FD4B}" dt="2023-11-03T16:06:34.566" v="442" actId="47"/>
        <pc:sldMkLst>
          <pc:docMk/>
          <pc:sldMk cId="3386708103" sldId="6532"/>
        </pc:sldMkLst>
        <pc:spChg chg="mod">
          <ac:chgData name="Niittymies Aleksi" userId="00c1d702-9a1a-46cb-9bcd-5368d837961b" providerId="ADAL" clId="{777E9463-A5D1-4581-A176-232A55A8FD4B}" dt="2023-11-03T15:45:55.795" v="316" actId="20577"/>
          <ac:spMkLst>
            <pc:docMk/>
            <pc:sldMk cId="3386708103" sldId="6532"/>
            <ac:spMk id="2" creationId="{409DEB83-2527-4B0B-9A61-3B2F1FDF0E89}"/>
          </ac:spMkLst>
        </pc:spChg>
      </pc:sldChg>
      <pc:sldChg chg="modSp add del mod">
        <pc:chgData name="Niittymies Aleksi" userId="00c1d702-9a1a-46cb-9bcd-5368d837961b" providerId="ADAL" clId="{777E9463-A5D1-4581-A176-232A55A8FD4B}" dt="2023-11-03T16:24:09.553" v="887" actId="47"/>
        <pc:sldMkLst>
          <pc:docMk/>
          <pc:sldMk cId="4074907076" sldId="6533"/>
        </pc:sldMkLst>
        <pc:spChg chg="mod">
          <ac:chgData name="Niittymies Aleksi" userId="00c1d702-9a1a-46cb-9bcd-5368d837961b" providerId="ADAL" clId="{777E9463-A5D1-4581-A176-232A55A8FD4B}" dt="2023-11-03T15:45:50.454" v="311" actId="20577"/>
          <ac:spMkLst>
            <pc:docMk/>
            <pc:sldMk cId="4074907076" sldId="6533"/>
            <ac:spMk id="2" creationId="{409DEB83-2527-4B0B-9A61-3B2F1FDF0E89}"/>
          </ac:spMkLst>
        </pc:spChg>
      </pc:sldChg>
      <pc:sldChg chg="modSp add mod ord">
        <pc:chgData name="Niittymies Aleksi" userId="00c1d702-9a1a-46cb-9bcd-5368d837961b" providerId="ADAL" clId="{777E9463-A5D1-4581-A176-232A55A8FD4B}" dt="2023-11-05T19:15:40.635" v="1782" actId="20577"/>
        <pc:sldMkLst>
          <pc:docMk/>
          <pc:sldMk cId="3872872538" sldId="6534"/>
        </pc:sldMkLst>
        <pc:spChg chg="mod">
          <ac:chgData name="Niittymies Aleksi" userId="00c1d702-9a1a-46cb-9bcd-5368d837961b" providerId="ADAL" clId="{777E9463-A5D1-4581-A176-232A55A8FD4B}" dt="2023-11-05T19:15:40.635" v="1782" actId="20577"/>
          <ac:spMkLst>
            <pc:docMk/>
            <pc:sldMk cId="3872872538" sldId="6534"/>
            <ac:spMk id="2" creationId="{7188B95F-4310-569A-83C9-3FA1F947D1D9}"/>
          </ac:spMkLst>
        </pc:spChg>
        <pc:spChg chg="mod">
          <ac:chgData name="Niittymies Aleksi" userId="00c1d702-9a1a-46cb-9bcd-5368d837961b" providerId="ADAL" clId="{777E9463-A5D1-4581-A176-232A55A8FD4B}" dt="2023-11-03T16:08:06.530" v="459" actId="20577"/>
          <ac:spMkLst>
            <pc:docMk/>
            <pc:sldMk cId="3872872538" sldId="6534"/>
            <ac:spMk id="5" creationId="{4E79B233-C263-4355-BEE2-6A4CD1ED5B59}"/>
          </ac:spMkLst>
        </pc:spChg>
      </pc:sldChg>
      <pc:sldChg chg="modSp add mod ord">
        <pc:chgData name="Niittymies Aleksi" userId="00c1d702-9a1a-46cb-9bcd-5368d837961b" providerId="ADAL" clId="{777E9463-A5D1-4581-A176-232A55A8FD4B}" dt="2023-11-05T19:35:51.999" v="1865" actId="20577"/>
        <pc:sldMkLst>
          <pc:docMk/>
          <pc:sldMk cId="662764028" sldId="6535"/>
        </pc:sldMkLst>
        <pc:spChg chg="mod">
          <ac:chgData name="Niittymies Aleksi" userId="00c1d702-9a1a-46cb-9bcd-5368d837961b" providerId="ADAL" clId="{777E9463-A5D1-4581-A176-232A55A8FD4B}" dt="2023-11-05T19:35:51.999" v="1865" actId="20577"/>
          <ac:spMkLst>
            <pc:docMk/>
            <pc:sldMk cId="662764028" sldId="6535"/>
            <ac:spMk id="2" creationId="{7188B95F-4310-569A-83C9-3FA1F947D1D9}"/>
          </ac:spMkLst>
        </pc:spChg>
        <pc:spChg chg="mod">
          <ac:chgData name="Niittymies Aleksi" userId="00c1d702-9a1a-46cb-9bcd-5368d837961b" providerId="ADAL" clId="{777E9463-A5D1-4581-A176-232A55A8FD4B}" dt="2023-11-03T15:52:57.024" v="360" actId="20577"/>
          <ac:spMkLst>
            <pc:docMk/>
            <pc:sldMk cId="662764028" sldId="6535"/>
            <ac:spMk id="5" creationId="{4E79B233-C263-4355-BEE2-6A4CD1ED5B59}"/>
          </ac:spMkLst>
        </pc:spChg>
      </pc:sldChg>
      <pc:sldChg chg="addSp modSp add mod ord">
        <pc:chgData name="Niittymies Aleksi" userId="00c1d702-9a1a-46cb-9bcd-5368d837961b" providerId="ADAL" clId="{777E9463-A5D1-4581-A176-232A55A8FD4B}" dt="2023-11-05T10:30:40.779" v="1267" actId="20577"/>
        <pc:sldMkLst>
          <pc:docMk/>
          <pc:sldMk cId="2639510589" sldId="6536"/>
        </pc:sldMkLst>
        <pc:spChg chg="mod">
          <ac:chgData name="Niittymies Aleksi" userId="00c1d702-9a1a-46cb-9bcd-5368d837961b" providerId="ADAL" clId="{777E9463-A5D1-4581-A176-232A55A8FD4B}" dt="2023-11-05T10:30:40.779" v="1267" actId="20577"/>
          <ac:spMkLst>
            <pc:docMk/>
            <pc:sldMk cId="2639510589" sldId="6536"/>
            <ac:spMk id="2" creationId="{7188B95F-4310-569A-83C9-3FA1F947D1D9}"/>
          </ac:spMkLst>
        </pc:spChg>
        <pc:spChg chg="mod">
          <ac:chgData name="Niittymies Aleksi" userId="00c1d702-9a1a-46cb-9bcd-5368d837961b" providerId="ADAL" clId="{777E9463-A5D1-4581-A176-232A55A8FD4B}" dt="2023-11-03T15:55:36.304" v="379" actId="20577"/>
          <ac:spMkLst>
            <pc:docMk/>
            <pc:sldMk cId="2639510589" sldId="6536"/>
            <ac:spMk id="5" creationId="{4E79B233-C263-4355-BEE2-6A4CD1ED5B59}"/>
          </ac:spMkLst>
        </pc:spChg>
        <pc:picChg chg="add mod">
          <ac:chgData name="Niittymies Aleksi" userId="00c1d702-9a1a-46cb-9bcd-5368d837961b" providerId="ADAL" clId="{777E9463-A5D1-4581-A176-232A55A8FD4B}" dt="2023-11-03T15:58:06.800" v="388" actId="1076"/>
          <ac:picMkLst>
            <pc:docMk/>
            <pc:sldMk cId="2639510589" sldId="6536"/>
            <ac:picMk id="3" creationId="{ADC39B82-916F-04D3-0834-495F91E1C993}"/>
          </ac:picMkLst>
        </pc:picChg>
      </pc:sldChg>
      <pc:sldChg chg="addSp delSp modSp new mod setBg">
        <pc:chgData name="Niittymies Aleksi" userId="00c1d702-9a1a-46cb-9bcd-5368d837961b" providerId="ADAL" clId="{777E9463-A5D1-4581-A176-232A55A8FD4B}" dt="2023-11-03T16:06:25.538" v="441" actId="1036"/>
        <pc:sldMkLst>
          <pc:docMk/>
          <pc:sldMk cId="3441159763" sldId="6537"/>
        </pc:sldMkLst>
        <pc:spChg chg="mod ord">
          <ac:chgData name="Niittymies Aleksi" userId="00c1d702-9a1a-46cb-9bcd-5368d837961b" providerId="ADAL" clId="{777E9463-A5D1-4581-A176-232A55A8FD4B}" dt="2023-11-03T16:05:56.069" v="427" actId="26606"/>
          <ac:spMkLst>
            <pc:docMk/>
            <pc:sldMk cId="3441159763" sldId="6537"/>
            <ac:spMk id="2" creationId="{5D4F6B4A-10F4-FB39-19F5-03C5A669C2B6}"/>
          </ac:spMkLst>
        </pc:spChg>
        <pc:spChg chg="del">
          <ac:chgData name="Niittymies Aleksi" userId="00c1d702-9a1a-46cb-9bcd-5368d837961b" providerId="ADAL" clId="{777E9463-A5D1-4581-A176-232A55A8FD4B}" dt="2023-11-03T16:05:43.740" v="425" actId="26606"/>
          <ac:spMkLst>
            <pc:docMk/>
            <pc:sldMk cId="3441159763" sldId="6537"/>
            <ac:spMk id="3" creationId="{D6639751-5331-9778-DBD0-35D7AF11C245}"/>
          </ac:spMkLst>
        </pc:spChg>
        <pc:spChg chg="add del">
          <ac:chgData name="Niittymies Aleksi" userId="00c1d702-9a1a-46cb-9bcd-5368d837961b" providerId="ADAL" clId="{777E9463-A5D1-4581-A176-232A55A8FD4B}" dt="2023-11-03T16:05:56.069" v="427" actId="26606"/>
          <ac:spMkLst>
            <pc:docMk/>
            <pc:sldMk cId="3441159763" sldId="6537"/>
            <ac:spMk id="9" creationId="{37C89E4B-3C9F-44B9-8B86-D9E3D112D8EC}"/>
          </ac:spMkLst>
        </pc:spChg>
        <pc:grpChg chg="add">
          <ac:chgData name="Niittymies Aleksi" userId="00c1d702-9a1a-46cb-9bcd-5368d837961b" providerId="ADAL" clId="{777E9463-A5D1-4581-A176-232A55A8FD4B}" dt="2023-11-03T16:05:56.069" v="427" actId="26606"/>
          <ac:grpSpMkLst>
            <pc:docMk/>
            <pc:sldMk cId="3441159763" sldId="6537"/>
            <ac:grpSpMk id="18" creationId="{17F72E41-D8D7-F589-0125-D336DE2AF8BC}"/>
          </ac:grpSpMkLst>
        </pc:grpChg>
        <pc:picChg chg="add mod">
          <ac:chgData name="Niittymies Aleksi" userId="00c1d702-9a1a-46cb-9bcd-5368d837961b" providerId="ADAL" clId="{777E9463-A5D1-4581-A176-232A55A8FD4B}" dt="2023-11-03T16:06:25.538" v="441" actId="1036"/>
          <ac:picMkLst>
            <pc:docMk/>
            <pc:sldMk cId="3441159763" sldId="6537"/>
            <ac:picMk id="4" creationId="{8D1CA875-06F5-32FB-74E2-17E774A2A0DB}"/>
          </ac:picMkLst>
        </pc:picChg>
        <pc:cxnChg chg="add del">
          <ac:chgData name="Niittymies Aleksi" userId="00c1d702-9a1a-46cb-9bcd-5368d837961b" providerId="ADAL" clId="{777E9463-A5D1-4581-A176-232A55A8FD4B}" dt="2023-11-03T16:05:56.069" v="427" actId="26606"/>
          <ac:cxnSpMkLst>
            <pc:docMk/>
            <pc:sldMk cId="3441159763" sldId="6537"/>
            <ac:cxnSpMk id="11" creationId="{AA2EAA10-076F-46BD-8F0F-B9A2FB77A85C}"/>
          </ac:cxnSpMkLst>
        </pc:cxnChg>
        <pc:cxnChg chg="add del">
          <ac:chgData name="Niittymies Aleksi" userId="00c1d702-9a1a-46cb-9bcd-5368d837961b" providerId="ADAL" clId="{777E9463-A5D1-4581-A176-232A55A8FD4B}" dt="2023-11-03T16:05:56.069" v="427" actId="26606"/>
          <ac:cxnSpMkLst>
            <pc:docMk/>
            <pc:sldMk cId="3441159763" sldId="6537"/>
            <ac:cxnSpMk id="13" creationId="{D891E407-403B-4764-86C9-33A56D3BCAA3}"/>
          </ac:cxnSpMkLst>
        </pc:cxnChg>
      </pc:sldChg>
      <pc:sldChg chg="addSp modSp add mod">
        <pc:chgData name="Niittymies Aleksi" userId="00c1d702-9a1a-46cb-9bcd-5368d837961b" providerId="ADAL" clId="{777E9463-A5D1-4581-A176-232A55A8FD4B}" dt="2023-11-05T19:24:40.374" v="1858" actId="1076"/>
        <pc:sldMkLst>
          <pc:docMk/>
          <pc:sldMk cId="3837377118" sldId="6538"/>
        </pc:sldMkLst>
        <pc:spChg chg="mod">
          <ac:chgData name="Niittymies Aleksi" userId="00c1d702-9a1a-46cb-9bcd-5368d837961b" providerId="ADAL" clId="{777E9463-A5D1-4581-A176-232A55A8FD4B}" dt="2023-11-05T19:22:49.577" v="1854" actId="404"/>
          <ac:spMkLst>
            <pc:docMk/>
            <pc:sldMk cId="3837377118" sldId="6538"/>
            <ac:spMk id="2" creationId="{7188B95F-4310-569A-83C9-3FA1F947D1D9}"/>
          </ac:spMkLst>
        </pc:spChg>
        <pc:picChg chg="add mod">
          <ac:chgData name="Niittymies Aleksi" userId="00c1d702-9a1a-46cb-9bcd-5368d837961b" providerId="ADAL" clId="{777E9463-A5D1-4581-A176-232A55A8FD4B}" dt="2023-11-05T19:24:40.374" v="1858" actId="1076"/>
          <ac:picMkLst>
            <pc:docMk/>
            <pc:sldMk cId="3837377118" sldId="6538"/>
            <ac:picMk id="3" creationId="{A3CB6154-6E62-73E6-E676-BF591883DED1}"/>
          </ac:picMkLst>
        </pc:picChg>
      </pc:sldChg>
      <pc:sldChg chg="addSp delSp modSp new mod setBg">
        <pc:chgData name="Niittymies Aleksi" userId="00c1d702-9a1a-46cb-9bcd-5368d837961b" providerId="ADAL" clId="{777E9463-A5D1-4581-A176-232A55A8FD4B}" dt="2023-11-05T11:54:51.472" v="1555" actId="20577"/>
        <pc:sldMkLst>
          <pc:docMk/>
          <pc:sldMk cId="1617255748" sldId="6539"/>
        </pc:sldMkLst>
        <pc:spChg chg="mod ord">
          <ac:chgData name="Niittymies Aleksi" userId="00c1d702-9a1a-46cb-9bcd-5368d837961b" providerId="ADAL" clId="{777E9463-A5D1-4581-A176-232A55A8FD4B}" dt="2023-11-05T11:54:51.472" v="1555" actId="20577"/>
          <ac:spMkLst>
            <pc:docMk/>
            <pc:sldMk cId="1617255748" sldId="6539"/>
            <ac:spMk id="2" creationId="{EF1B453D-C787-F812-F2E2-831393BCD34C}"/>
          </ac:spMkLst>
        </pc:spChg>
        <pc:spChg chg="del">
          <ac:chgData name="Niittymies Aleksi" userId="00c1d702-9a1a-46cb-9bcd-5368d837961b" providerId="ADAL" clId="{777E9463-A5D1-4581-A176-232A55A8FD4B}" dt="2023-11-03T16:14:49.930" v="758" actId="478"/>
          <ac:spMkLst>
            <pc:docMk/>
            <pc:sldMk cId="1617255748" sldId="6539"/>
            <ac:spMk id="3" creationId="{F46E37B5-FB6D-638C-6E89-B8DD6CB9E5E7}"/>
          </ac:spMkLst>
        </pc:spChg>
        <pc:spChg chg="add">
          <ac:chgData name="Niittymies Aleksi" userId="00c1d702-9a1a-46cb-9bcd-5368d837961b" providerId="ADAL" clId="{777E9463-A5D1-4581-A176-232A55A8FD4B}" dt="2023-11-03T16:17:31.897" v="851" actId="26606"/>
          <ac:spMkLst>
            <pc:docMk/>
            <pc:sldMk cId="1617255748" sldId="6539"/>
            <ac:spMk id="9" creationId="{C1DD1A8A-57D5-4A81-AD04-532B043C5611}"/>
          </ac:spMkLst>
        </pc:spChg>
        <pc:spChg chg="add">
          <ac:chgData name="Niittymies Aleksi" userId="00c1d702-9a1a-46cb-9bcd-5368d837961b" providerId="ADAL" clId="{777E9463-A5D1-4581-A176-232A55A8FD4B}" dt="2023-11-03T16:17:31.897" v="851" actId="26606"/>
          <ac:spMkLst>
            <pc:docMk/>
            <pc:sldMk cId="1617255748" sldId="6539"/>
            <ac:spMk id="11" creationId="{007891EC-4501-44ED-A8C8-B11B6DB767AB}"/>
          </ac:spMkLst>
        </pc:spChg>
        <pc:picChg chg="add mod">
          <ac:chgData name="Niittymies Aleksi" userId="00c1d702-9a1a-46cb-9bcd-5368d837961b" providerId="ADAL" clId="{777E9463-A5D1-4581-A176-232A55A8FD4B}" dt="2023-11-03T16:17:31.897" v="851" actId="26606"/>
          <ac:picMkLst>
            <pc:docMk/>
            <pc:sldMk cId="1617255748" sldId="6539"/>
            <ac:picMk id="4" creationId="{5F6367C5-9F91-9A99-48BC-2A64687B60E2}"/>
          </ac:picMkLst>
        </pc:picChg>
      </pc:sldChg>
      <pc:sldChg chg="addSp delSp modSp new mod setBg addAnim delAnim">
        <pc:chgData name="Niittymies Aleksi" userId="00c1d702-9a1a-46cb-9bcd-5368d837961b" providerId="ADAL" clId="{777E9463-A5D1-4581-A176-232A55A8FD4B}" dt="2023-11-05T11:31:46.169" v="1414" actId="26606"/>
        <pc:sldMkLst>
          <pc:docMk/>
          <pc:sldMk cId="432294595" sldId="6540"/>
        </pc:sldMkLst>
        <pc:spChg chg="mod ord">
          <ac:chgData name="Niittymies Aleksi" userId="00c1d702-9a1a-46cb-9bcd-5368d837961b" providerId="ADAL" clId="{777E9463-A5D1-4581-A176-232A55A8FD4B}" dt="2023-11-05T11:31:46.169" v="1414" actId="26606"/>
          <ac:spMkLst>
            <pc:docMk/>
            <pc:sldMk cId="432294595" sldId="6540"/>
            <ac:spMk id="2" creationId="{D9BF27C3-D57E-1A97-3592-9D3E9111768F}"/>
          </ac:spMkLst>
        </pc:spChg>
        <pc:spChg chg="del mod">
          <ac:chgData name="Niittymies Aleksi" userId="00c1d702-9a1a-46cb-9bcd-5368d837961b" providerId="ADAL" clId="{777E9463-A5D1-4581-A176-232A55A8FD4B}" dt="2023-11-03T16:22:26.857" v="876" actId="478"/>
          <ac:spMkLst>
            <pc:docMk/>
            <pc:sldMk cId="432294595" sldId="6540"/>
            <ac:spMk id="3" creationId="{AD608E10-DFE8-EBFF-C4FD-BA24C8E1796A}"/>
          </ac:spMkLst>
        </pc:spChg>
        <pc:spChg chg="add del">
          <ac:chgData name="Niittymies Aleksi" userId="00c1d702-9a1a-46cb-9bcd-5368d837961b" providerId="ADAL" clId="{777E9463-A5D1-4581-A176-232A55A8FD4B}" dt="2023-11-03T16:23:45.131" v="885" actId="26606"/>
          <ac:spMkLst>
            <pc:docMk/>
            <pc:sldMk cId="432294595" sldId="6540"/>
            <ac:spMk id="6" creationId="{C1DD1A8A-57D5-4A81-AD04-532B043C5611}"/>
          </ac:spMkLst>
        </pc:spChg>
        <pc:spChg chg="add del">
          <ac:chgData name="Niittymies Aleksi" userId="00c1d702-9a1a-46cb-9bcd-5368d837961b" providerId="ADAL" clId="{777E9463-A5D1-4581-A176-232A55A8FD4B}" dt="2023-11-03T16:23:45.131" v="885" actId="26606"/>
          <ac:spMkLst>
            <pc:docMk/>
            <pc:sldMk cId="432294595" sldId="6540"/>
            <ac:spMk id="7" creationId="{007891EC-4501-44ED-A8C8-B11B6DB767AB}"/>
          </ac:spMkLst>
        </pc:spChg>
        <pc:spChg chg="add del">
          <ac:chgData name="Niittymies Aleksi" userId="00c1d702-9a1a-46cb-9bcd-5368d837961b" providerId="ADAL" clId="{777E9463-A5D1-4581-A176-232A55A8FD4B}" dt="2023-11-03T16:22:16.873" v="875" actId="26606"/>
          <ac:spMkLst>
            <pc:docMk/>
            <pc:sldMk cId="432294595" sldId="6540"/>
            <ac:spMk id="9" creationId="{C0A1ED06-4733-4020-9C60-81D4D801408D}"/>
          </ac:spMkLst>
        </pc:spChg>
        <pc:spChg chg="add del">
          <ac:chgData name="Niittymies Aleksi" userId="00c1d702-9a1a-46cb-9bcd-5368d837961b" providerId="ADAL" clId="{777E9463-A5D1-4581-A176-232A55A8FD4B}" dt="2023-11-05T11:31:46.169" v="1414" actId="26606"/>
          <ac:spMkLst>
            <pc:docMk/>
            <pc:sldMk cId="432294595" sldId="6540"/>
            <ac:spMk id="10" creationId="{ECC07320-C2CA-4E29-8481-9D9E143C7788}"/>
          </ac:spMkLst>
        </pc:spChg>
        <pc:spChg chg="add del">
          <ac:chgData name="Niittymies Aleksi" userId="00c1d702-9a1a-46cb-9bcd-5368d837961b" providerId="ADAL" clId="{777E9463-A5D1-4581-A176-232A55A8FD4B}" dt="2023-11-03T16:22:16.873" v="875" actId="26606"/>
          <ac:spMkLst>
            <pc:docMk/>
            <pc:sldMk cId="432294595" sldId="6540"/>
            <ac:spMk id="11" creationId="{B0CA3509-3AF9-45FE-93ED-57BB5D5E8E07}"/>
          </ac:spMkLst>
        </pc:spChg>
        <pc:spChg chg="add del">
          <ac:chgData name="Niittymies Aleksi" userId="00c1d702-9a1a-46cb-9bcd-5368d837961b" providerId="ADAL" clId="{777E9463-A5D1-4581-A176-232A55A8FD4B}" dt="2023-11-05T11:31:46.169" v="1414" actId="26606"/>
          <ac:spMkLst>
            <pc:docMk/>
            <pc:sldMk cId="432294595" sldId="6540"/>
            <ac:spMk id="12" creationId="{178FB36B-5BFE-42CA-BC60-1115E0D95EEC}"/>
          </ac:spMkLst>
        </pc:spChg>
        <pc:spChg chg="add">
          <ac:chgData name="Niittymies Aleksi" userId="00c1d702-9a1a-46cb-9bcd-5368d837961b" providerId="ADAL" clId="{777E9463-A5D1-4581-A176-232A55A8FD4B}" dt="2023-11-05T11:31:46.169" v="1414" actId="26606"/>
          <ac:spMkLst>
            <pc:docMk/>
            <pc:sldMk cId="432294595" sldId="6540"/>
            <ac:spMk id="17" creationId="{ECC07320-C2CA-4E29-8481-9D9E143C7788}"/>
          </ac:spMkLst>
        </pc:spChg>
        <pc:spChg chg="add">
          <ac:chgData name="Niittymies Aleksi" userId="00c1d702-9a1a-46cb-9bcd-5368d837961b" providerId="ADAL" clId="{777E9463-A5D1-4581-A176-232A55A8FD4B}" dt="2023-11-05T11:31:46.169" v="1414" actId="26606"/>
          <ac:spMkLst>
            <pc:docMk/>
            <pc:sldMk cId="432294595" sldId="6540"/>
            <ac:spMk id="19" creationId="{178FB36B-5BFE-42CA-BC60-1115E0D95EEC}"/>
          </ac:spMkLst>
        </pc:spChg>
        <pc:picChg chg="add del mod ord">
          <ac:chgData name="Niittymies Aleksi" userId="00c1d702-9a1a-46cb-9bcd-5368d837961b" providerId="ADAL" clId="{777E9463-A5D1-4581-A176-232A55A8FD4B}" dt="2023-11-05T11:31:31.523" v="1411" actId="478"/>
          <ac:picMkLst>
            <pc:docMk/>
            <pc:sldMk cId="432294595" sldId="6540"/>
            <ac:picMk id="4" creationId="{AD23C10D-1662-9E4A-1A15-E634C92A5844}"/>
          </ac:picMkLst>
        </pc:picChg>
        <pc:picChg chg="add mod">
          <ac:chgData name="Niittymies Aleksi" userId="00c1d702-9a1a-46cb-9bcd-5368d837961b" providerId="ADAL" clId="{777E9463-A5D1-4581-A176-232A55A8FD4B}" dt="2023-11-05T11:31:46.169" v="1414" actId="26606"/>
          <ac:picMkLst>
            <pc:docMk/>
            <pc:sldMk cId="432294595" sldId="6540"/>
            <ac:picMk id="5" creationId="{196502EF-C525-FD1A-F164-3C2EDA994660}"/>
          </ac:picMkLst>
        </pc:picChg>
      </pc:sldChg>
      <pc:sldChg chg="addSp delSp modSp new mod">
        <pc:chgData name="Niittymies Aleksi" userId="00c1d702-9a1a-46cb-9bcd-5368d837961b" providerId="ADAL" clId="{777E9463-A5D1-4581-A176-232A55A8FD4B}" dt="2023-11-05T18:51:19.202" v="1572" actId="20577"/>
        <pc:sldMkLst>
          <pc:docMk/>
          <pc:sldMk cId="3948031391" sldId="6541"/>
        </pc:sldMkLst>
        <pc:spChg chg="del">
          <ac:chgData name="Niittymies Aleksi" userId="00c1d702-9a1a-46cb-9bcd-5368d837961b" providerId="ADAL" clId="{777E9463-A5D1-4581-A176-232A55A8FD4B}" dt="2023-11-03T16:32:33.962" v="1161"/>
          <ac:spMkLst>
            <pc:docMk/>
            <pc:sldMk cId="3948031391" sldId="6541"/>
            <ac:spMk id="2" creationId="{E2CDD26F-E349-A245-E3D7-454C1C0ABF79}"/>
          </ac:spMkLst>
        </pc:spChg>
        <pc:spChg chg="mod">
          <ac:chgData name="Niittymies Aleksi" userId="00c1d702-9a1a-46cb-9bcd-5368d837961b" providerId="ADAL" clId="{777E9463-A5D1-4581-A176-232A55A8FD4B}" dt="2023-11-05T18:51:19.202" v="1572" actId="20577"/>
          <ac:spMkLst>
            <pc:docMk/>
            <pc:sldMk cId="3948031391" sldId="6541"/>
            <ac:spMk id="3" creationId="{9C07CEBB-720D-44A0-9650-0895DF3B3DFD}"/>
          </ac:spMkLst>
        </pc:spChg>
        <pc:spChg chg="add del mod">
          <ac:chgData name="Niittymies Aleksi" userId="00c1d702-9a1a-46cb-9bcd-5368d837961b" providerId="ADAL" clId="{777E9463-A5D1-4581-A176-232A55A8FD4B}" dt="2023-11-03T16:32:41.002" v="1162" actId="478"/>
          <ac:spMkLst>
            <pc:docMk/>
            <pc:sldMk cId="3948031391" sldId="6541"/>
            <ac:spMk id="4" creationId="{A9EB5FFD-5359-1981-C89D-6AF85978B365}"/>
          </ac:spMkLst>
        </pc:spChg>
        <pc:spChg chg="add del">
          <ac:chgData name="Niittymies Aleksi" userId="00c1d702-9a1a-46cb-9bcd-5368d837961b" providerId="ADAL" clId="{777E9463-A5D1-4581-A176-232A55A8FD4B}" dt="2023-11-03T16:32:43.275" v="1164" actId="478"/>
          <ac:spMkLst>
            <pc:docMk/>
            <pc:sldMk cId="3948031391" sldId="6541"/>
            <ac:spMk id="5" creationId="{2C25FAE3-5F60-A0EF-EE0E-BA080B5437A5}"/>
          </ac:spMkLst>
        </pc:spChg>
        <pc:picChg chg="add mod">
          <ac:chgData name="Niittymies Aleksi" userId="00c1d702-9a1a-46cb-9bcd-5368d837961b" providerId="ADAL" clId="{777E9463-A5D1-4581-A176-232A55A8FD4B}" dt="2023-11-03T16:32:53.028" v="1166" actId="1076"/>
          <ac:picMkLst>
            <pc:docMk/>
            <pc:sldMk cId="3948031391" sldId="6541"/>
            <ac:picMk id="6" creationId="{3539DA3D-6945-6364-D9F4-7CE6C4D620E5}"/>
          </ac:picMkLst>
        </pc:picChg>
      </pc:sldChg>
      <pc:sldChg chg="new del">
        <pc:chgData name="Niittymies Aleksi" userId="00c1d702-9a1a-46cb-9bcd-5368d837961b" providerId="ADAL" clId="{777E9463-A5D1-4581-A176-232A55A8FD4B}" dt="2023-11-05T11:26:23.784" v="1280" actId="680"/>
        <pc:sldMkLst>
          <pc:docMk/>
          <pc:sldMk cId="714269768" sldId="6542"/>
        </pc:sldMkLst>
      </pc:sldChg>
      <pc:sldChg chg="modSp new del mod ord">
        <pc:chgData name="Niittymies Aleksi" userId="00c1d702-9a1a-46cb-9bcd-5368d837961b" providerId="ADAL" clId="{777E9463-A5D1-4581-A176-232A55A8FD4B}" dt="2023-11-05T12:01:38.917" v="1557" actId="47"/>
        <pc:sldMkLst>
          <pc:docMk/>
          <pc:sldMk cId="3197625596" sldId="6542"/>
        </pc:sldMkLst>
        <pc:spChg chg="mod">
          <ac:chgData name="Niittymies Aleksi" userId="00c1d702-9a1a-46cb-9bcd-5368d837961b" providerId="ADAL" clId="{777E9463-A5D1-4581-A176-232A55A8FD4B}" dt="2023-11-05T11:26:31.468" v="1291" actId="20577"/>
          <ac:spMkLst>
            <pc:docMk/>
            <pc:sldMk cId="3197625596" sldId="6542"/>
            <ac:spMk id="2" creationId="{E7011181-3EA1-DC67-42BF-67BF2ECFFEA0}"/>
          </ac:spMkLst>
        </pc:spChg>
        <pc:spChg chg="mod">
          <ac:chgData name="Niittymies Aleksi" userId="00c1d702-9a1a-46cb-9bcd-5368d837961b" providerId="ADAL" clId="{777E9463-A5D1-4581-A176-232A55A8FD4B}" dt="2023-11-05T11:40:56.129" v="1504" actId="20577"/>
          <ac:spMkLst>
            <pc:docMk/>
            <pc:sldMk cId="3197625596" sldId="6542"/>
            <ac:spMk id="3" creationId="{D69BCA97-4E1C-099C-EFC3-A05A797F4B7D}"/>
          </ac:spMkLst>
        </pc:spChg>
      </pc:sldChg>
      <pc:sldChg chg="addSp delSp modSp new mod setBg addAnim delAnim">
        <pc:chgData name="Niittymies Aleksi" userId="00c1d702-9a1a-46cb-9bcd-5368d837961b" providerId="ADAL" clId="{777E9463-A5D1-4581-A176-232A55A8FD4B}" dt="2023-11-05T11:45:09.622" v="1548" actId="1076"/>
        <pc:sldMkLst>
          <pc:docMk/>
          <pc:sldMk cId="3284805987" sldId="6543"/>
        </pc:sldMkLst>
        <pc:spChg chg="mod ord">
          <ac:chgData name="Niittymies Aleksi" userId="00c1d702-9a1a-46cb-9bcd-5368d837961b" providerId="ADAL" clId="{777E9463-A5D1-4581-A176-232A55A8FD4B}" dt="2023-11-05T11:45:09.622" v="1548" actId="1076"/>
          <ac:spMkLst>
            <pc:docMk/>
            <pc:sldMk cId="3284805987" sldId="6543"/>
            <ac:spMk id="2" creationId="{6BA097DD-B7AA-FF4D-B039-0EF55629CB0C}"/>
          </ac:spMkLst>
        </pc:spChg>
        <pc:spChg chg="del">
          <ac:chgData name="Niittymies Aleksi" userId="00c1d702-9a1a-46cb-9bcd-5368d837961b" providerId="ADAL" clId="{777E9463-A5D1-4581-A176-232A55A8FD4B}" dt="2023-11-05T11:44:36.282" v="1536" actId="478"/>
          <ac:spMkLst>
            <pc:docMk/>
            <pc:sldMk cId="3284805987" sldId="6543"/>
            <ac:spMk id="3" creationId="{CD337060-6570-1597-9399-B1027F1BD992}"/>
          </ac:spMkLst>
        </pc:spChg>
        <pc:spChg chg="add del">
          <ac:chgData name="Niittymies Aleksi" userId="00c1d702-9a1a-46cb-9bcd-5368d837961b" providerId="ADAL" clId="{777E9463-A5D1-4581-A176-232A55A8FD4B}" dt="2023-11-05T11:44:46.269" v="1539" actId="26606"/>
          <ac:spMkLst>
            <pc:docMk/>
            <pc:sldMk cId="3284805987" sldId="6543"/>
            <ac:spMk id="9" creationId="{ECC07320-C2CA-4E29-8481-9D9E143C7788}"/>
          </ac:spMkLst>
        </pc:spChg>
        <pc:spChg chg="add del">
          <ac:chgData name="Niittymies Aleksi" userId="00c1d702-9a1a-46cb-9bcd-5368d837961b" providerId="ADAL" clId="{777E9463-A5D1-4581-A176-232A55A8FD4B}" dt="2023-11-05T11:44:46.269" v="1539" actId="26606"/>
          <ac:spMkLst>
            <pc:docMk/>
            <pc:sldMk cId="3284805987" sldId="6543"/>
            <ac:spMk id="11" creationId="{178FB36B-5BFE-42CA-BC60-1115E0D95EEC}"/>
          </ac:spMkLst>
        </pc:spChg>
        <pc:spChg chg="add del">
          <ac:chgData name="Niittymies Aleksi" userId="00c1d702-9a1a-46cb-9bcd-5368d837961b" providerId="ADAL" clId="{777E9463-A5D1-4581-A176-232A55A8FD4B}" dt="2023-11-05T11:44:56.580" v="1543" actId="26606"/>
          <ac:spMkLst>
            <pc:docMk/>
            <pc:sldMk cId="3284805987" sldId="6543"/>
            <ac:spMk id="13" creationId="{06DA9DF9-31F7-4056-B42E-878CC92417B8}"/>
          </ac:spMkLst>
        </pc:spChg>
        <pc:picChg chg="add mod">
          <ac:chgData name="Niittymies Aleksi" userId="00c1d702-9a1a-46cb-9bcd-5368d837961b" providerId="ADAL" clId="{777E9463-A5D1-4581-A176-232A55A8FD4B}" dt="2023-11-05T11:44:58.847" v="1544" actId="1076"/>
          <ac:picMkLst>
            <pc:docMk/>
            <pc:sldMk cId="3284805987" sldId="6543"/>
            <ac:picMk id="4" creationId="{8CF58EDC-D68F-92E3-437B-12CA6380EC2E}"/>
          </ac:picMkLst>
        </pc:picChg>
      </pc:sldChg>
      <pc:sldChg chg="addSp delSp modSp add mod">
        <pc:chgData name="Niittymies Aleksi" userId="00c1d702-9a1a-46cb-9bcd-5368d837961b" providerId="ADAL" clId="{777E9463-A5D1-4581-A176-232A55A8FD4B}" dt="2023-11-06T09:53:36.760" v="1972" actId="20577"/>
        <pc:sldMkLst>
          <pc:docMk/>
          <pc:sldMk cId="1234379086" sldId="6544"/>
        </pc:sldMkLst>
        <pc:spChg chg="add mod ord">
          <ac:chgData name="Niittymies Aleksi" userId="00c1d702-9a1a-46cb-9bcd-5368d837961b" providerId="ADAL" clId="{777E9463-A5D1-4581-A176-232A55A8FD4B}" dt="2023-11-06T09:51:27.813" v="1897" actId="167"/>
          <ac:spMkLst>
            <pc:docMk/>
            <pc:sldMk cId="1234379086" sldId="6544"/>
            <ac:spMk id="3" creationId="{5FE1037E-A25C-2619-1294-C5071D429C6B}"/>
          </ac:spMkLst>
        </pc:spChg>
        <pc:spChg chg="del">
          <ac:chgData name="Niittymies Aleksi" userId="00c1d702-9a1a-46cb-9bcd-5368d837961b" providerId="ADAL" clId="{777E9463-A5D1-4581-A176-232A55A8FD4B}" dt="2023-11-06T09:50:45.995" v="1889" actId="478"/>
          <ac:spMkLst>
            <pc:docMk/>
            <pc:sldMk cId="1234379086" sldId="6544"/>
            <ac:spMk id="19" creationId="{A429CCA9-84D9-2813-1F95-1C611808DE05}"/>
          </ac:spMkLst>
        </pc:spChg>
        <pc:spChg chg="del">
          <ac:chgData name="Niittymies Aleksi" userId="00c1d702-9a1a-46cb-9bcd-5368d837961b" providerId="ADAL" clId="{777E9463-A5D1-4581-A176-232A55A8FD4B}" dt="2023-11-06T09:50:47.540" v="1890" actId="478"/>
          <ac:spMkLst>
            <pc:docMk/>
            <pc:sldMk cId="1234379086" sldId="6544"/>
            <ac:spMk id="20" creationId="{1DA9A5BA-E0B6-E7A5-9EB1-D5618C09A117}"/>
          </ac:spMkLst>
        </pc:spChg>
        <pc:spChg chg="add mod ord">
          <ac:chgData name="Niittymies Aleksi" userId="00c1d702-9a1a-46cb-9bcd-5368d837961b" providerId="ADAL" clId="{777E9463-A5D1-4581-A176-232A55A8FD4B}" dt="2023-11-06T09:51:25.012" v="1896" actId="167"/>
          <ac:spMkLst>
            <pc:docMk/>
            <pc:sldMk cId="1234379086" sldId="6544"/>
            <ac:spMk id="29" creationId="{F4469FBE-59FD-701A-9A8E-EC3ED0215336}"/>
          </ac:spMkLst>
        </pc:spChg>
        <pc:spChg chg="add mod">
          <ac:chgData name="Niittymies Aleksi" userId="00c1d702-9a1a-46cb-9bcd-5368d837961b" providerId="ADAL" clId="{777E9463-A5D1-4581-A176-232A55A8FD4B}" dt="2023-11-06T09:53:36.760" v="1972" actId="20577"/>
          <ac:spMkLst>
            <pc:docMk/>
            <pc:sldMk cId="1234379086" sldId="6544"/>
            <ac:spMk id="30" creationId="{2D12B95E-18BF-57E9-61D9-F4839D414CD1}"/>
          </ac:spMkLst>
        </pc:spChg>
        <pc:spChg chg="add mod">
          <ac:chgData name="Niittymies Aleksi" userId="00c1d702-9a1a-46cb-9bcd-5368d837961b" providerId="ADAL" clId="{777E9463-A5D1-4581-A176-232A55A8FD4B}" dt="2023-11-06T09:53:27.280" v="1961" actId="1076"/>
          <ac:spMkLst>
            <pc:docMk/>
            <pc:sldMk cId="1234379086" sldId="6544"/>
            <ac:spMk id="31" creationId="{9203B274-95FF-5828-7F02-2357C6FF6E65}"/>
          </ac:spMkLst>
        </pc:spChg>
      </pc:sldChg>
      <pc:sldChg chg="add ord">
        <pc:chgData name="Niittymies Aleksi" userId="00c1d702-9a1a-46cb-9bcd-5368d837961b" providerId="ADAL" clId="{777E9463-A5D1-4581-A176-232A55A8FD4B}" dt="2023-11-06T10:14:22.797" v="1978"/>
        <pc:sldMkLst>
          <pc:docMk/>
          <pc:sldMk cId="607334413" sldId="6545"/>
        </pc:sldMkLst>
      </pc:sldChg>
    </pc:docChg>
  </pc:docChgLst>
  <pc:docChgLst>
    <pc:chgData name="Niittymies Aleksi" userId="00c1d702-9a1a-46cb-9bcd-5368d837961b" providerId="ADAL" clId="{A41CC034-EC84-4F05-A9F8-9D0A4747319C}"/>
    <pc:docChg chg="undo redo custSel addSld delSld modSld sldOrd delMainMaster">
      <pc:chgData name="Niittymies Aleksi" userId="00c1d702-9a1a-46cb-9bcd-5368d837961b" providerId="ADAL" clId="{A41CC034-EC84-4F05-A9F8-9D0A4747319C}" dt="2023-10-24T11:33:50.835" v="3662" actId="14100"/>
      <pc:docMkLst>
        <pc:docMk/>
      </pc:docMkLst>
      <pc:sldChg chg="modSp mod">
        <pc:chgData name="Niittymies Aleksi" userId="00c1d702-9a1a-46cb-9bcd-5368d837961b" providerId="ADAL" clId="{A41CC034-EC84-4F05-A9F8-9D0A4747319C}" dt="2023-10-19T12:52:39.480" v="53" actId="20577"/>
        <pc:sldMkLst>
          <pc:docMk/>
          <pc:sldMk cId="4022952943" sldId="259"/>
        </pc:sldMkLst>
        <pc:spChg chg="mod">
          <ac:chgData name="Niittymies Aleksi" userId="00c1d702-9a1a-46cb-9bcd-5368d837961b" providerId="ADAL" clId="{A41CC034-EC84-4F05-A9F8-9D0A4747319C}" dt="2023-10-19T12:51:53.920" v="17" actId="20577"/>
          <ac:spMkLst>
            <pc:docMk/>
            <pc:sldMk cId="4022952943" sldId="259"/>
            <ac:spMk id="4" creationId="{65F52422-E70E-4ECC-A8B5-2921A9E81C26}"/>
          </ac:spMkLst>
        </pc:spChg>
        <pc:spChg chg="mod">
          <ac:chgData name="Niittymies Aleksi" userId="00c1d702-9a1a-46cb-9bcd-5368d837961b" providerId="ADAL" clId="{A41CC034-EC84-4F05-A9F8-9D0A4747319C}" dt="2023-10-19T12:52:39.480" v="53" actId="20577"/>
          <ac:spMkLst>
            <pc:docMk/>
            <pc:sldMk cId="4022952943" sldId="259"/>
            <ac:spMk id="5" creationId="{14D9E3F0-1051-411B-B4E8-74150CD2A556}"/>
          </ac:spMkLst>
        </pc:spChg>
      </pc:sldChg>
      <pc:sldChg chg="modSp del mod">
        <pc:chgData name="Niittymies Aleksi" userId="00c1d702-9a1a-46cb-9bcd-5368d837961b" providerId="ADAL" clId="{A41CC034-EC84-4F05-A9F8-9D0A4747319C}" dt="2023-10-19T13:24:38.589" v="369" actId="47"/>
        <pc:sldMkLst>
          <pc:docMk/>
          <pc:sldMk cId="2834860748" sldId="260"/>
        </pc:sldMkLst>
        <pc:spChg chg="mod">
          <ac:chgData name="Niittymies Aleksi" userId="00c1d702-9a1a-46cb-9bcd-5368d837961b" providerId="ADAL" clId="{A41CC034-EC84-4F05-A9F8-9D0A4747319C}" dt="2023-10-19T13:15:32.780" v="230" actId="20577"/>
          <ac:spMkLst>
            <pc:docMk/>
            <pc:sldMk cId="2834860748" sldId="260"/>
            <ac:spMk id="3" creationId="{73F03C89-B8A4-4CBF-A42B-B831615FB90B}"/>
          </ac:spMkLst>
        </pc:spChg>
      </pc:sldChg>
      <pc:sldChg chg="del">
        <pc:chgData name="Niittymies Aleksi" userId="00c1d702-9a1a-46cb-9bcd-5368d837961b" providerId="ADAL" clId="{A41CC034-EC84-4F05-A9F8-9D0A4747319C}" dt="2023-10-20T11:56:59.580" v="1864" actId="47"/>
        <pc:sldMkLst>
          <pc:docMk/>
          <pc:sldMk cId="2555137741" sldId="269"/>
        </pc:sldMkLst>
      </pc:sldChg>
      <pc:sldChg chg="del">
        <pc:chgData name="Niittymies Aleksi" userId="00c1d702-9a1a-46cb-9bcd-5368d837961b" providerId="ADAL" clId="{A41CC034-EC84-4F05-A9F8-9D0A4747319C}" dt="2023-10-20T11:55:15.175" v="1861" actId="47"/>
        <pc:sldMkLst>
          <pc:docMk/>
          <pc:sldMk cId="2758509569" sldId="288"/>
        </pc:sldMkLst>
      </pc:sldChg>
      <pc:sldChg chg="del">
        <pc:chgData name="Niittymies Aleksi" userId="00c1d702-9a1a-46cb-9bcd-5368d837961b" providerId="ADAL" clId="{A41CC034-EC84-4F05-A9F8-9D0A4747319C}" dt="2023-10-19T16:32:08.210" v="1051"/>
        <pc:sldMkLst>
          <pc:docMk/>
          <pc:sldMk cId="3181092800" sldId="300"/>
        </pc:sldMkLst>
      </pc:sldChg>
      <pc:sldChg chg="add ord">
        <pc:chgData name="Niittymies Aleksi" userId="00c1d702-9a1a-46cb-9bcd-5368d837961b" providerId="ADAL" clId="{A41CC034-EC84-4F05-A9F8-9D0A4747319C}" dt="2023-10-19T16:15:21.965" v="658"/>
        <pc:sldMkLst>
          <pc:docMk/>
          <pc:sldMk cId="760655846" sldId="317"/>
        </pc:sldMkLst>
      </pc:sldChg>
      <pc:sldChg chg="delSp add ord setBg delDesignElem">
        <pc:chgData name="Niittymies Aleksi" userId="00c1d702-9a1a-46cb-9bcd-5368d837961b" providerId="ADAL" clId="{A41CC034-EC84-4F05-A9F8-9D0A4747319C}" dt="2023-10-19T16:18:47.276" v="837"/>
        <pc:sldMkLst>
          <pc:docMk/>
          <pc:sldMk cId="3223935476" sldId="333"/>
        </pc:sldMkLst>
        <pc:spChg chg="del">
          <ac:chgData name="Niittymies Aleksi" userId="00c1d702-9a1a-46cb-9bcd-5368d837961b" providerId="ADAL" clId="{A41CC034-EC84-4F05-A9F8-9D0A4747319C}" dt="2023-10-19T16:13:25.238" v="605"/>
          <ac:spMkLst>
            <pc:docMk/>
            <pc:sldMk cId="3223935476" sldId="333"/>
            <ac:spMk id="1031" creationId="{B670DBD5-770C-4383-9F54-5B86E86BD5BB}"/>
          </ac:spMkLst>
        </pc:spChg>
      </pc:sldChg>
      <pc:sldChg chg="modSp mod ord">
        <pc:chgData name="Niittymies Aleksi" userId="00c1d702-9a1a-46cb-9bcd-5368d837961b" providerId="ADAL" clId="{A41CC034-EC84-4F05-A9F8-9D0A4747319C}" dt="2023-10-24T09:59:41.502" v="2599" actId="20577"/>
        <pc:sldMkLst>
          <pc:docMk/>
          <pc:sldMk cId="1440832524" sldId="336"/>
        </pc:sldMkLst>
        <pc:spChg chg="mod">
          <ac:chgData name="Niittymies Aleksi" userId="00c1d702-9a1a-46cb-9bcd-5368d837961b" providerId="ADAL" clId="{A41CC034-EC84-4F05-A9F8-9D0A4747319C}" dt="2023-10-24T09:59:41.502" v="2599" actId="20577"/>
          <ac:spMkLst>
            <pc:docMk/>
            <pc:sldMk cId="1440832524" sldId="336"/>
            <ac:spMk id="2" creationId="{2C35BD01-7C66-4826-8B71-422048450464}"/>
          </ac:spMkLst>
        </pc:spChg>
      </pc:sldChg>
      <pc:sldChg chg="addSp modSp mod ord">
        <pc:chgData name="Niittymies Aleksi" userId="00c1d702-9a1a-46cb-9bcd-5368d837961b" providerId="ADAL" clId="{A41CC034-EC84-4F05-A9F8-9D0A4747319C}" dt="2023-10-24T09:49:31.341" v="2433" actId="1076"/>
        <pc:sldMkLst>
          <pc:docMk/>
          <pc:sldMk cId="3323521813" sldId="342"/>
        </pc:sldMkLst>
        <pc:spChg chg="mod">
          <ac:chgData name="Niittymies Aleksi" userId="00c1d702-9a1a-46cb-9bcd-5368d837961b" providerId="ADAL" clId="{A41CC034-EC84-4F05-A9F8-9D0A4747319C}" dt="2023-10-20T13:22:10.662" v="2020" actId="20577"/>
          <ac:spMkLst>
            <pc:docMk/>
            <pc:sldMk cId="3323521813" sldId="342"/>
            <ac:spMk id="2" creationId="{B653D250-3593-433D-BC0B-4883CB4A6561}"/>
          </ac:spMkLst>
        </pc:spChg>
        <pc:spChg chg="add mod">
          <ac:chgData name="Niittymies Aleksi" userId="00c1d702-9a1a-46cb-9bcd-5368d837961b" providerId="ADAL" clId="{A41CC034-EC84-4F05-A9F8-9D0A4747319C}" dt="2023-10-24T09:49:31.341" v="2433" actId="1076"/>
          <ac:spMkLst>
            <pc:docMk/>
            <pc:sldMk cId="3323521813" sldId="342"/>
            <ac:spMk id="3" creationId="{8AD6F6D3-B529-FEF4-23CF-BB7CAD464E72}"/>
          </ac:spMkLst>
        </pc:spChg>
      </pc:sldChg>
      <pc:sldChg chg="del">
        <pc:chgData name="Niittymies Aleksi" userId="00c1d702-9a1a-46cb-9bcd-5368d837961b" providerId="ADAL" clId="{A41CC034-EC84-4F05-A9F8-9D0A4747319C}" dt="2023-10-20T10:50:23.880" v="1529" actId="47"/>
        <pc:sldMkLst>
          <pc:docMk/>
          <pc:sldMk cId="3505032551" sldId="347"/>
        </pc:sldMkLst>
      </pc:sldChg>
      <pc:sldChg chg="del ord">
        <pc:chgData name="Niittymies Aleksi" userId="00c1d702-9a1a-46cb-9bcd-5368d837961b" providerId="ADAL" clId="{A41CC034-EC84-4F05-A9F8-9D0A4747319C}" dt="2023-10-20T11:57:11.851" v="1867" actId="47"/>
        <pc:sldMkLst>
          <pc:docMk/>
          <pc:sldMk cId="902453314" sldId="405"/>
        </pc:sldMkLst>
      </pc:sldChg>
      <pc:sldChg chg="del">
        <pc:chgData name="Niittymies Aleksi" userId="00c1d702-9a1a-46cb-9bcd-5368d837961b" providerId="ADAL" clId="{A41CC034-EC84-4F05-A9F8-9D0A4747319C}" dt="2023-10-20T11:57:28.364" v="1868" actId="47"/>
        <pc:sldMkLst>
          <pc:docMk/>
          <pc:sldMk cId="2511349021" sldId="406"/>
        </pc:sldMkLst>
      </pc:sldChg>
      <pc:sldChg chg="addSp delSp modSp mod">
        <pc:chgData name="Niittymies Aleksi" userId="00c1d702-9a1a-46cb-9bcd-5368d837961b" providerId="ADAL" clId="{A41CC034-EC84-4F05-A9F8-9D0A4747319C}" dt="2023-10-24T11:09:00.845" v="3342" actId="478"/>
        <pc:sldMkLst>
          <pc:docMk/>
          <pc:sldMk cId="3727756119" sldId="514"/>
        </pc:sldMkLst>
        <pc:spChg chg="mod">
          <ac:chgData name="Niittymies Aleksi" userId="00c1d702-9a1a-46cb-9bcd-5368d837961b" providerId="ADAL" clId="{A41CC034-EC84-4F05-A9F8-9D0A4747319C}" dt="2023-10-24T11:08:53.343" v="3337" actId="14100"/>
          <ac:spMkLst>
            <pc:docMk/>
            <pc:sldMk cId="3727756119" sldId="514"/>
            <ac:spMk id="2" creationId="{6BEFAF0B-2161-4AED-A03C-AFD447DC84E5}"/>
          </ac:spMkLst>
        </pc:spChg>
        <pc:spChg chg="del">
          <ac:chgData name="Niittymies Aleksi" userId="00c1d702-9a1a-46cb-9bcd-5368d837961b" providerId="ADAL" clId="{A41CC034-EC84-4F05-A9F8-9D0A4747319C}" dt="2023-10-24T11:09:00.845" v="3342" actId="478"/>
          <ac:spMkLst>
            <pc:docMk/>
            <pc:sldMk cId="3727756119" sldId="514"/>
            <ac:spMk id="8" creationId="{24F4BE29-EE39-4384-A112-8C0C46BC6914}"/>
          </ac:spMkLst>
        </pc:spChg>
        <pc:picChg chg="add del mod">
          <ac:chgData name="Niittymies Aleksi" userId="00c1d702-9a1a-46cb-9bcd-5368d837961b" providerId="ADAL" clId="{A41CC034-EC84-4F05-A9F8-9D0A4747319C}" dt="2023-10-24T11:08:54.258" v="3338"/>
          <ac:picMkLst>
            <pc:docMk/>
            <pc:sldMk cId="3727756119" sldId="514"/>
            <ac:picMk id="3" creationId="{5A40C6FF-43A5-84A1-7DBF-1BBA70A87CA0}"/>
          </ac:picMkLst>
        </pc:picChg>
        <pc:picChg chg="del">
          <ac:chgData name="Niittymies Aleksi" userId="00c1d702-9a1a-46cb-9bcd-5368d837961b" providerId="ADAL" clId="{A41CC034-EC84-4F05-A9F8-9D0A4747319C}" dt="2023-10-24T11:07:58.108" v="3334" actId="478"/>
          <ac:picMkLst>
            <pc:docMk/>
            <pc:sldMk cId="3727756119" sldId="514"/>
            <ac:picMk id="1026" creationId="{7FA47CF7-0036-4406-A4ED-F91FD618180A}"/>
          </ac:picMkLst>
        </pc:picChg>
        <pc:picChg chg="add mod">
          <ac:chgData name="Niittymies Aleksi" userId="00c1d702-9a1a-46cb-9bcd-5368d837961b" providerId="ADAL" clId="{A41CC034-EC84-4F05-A9F8-9D0A4747319C}" dt="2023-10-24T11:08:58.850" v="3341" actId="1076"/>
          <ac:picMkLst>
            <pc:docMk/>
            <pc:sldMk cId="3727756119" sldId="514"/>
            <ac:picMk id="1028" creationId="{492D90D8-8520-85F7-3D35-A0921FAC62D0}"/>
          </ac:picMkLst>
        </pc:picChg>
      </pc:sldChg>
      <pc:sldChg chg="del">
        <pc:chgData name="Niittymies Aleksi" userId="00c1d702-9a1a-46cb-9bcd-5368d837961b" providerId="ADAL" clId="{A41CC034-EC84-4F05-A9F8-9D0A4747319C}" dt="2023-10-20T11:13:49.395" v="1657" actId="47"/>
        <pc:sldMkLst>
          <pc:docMk/>
          <pc:sldMk cId="3951778657" sldId="576"/>
        </pc:sldMkLst>
      </pc:sldChg>
      <pc:sldChg chg="del">
        <pc:chgData name="Niittymies Aleksi" userId="00c1d702-9a1a-46cb-9bcd-5368d837961b" providerId="ADAL" clId="{A41CC034-EC84-4F05-A9F8-9D0A4747319C}" dt="2023-10-20T11:57:05.977" v="1866" actId="47"/>
        <pc:sldMkLst>
          <pc:docMk/>
          <pc:sldMk cId="3136758042" sldId="578"/>
        </pc:sldMkLst>
      </pc:sldChg>
      <pc:sldChg chg="del">
        <pc:chgData name="Niittymies Aleksi" userId="00c1d702-9a1a-46cb-9bcd-5368d837961b" providerId="ADAL" clId="{A41CC034-EC84-4F05-A9F8-9D0A4747319C}" dt="2023-10-19T13:35:00.837" v="515" actId="47"/>
        <pc:sldMkLst>
          <pc:docMk/>
          <pc:sldMk cId="3420379797" sldId="580"/>
        </pc:sldMkLst>
      </pc:sldChg>
      <pc:sldChg chg="del ord">
        <pc:chgData name="Niittymies Aleksi" userId="00c1d702-9a1a-46cb-9bcd-5368d837961b" providerId="ADAL" clId="{A41CC034-EC84-4F05-A9F8-9D0A4747319C}" dt="2023-10-20T11:58:43.781" v="1873" actId="47"/>
        <pc:sldMkLst>
          <pc:docMk/>
          <pc:sldMk cId="2614433942" sldId="641"/>
        </pc:sldMkLst>
      </pc:sldChg>
      <pc:sldChg chg="del">
        <pc:chgData name="Niittymies Aleksi" userId="00c1d702-9a1a-46cb-9bcd-5368d837961b" providerId="ADAL" clId="{A41CC034-EC84-4F05-A9F8-9D0A4747319C}" dt="2023-10-20T11:56:43.814" v="1862" actId="47"/>
        <pc:sldMkLst>
          <pc:docMk/>
          <pc:sldMk cId="0" sldId="737"/>
        </pc:sldMkLst>
      </pc:sldChg>
      <pc:sldChg chg="add del">
        <pc:chgData name="Niittymies Aleksi" userId="00c1d702-9a1a-46cb-9bcd-5368d837961b" providerId="ADAL" clId="{A41CC034-EC84-4F05-A9F8-9D0A4747319C}" dt="2023-10-20T11:27:38.677" v="1683" actId="47"/>
        <pc:sldMkLst>
          <pc:docMk/>
          <pc:sldMk cId="1558981461" sldId="940"/>
        </pc:sldMkLst>
      </pc:sldChg>
      <pc:sldChg chg="add del">
        <pc:chgData name="Niittymies Aleksi" userId="00c1d702-9a1a-46cb-9bcd-5368d837961b" providerId="ADAL" clId="{A41CC034-EC84-4F05-A9F8-9D0A4747319C}" dt="2023-10-19T13:32:25.527" v="421" actId="47"/>
        <pc:sldMkLst>
          <pc:docMk/>
          <pc:sldMk cId="0" sldId="960"/>
        </pc:sldMkLst>
      </pc:sldChg>
      <pc:sldChg chg="modSp mod ord">
        <pc:chgData name="Niittymies Aleksi" userId="00c1d702-9a1a-46cb-9bcd-5368d837961b" providerId="ADAL" clId="{A41CC034-EC84-4F05-A9F8-9D0A4747319C}" dt="2023-10-20T11:13:43.882" v="1656"/>
        <pc:sldMkLst>
          <pc:docMk/>
          <pc:sldMk cId="3618287028" sldId="979"/>
        </pc:sldMkLst>
        <pc:spChg chg="mod">
          <ac:chgData name="Niittymies Aleksi" userId="00c1d702-9a1a-46cb-9bcd-5368d837961b" providerId="ADAL" clId="{A41CC034-EC84-4F05-A9F8-9D0A4747319C}" dt="2023-10-20T11:04:26.787" v="1633" actId="20577"/>
          <ac:spMkLst>
            <pc:docMk/>
            <pc:sldMk cId="3618287028" sldId="979"/>
            <ac:spMk id="2" creationId="{DAF2281E-D9A1-4D78-88F1-D5A2007BE0D9}"/>
          </ac:spMkLst>
        </pc:spChg>
        <pc:spChg chg="mod">
          <ac:chgData name="Niittymies Aleksi" userId="00c1d702-9a1a-46cb-9bcd-5368d837961b" providerId="ADAL" clId="{A41CC034-EC84-4F05-A9F8-9D0A4747319C}" dt="2023-10-20T11:13:21.386" v="1654" actId="5793"/>
          <ac:spMkLst>
            <pc:docMk/>
            <pc:sldMk cId="3618287028" sldId="979"/>
            <ac:spMk id="3" creationId="{5F669965-2C37-4E46-9B17-C284E9EEEBCD}"/>
          </ac:spMkLst>
        </pc:spChg>
      </pc:sldChg>
      <pc:sldChg chg="del">
        <pc:chgData name="Niittymies Aleksi" userId="00c1d702-9a1a-46cb-9bcd-5368d837961b" providerId="ADAL" clId="{A41CC034-EC84-4F05-A9F8-9D0A4747319C}" dt="2023-10-20T11:56:49.694" v="1863" actId="47"/>
        <pc:sldMkLst>
          <pc:docMk/>
          <pc:sldMk cId="3505721025" sldId="987"/>
        </pc:sldMkLst>
      </pc:sldChg>
      <pc:sldChg chg="add del">
        <pc:chgData name="Niittymies Aleksi" userId="00c1d702-9a1a-46cb-9bcd-5368d837961b" providerId="ADAL" clId="{A41CC034-EC84-4F05-A9F8-9D0A4747319C}" dt="2023-10-19T13:31:28.753" v="419" actId="47"/>
        <pc:sldMkLst>
          <pc:docMk/>
          <pc:sldMk cId="1769202216" sldId="988"/>
        </pc:sldMkLst>
      </pc:sldChg>
      <pc:sldChg chg="add del">
        <pc:chgData name="Niittymies Aleksi" userId="00c1d702-9a1a-46cb-9bcd-5368d837961b" providerId="ADAL" clId="{A41CC034-EC84-4F05-A9F8-9D0A4747319C}" dt="2023-10-19T13:31:14.089" v="417" actId="47"/>
        <pc:sldMkLst>
          <pc:docMk/>
          <pc:sldMk cId="379362770" sldId="994"/>
        </pc:sldMkLst>
      </pc:sldChg>
      <pc:sldChg chg="add del">
        <pc:chgData name="Niittymies Aleksi" userId="00c1d702-9a1a-46cb-9bcd-5368d837961b" providerId="ADAL" clId="{A41CC034-EC84-4F05-A9F8-9D0A4747319C}" dt="2023-10-19T13:31:15.622" v="418" actId="47"/>
        <pc:sldMkLst>
          <pc:docMk/>
          <pc:sldMk cId="3101073822" sldId="995"/>
        </pc:sldMkLst>
      </pc:sldChg>
      <pc:sldChg chg="del">
        <pc:chgData name="Niittymies Aleksi" userId="00c1d702-9a1a-46cb-9bcd-5368d837961b" providerId="ADAL" clId="{A41CC034-EC84-4F05-A9F8-9D0A4747319C}" dt="2023-10-20T11:57:03.827" v="1865" actId="47"/>
        <pc:sldMkLst>
          <pc:docMk/>
          <pc:sldMk cId="2373839418" sldId="1022"/>
        </pc:sldMkLst>
      </pc:sldChg>
      <pc:sldChg chg="ord">
        <pc:chgData name="Niittymies Aleksi" userId="00c1d702-9a1a-46cb-9bcd-5368d837961b" providerId="ADAL" clId="{A41CC034-EC84-4F05-A9F8-9D0A4747319C}" dt="2023-10-24T10:12:15.322" v="2768"/>
        <pc:sldMkLst>
          <pc:docMk/>
          <pc:sldMk cId="2241582236" sldId="1536"/>
        </pc:sldMkLst>
      </pc:sldChg>
      <pc:sldChg chg="modSp del mod">
        <pc:chgData name="Niittymies Aleksi" userId="00c1d702-9a1a-46cb-9bcd-5368d837961b" providerId="ADAL" clId="{A41CC034-EC84-4F05-A9F8-9D0A4747319C}" dt="2023-10-19T13:27:20.562" v="412" actId="47"/>
        <pc:sldMkLst>
          <pc:docMk/>
          <pc:sldMk cId="1859273084" sldId="6453"/>
        </pc:sldMkLst>
        <pc:spChg chg="mod">
          <ac:chgData name="Niittymies Aleksi" userId="00c1d702-9a1a-46cb-9bcd-5368d837961b" providerId="ADAL" clId="{A41CC034-EC84-4F05-A9F8-9D0A4747319C}" dt="2023-10-19T13:25:10.213" v="372"/>
          <ac:spMkLst>
            <pc:docMk/>
            <pc:sldMk cId="1859273084" sldId="6453"/>
            <ac:spMk id="3" creationId="{CF3F630B-0F73-483A-838D-6B23394D1B86}"/>
          </ac:spMkLst>
        </pc:spChg>
      </pc:sldChg>
      <pc:sldChg chg="add del">
        <pc:chgData name="Niittymies Aleksi" userId="00c1d702-9a1a-46cb-9bcd-5368d837961b" providerId="ADAL" clId="{A41CC034-EC84-4F05-A9F8-9D0A4747319C}" dt="2023-10-19T13:27:29.376" v="416" actId="47"/>
        <pc:sldMkLst>
          <pc:docMk/>
          <pc:sldMk cId="1810494324" sldId="6454"/>
        </pc:sldMkLst>
      </pc:sldChg>
      <pc:sldChg chg="modSp add del mod">
        <pc:chgData name="Niittymies Aleksi" userId="00c1d702-9a1a-46cb-9bcd-5368d837961b" providerId="ADAL" clId="{A41CC034-EC84-4F05-A9F8-9D0A4747319C}" dt="2023-10-20T09:40:53.293" v="1381" actId="47"/>
        <pc:sldMkLst>
          <pc:docMk/>
          <pc:sldMk cId="4054584174" sldId="6455"/>
        </pc:sldMkLst>
        <pc:spChg chg="mod">
          <ac:chgData name="Niittymies Aleksi" userId="00c1d702-9a1a-46cb-9bcd-5368d837961b" providerId="ADAL" clId="{A41CC034-EC84-4F05-A9F8-9D0A4747319C}" dt="2023-10-19T13:27:11.274" v="410" actId="20577"/>
          <ac:spMkLst>
            <pc:docMk/>
            <pc:sldMk cId="4054584174" sldId="6455"/>
            <ac:spMk id="3" creationId="{CF3F630B-0F73-483A-838D-6B23394D1B86}"/>
          </ac:spMkLst>
        </pc:spChg>
      </pc:sldChg>
      <pc:sldChg chg="addSp delSp modSp add mod">
        <pc:chgData name="Niittymies Aleksi" userId="00c1d702-9a1a-46cb-9bcd-5368d837961b" providerId="ADAL" clId="{A41CC034-EC84-4F05-A9F8-9D0A4747319C}" dt="2023-10-24T11:18:44.071" v="3402" actId="20577"/>
        <pc:sldMkLst>
          <pc:docMk/>
          <pc:sldMk cId="3312029223" sldId="6464"/>
        </pc:sldMkLst>
        <pc:spChg chg="add mod">
          <ac:chgData name="Niittymies Aleksi" userId="00c1d702-9a1a-46cb-9bcd-5368d837961b" providerId="ADAL" clId="{A41CC034-EC84-4F05-A9F8-9D0A4747319C}" dt="2023-10-24T11:15:54.504" v="3369" actId="20577"/>
          <ac:spMkLst>
            <pc:docMk/>
            <pc:sldMk cId="3312029223" sldId="6464"/>
            <ac:spMk id="14" creationId="{7FDA9236-9F57-D41D-12D7-A21D132B08F4}"/>
          </ac:spMkLst>
        </pc:spChg>
        <pc:spChg chg="add mod">
          <ac:chgData name="Niittymies Aleksi" userId="00c1d702-9a1a-46cb-9bcd-5368d837961b" providerId="ADAL" clId="{A41CC034-EC84-4F05-A9F8-9D0A4747319C}" dt="2023-10-24T11:18:18.778" v="3393" actId="20577"/>
          <ac:spMkLst>
            <pc:docMk/>
            <pc:sldMk cId="3312029223" sldId="6464"/>
            <ac:spMk id="16" creationId="{965848C3-EE9A-DA1F-E9C4-F1F3CC45D75D}"/>
          </ac:spMkLst>
        </pc:spChg>
        <pc:spChg chg="add del mod">
          <ac:chgData name="Niittymies Aleksi" userId="00c1d702-9a1a-46cb-9bcd-5368d837961b" providerId="ADAL" clId="{A41CC034-EC84-4F05-A9F8-9D0A4747319C}" dt="2023-10-24T11:16:59.050" v="3380" actId="478"/>
          <ac:spMkLst>
            <pc:docMk/>
            <pc:sldMk cId="3312029223" sldId="6464"/>
            <ac:spMk id="17" creationId="{6663250D-AF09-727D-BE2E-867DB0D2DFB6}"/>
          </ac:spMkLst>
        </pc:spChg>
        <pc:spChg chg="add mod">
          <ac:chgData name="Niittymies Aleksi" userId="00c1d702-9a1a-46cb-9bcd-5368d837961b" providerId="ADAL" clId="{A41CC034-EC84-4F05-A9F8-9D0A4747319C}" dt="2023-10-24T11:18:44.071" v="3402" actId="20577"/>
          <ac:spMkLst>
            <pc:docMk/>
            <pc:sldMk cId="3312029223" sldId="6464"/>
            <ac:spMk id="18" creationId="{BEC0DE68-B5D2-EC25-66DA-76259BE31351}"/>
          </ac:spMkLst>
        </pc:spChg>
        <pc:cxnChg chg="add del mod">
          <ac:chgData name="Niittymies Aleksi" userId="00c1d702-9a1a-46cb-9bcd-5368d837961b" providerId="ADAL" clId="{A41CC034-EC84-4F05-A9F8-9D0A4747319C}" dt="2023-10-24T11:18:11.912" v="3382" actId="478"/>
          <ac:cxnSpMkLst>
            <pc:docMk/>
            <pc:sldMk cId="3312029223" sldId="6464"/>
            <ac:cxnSpMk id="8" creationId="{78175EB2-5B08-82CC-2F37-7A3F33AA1A7B}"/>
          </ac:cxnSpMkLst>
        </pc:cxnChg>
        <pc:cxnChg chg="add mod">
          <ac:chgData name="Niittymies Aleksi" userId="00c1d702-9a1a-46cb-9bcd-5368d837961b" providerId="ADAL" clId="{A41CC034-EC84-4F05-A9F8-9D0A4747319C}" dt="2023-10-24T11:15:30.215" v="3351" actId="1076"/>
          <ac:cxnSpMkLst>
            <pc:docMk/>
            <pc:sldMk cId="3312029223" sldId="6464"/>
            <ac:cxnSpMk id="11" creationId="{5F101BF5-7111-3521-66C1-B8AA5932142B}"/>
          </ac:cxnSpMkLst>
        </pc:cxnChg>
        <pc:cxnChg chg="add mod">
          <ac:chgData name="Niittymies Aleksi" userId="00c1d702-9a1a-46cb-9bcd-5368d837961b" providerId="ADAL" clId="{A41CC034-EC84-4F05-A9F8-9D0A4747319C}" dt="2023-10-24T11:15:34.831" v="3353" actId="1076"/>
          <ac:cxnSpMkLst>
            <pc:docMk/>
            <pc:sldMk cId="3312029223" sldId="6464"/>
            <ac:cxnSpMk id="12" creationId="{99F9EEB1-E3E4-6D85-74EF-1945540EC0A5}"/>
          </ac:cxnSpMkLst>
        </pc:cxnChg>
        <pc:cxnChg chg="add del mod">
          <ac:chgData name="Niittymies Aleksi" userId="00c1d702-9a1a-46cb-9bcd-5368d837961b" providerId="ADAL" clId="{A41CC034-EC84-4F05-A9F8-9D0A4747319C}" dt="2023-10-24T11:17:02.041" v="3381" actId="478"/>
          <ac:cxnSpMkLst>
            <pc:docMk/>
            <pc:sldMk cId="3312029223" sldId="6464"/>
            <ac:cxnSpMk id="13" creationId="{CCD865D1-4EF6-9A64-F57B-354A06E6AC7B}"/>
          </ac:cxnSpMkLst>
        </pc:cxnChg>
        <pc:cxnChg chg="add del mod">
          <ac:chgData name="Niittymies Aleksi" userId="00c1d702-9a1a-46cb-9bcd-5368d837961b" providerId="ADAL" clId="{A41CC034-EC84-4F05-A9F8-9D0A4747319C}" dt="2023-10-24T11:15:58.127" v="3371"/>
          <ac:cxnSpMkLst>
            <pc:docMk/>
            <pc:sldMk cId="3312029223" sldId="6464"/>
            <ac:cxnSpMk id="15" creationId="{AF1F065C-C517-7CE9-D836-199335E42D4D}"/>
          </ac:cxnSpMkLst>
        </pc:cxnChg>
        <pc:cxnChg chg="add mod">
          <ac:chgData name="Niittymies Aleksi" userId="00c1d702-9a1a-46cb-9bcd-5368d837961b" providerId="ADAL" clId="{A41CC034-EC84-4F05-A9F8-9D0A4747319C}" dt="2023-10-24T11:18:37.070" v="3397" actId="1076"/>
          <ac:cxnSpMkLst>
            <pc:docMk/>
            <pc:sldMk cId="3312029223" sldId="6464"/>
            <ac:cxnSpMk id="19" creationId="{BA60E852-F985-9C04-2364-5FD58D3E63ED}"/>
          </ac:cxnSpMkLst>
        </pc:cxnChg>
      </pc:sldChg>
      <pc:sldChg chg="delSp modSp add mod ord">
        <pc:chgData name="Niittymies Aleksi" userId="00c1d702-9a1a-46cb-9bcd-5368d837961b" providerId="ADAL" clId="{A41CC034-EC84-4F05-A9F8-9D0A4747319C}" dt="2023-10-24T11:33:50.835" v="3662" actId="14100"/>
        <pc:sldMkLst>
          <pc:docMk/>
          <pc:sldMk cId="2538672300" sldId="6465"/>
        </pc:sldMkLst>
        <pc:spChg chg="del">
          <ac:chgData name="Niittymies Aleksi" userId="00c1d702-9a1a-46cb-9bcd-5368d837961b" providerId="ADAL" clId="{A41CC034-EC84-4F05-A9F8-9D0A4747319C}" dt="2023-10-20T11:27:23.510" v="1681" actId="478"/>
          <ac:spMkLst>
            <pc:docMk/>
            <pc:sldMk cId="2538672300" sldId="6465"/>
            <ac:spMk id="4" creationId="{F31A6CDB-1D72-4B61-B018-DC60A248B10B}"/>
          </ac:spMkLst>
        </pc:spChg>
        <pc:spChg chg="mod">
          <ac:chgData name="Niittymies Aleksi" userId="00c1d702-9a1a-46cb-9bcd-5368d837961b" providerId="ADAL" clId="{A41CC034-EC84-4F05-A9F8-9D0A4747319C}" dt="2023-10-24T11:30:45.444" v="3414" actId="20577"/>
          <ac:spMkLst>
            <pc:docMk/>
            <pc:sldMk cId="2538672300" sldId="6465"/>
            <ac:spMk id="5" creationId="{4E79B233-C263-4355-BEE2-6A4CD1ED5B59}"/>
          </ac:spMkLst>
        </pc:spChg>
        <pc:spChg chg="mod">
          <ac:chgData name="Niittymies Aleksi" userId="00c1d702-9a1a-46cb-9bcd-5368d837961b" providerId="ADAL" clId="{A41CC034-EC84-4F05-A9F8-9D0A4747319C}" dt="2023-10-24T11:33:50.835" v="3662" actId="14100"/>
          <ac:spMkLst>
            <pc:docMk/>
            <pc:sldMk cId="2538672300" sldId="6465"/>
            <ac:spMk id="6" creationId="{CA37F30B-0C15-4C20-B203-B86996A28ECF}"/>
          </ac:spMkLst>
        </pc:spChg>
        <pc:spChg chg="del">
          <ac:chgData name="Niittymies Aleksi" userId="00c1d702-9a1a-46cb-9bcd-5368d837961b" providerId="ADAL" clId="{A41CC034-EC84-4F05-A9F8-9D0A4747319C}" dt="2023-10-24T09:52:04.959" v="2434" actId="478"/>
          <ac:spMkLst>
            <pc:docMk/>
            <pc:sldMk cId="2538672300" sldId="6465"/>
            <ac:spMk id="7" creationId="{FAF0FB7D-D11E-4BAC-B5B3-B82EB643D45E}"/>
          </ac:spMkLst>
        </pc:spChg>
        <pc:picChg chg="del">
          <ac:chgData name="Niittymies Aleksi" userId="00c1d702-9a1a-46cb-9bcd-5368d837961b" providerId="ADAL" clId="{A41CC034-EC84-4F05-A9F8-9D0A4747319C}" dt="2023-10-20T11:27:23.510" v="1681" actId="478"/>
          <ac:picMkLst>
            <pc:docMk/>
            <pc:sldMk cId="2538672300" sldId="6465"/>
            <ac:picMk id="3" creationId="{B5A19B2A-FDA4-42C3-9162-B7695D99DA7F}"/>
          </ac:picMkLst>
        </pc:picChg>
      </pc:sldChg>
      <pc:sldChg chg="add del">
        <pc:chgData name="Niittymies Aleksi" userId="00c1d702-9a1a-46cb-9bcd-5368d837961b" providerId="ADAL" clId="{A41CC034-EC84-4F05-A9F8-9D0A4747319C}" dt="2023-10-19T13:31:40.530" v="420" actId="47"/>
        <pc:sldMkLst>
          <pc:docMk/>
          <pc:sldMk cId="672337148" sldId="6466"/>
        </pc:sldMkLst>
      </pc:sldChg>
      <pc:sldChg chg="delSp modSp add mod ord">
        <pc:chgData name="Niittymies Aleksi" userId="00c1d702-9a1a-46cb-9bcd-5368d837961b" providerId="ADAL" clId="{A41CC034-EC84-4F05-A9F8-9D0A4747319C}" dt="2023-10-24T09:57:07.789" v="2546" actId="20577"/>
        <pc:sldMkLst>
          <pc:docMk/>
          <pc:sldMk cId="964648724" sldId="6467"/>
        </pc:sldMkLst>
        <pc:spChg chg="del">
          <ac:chgData name="Niittymies Aleksi" userId="00c1d702-9a1a-46cb-9bcd-5368d837961b" providerId="ADAL" clId="{A41CC034-EC84-4F05-A9F8-9D0A4747319C}" dt="2023-10-20T11:27:25.822" v="1682" actId="478"/>
          <ac:spMkLst>
            <pc:docMk/>
            <pc:sldMk cId="964648724" sldId="6467"/>
            <ac:spMk id="4" creationId="{F31A6CDB-1D72-4B61-B018-DC60A248B10B}"/>
          </ac:spMkLst>
        </pc:spChg>
        <pc:spChg chg="mod">
          <ac:chgData name="Niittymies Aleksi" userId="00c1d702-9a1a-46cb-9bcd-5368d837961b" providerId="ADAL" clId="{A41CC034-EC84-4F05-A9F8-9D0A4747319C}" dt="2023-10-24T09:57:07.789" v="2546" actId="20577"/>
          <ac:spMkLst>
            <pc:docMk/>
            <pc:sldMk cId="964648724" sldId="6467"/>
            <ac:spMk id="6" creationId="{CA37F30B-0C15-4C20-B203-B86996A28ECF}"/>
          </ac:spMkLst>
        </pc:spChg>
        <pc:picChg chg="del">
          <ac:chgData name="Niittymies Aleksi" userId="00c1d702-9a1a-46cb-9bcd-5368d837961b" providerId="ADAL" clId="{A41CC034-EC84-4F05-A9F8-9D0A4747319C}" dt="2023-10-20T11:27:25.822" v="1682" actId="478"/>
          <ac:picMkLst>
            <pc:docMk/>
            <pc:sldMk cId="964648724" sldId="6467"/>
            <ac:picMk id="3" creationId="{B5A19B2A-FDA4-42C3-9162-B7695D99DA7F}"/>
          </ac:picMkLst>
        </pc:picChg>
      </pc:sldChg>
      <pc:sldChg chg="addSp delSp modSp add mod ord">
        <pc:chgData name="Niittymies Aleksi" userId="00c1d702-9a1a-46cb-9bcd-5368d837961b" providerId="ADAL" clId="{A41CC034-EC84-4F05-A9F8-9D0A4747319C}" dt="2023-10-21T17:02:05.526" v="2356"/>
        <pc:sldMkLst>
          <pc:docMk/>
          <pc:sldMk cId="3283465410" sldId="6469"/>
        </pc:sldMkLst>
        <pc:spChg chg="add mod">
          <ac:chgData name="Niittymies Aleksi" userId="00c1d702-9a1a-46cb-9bcd-5368d837961b" providerId="ADAL" clId="{A41CC034-EC84-4F05-A9F8-9D0A4747319C}" dt="2023-10-20T11:17:05.570" v="1663"/>
          <ac:spMkLst>
            <pc:docMk/>
            <pc:sldMk cId="3283465410" sldId="6469"/>
            <ac:spMk id="6" creationId="{C850F37A-B331-6047-0570-4DB49258D7FE}"/>
          </ac:spMkLst>
        </pc:spChg>
        <pc:spChg chg="add mod">
          <ac:chgData name="Niittymies Aleksi" userId="00c1d702-9a1a-46cb-9bcd-5368d837961b" providerId="ADAL" clId="{A41CC034-EC84-4F05-A9F8-9D0A4747319C}" dt="2023-10-20T11:17:21.656" v="1670" actId="20577"/>
          <ac:spMkLst>
            <pc:docMk/>
            <pc:sldMk cId="3283465410" sldId="6469"/>
            <ac:spMk id="7" creationId="{30C2251F-06A2-F1D4-4BF2-C6796175CF10}"/>
          </ac:spMkLst>
        </pc:spChg>
        <pc:spChg chg="add del">
          <ac:chgData name="Niittymies Aleksi" userId="00c1d702-9a1a-46cb-9bcd-5368d837961b" providerId="ADAL" clId="{A41CC034-EC84-4F05-A9F8-9D0A4747319C}" dt="2023-10-20T11:17:17.993" v="1668" actId="22"/>
          <ac:spMkLst>
            <pc:docMk/>
            <pc:sldMk cId="3283465410" sldId="6469"/>
            <ac:spMk id="9" creationId="{98C22BF4-3983-AF43-4A35-370337AF1C29}"/>
          </ac:spMkLst>
        </pc:spChg>
        <pc:spChg chg="add mod">
          <ac:chgData name="Niittymies Aleksi" userId="00c1d702-9a1a-46cb-9bcd-5368d837961b" providerId="ADAL" clId="{A41CC034-EC84-4F05-A9F8-9D0A4747319C}" dt="2023-10-20T11:18:16.572" v="1679" actId="1076"/>
          <ac:spMkLst>
            <pc:docMk/>
            <pc:sldMk cId="3283465410" sldId="6469"/>
            <ac:spMk id="11" creationId="{3FDDAAA6-078F-93EF-66F9-4C761D7EFCB1}"/>
          </ac:spMkLst>
        </pc:spChg>
        <pc:grpChg chg="add mod">
          <ac:chgData name="Niittymies Aleksi" userId="00c1d702-9a1a-46cb-9bcd-5368d837961b" providerId="ADAL" clId="{A41CC034-EC84-4F05-A9F8-9D0A4747319C}" dt="2023-10-20T11:18:16.572" v="1679" actId="1076"/>
          <ac:grpSpMkLst>
            <pc:docMk/>
            <pc:sldMk cId="3283465410" sldId="6469"/>
            <ac:grpSpMk id="2" creationId="{BDD7FA56-DEC5-CECC-5939-20B3C4E7753E}"/>
          </ac:grpSpMkLst>
        </pc:grpChg>
        <pc:graphicFrameChg chg="mod">
          <ac:chgData name="Niittymies Aleksi" userId="00c1d702-9a1a-46cb-9bcd-5368d837961b" providerId="ADAL" clId="{A41CC034-EC84-4F05-A9F8-9D0A4747319C}" dt="2023-10-20T11:16:47.425" v="1661" actId="20577"/>
          <ac:graphicFrameMkLst>
            <pc:docMk/>
            <pc:sldMk cId="3283465410" sldId="6469"/>
            <ac:graphicFrameMk id="3" creationId="{8FB56C4A-B45E-4603-A7F3-1C8B75AA003A}"/>
          </ac:graphicFrameMkLst>
        </pc:graphicFrameChg>
        <pc:graphicFrameChg chg="mod">
          <ac:chgData name="Niittymies Aleksi" userId="00c1d702-9a1a-46cb-9bcd-5368d837961b" providerId="ADAL" clId="{A41CC034-EC84-4F05-A9F8-9D0A4747319C}" dt="2023-10-20T11:17:01.365" v="1662"/>
          <ac:graphicFrameMkLst>
            <pc:docMk/>
            <pc:sldMk cId="3283465410" sldId="6469"/>
            <ac:graphicFrameMk id="4" creationId="{10376EDF-2BDC-4D3F-9089-0D46CDD1A9B4}"/>
          </ac:graphicFrameMkLst>
        </pc:graphicFrameChg>
      </pc:sldChg>
      <pc:sldChg chg="add ord">
        <pc:chgData name="Niittymies Aleksi" userId="00c1d702-9a1a-46cb-9bcd-5368d837961b" providerId="ADAL" clId="{A41CC034-EC84-4F05-A9F8-9D0A4747319C}" dt="2023-10-21T17:02:05.526" v="2356"/>
        <pc:sldMkLst>
          <pc:docMk/>
          <pc:sldMk cId="466566395" sldId="6471"/>
        </pc:sldMkLst>
      </pc:sldChg>
      <pc:sldChg chg="add ord">
        <pc:chgData name="Niittymies Aleksi" userId="00c1d702-9a1a-46cb-9bcd-5368d837961b" providerId="ADAL" clId="{A41CC034-EC84-4F05-A9F8-9D0A4747319C}" dt="2023-10-21T17:02:05.526" v="2356"/>
        <pc:sldMkLst>
          <pc:docMk/>
          <pc:sldMk cId="972921773" sldId="6472"/>
        </pc:sldMkLst>
      </pc:sldChg>
      <pc:sldChg chg="add del">
        <pc:chgData name="Niittymies Aleksi" userId="00c1d702-9a1a-46cb-9bcd-5368d837961b" providerId="ADAL" clId="{A41CC034-EC84-4F05-A9F8-9D0A4747319C}" dt="2023-10-20T09:42:01.068" v="1386" actId="47"/>
        <pc:sldMkLst>
          <pc:docMk/>
          <pc:sldMk cId="2332748697" sldId="6473"/>
        </pc:sldMkLst>
      </pc:sldChg>
      <pc:sldChg chg="add del ord">
        <pc:chgData name="Niittymies Aleksi" userId="00c1d702-9a1a-46cb-9bcd-5368d837961b" providerId="ADAL" clId="{A41CC034-EC84-4F05-A9F8-9D0A4747319C}" dt="2023-10-20T11:51:08.038" v="1842" actId="47"/>
        <pc:sldMkLst>
          <pc:docMk/>
          <pc:sldMk cId="2548102629" sldId="6474"/>
        </pc:sldMkLst>
      </pc:sldChg>
      <pc:sldChg chg="delSp modSp add del mod">
        <pc:chgData name="Niittymies Aleksi" userId="00c1d702-9a1a-46cb-9bcd-5368d837961b" providerId="ADAL" clId="{A41CC034-EC84-4F05-A9F8-9D0A4747319C}" dt="2023-10-20T11:43:20.956" v="1782" actId="47"/>
        <pc:sldMkLst>
          <pc:docMk/>
          <pc:sldMk cId="3051544539" sldId="6475"/>
        </pc:sldMkLst>
        <pc:spChg chg="del">
          <ac:chgData name="Niittymies Aleksi" userId="00c1d702-9a1a-46cb-9bcd-5368d837961b" providerId="ADAL" clId="{A41CC034-EC84-4F05-A9F8-9D0A4747319C}" dt="2023-10-20T11:27:22.005" v="1680" actId="478"/>
          <ac:spMkLst>
            <pc:docMk/>
            <pc:sldMk cId="3051544539" sldId="6475"/>
            <ac:spMk id="4" creationId="{F31A6CDB-1D72-4B61-B018-DC60A248B10B}"/>
          </ac:spMkLst>
        </pc:spChg>
        <pc:spChg chg="mod">
          <ac:chgData name="Niittymies Aleksi" userId="00c1d702-9a1a-46cb-9bcd-5368d837961b" providerId="ADAL" clId="{A41CC034-EC84-4F05-A9F8-9D0A4747319C}" dt="2023-10-19T13:32:52.194" v="452" actId="20577"/>
          <ac:spMkLst>
            <pc:docMk/>
            <pc:sldMk cId="3051544539" sldId="6475"/>
            <ac:spMk id="5" creationId="{4E79B233-C263-4355-BEE2-6A4CD1ED5B59}"/>
          </ac:spMkLst>
        </pc:spChg>
        <pc:spChg chg="mod">
          <ac:chgData name="Niittymies Aleksi" userId="00c1d702-9a1a-46cb-9bcd-5368d837961b" providerId="ADAL" clId="{A41CC034-EC84-4F05-A9F8-9D0A4747319C}" dt="2023-10-19T13:33:05.057" v="514" actId="20577"/>
          <ac:spMkLst>
            <pc:docMk/>
            <pc:sldMk cId="3051544539" sldId="6475"/>
            <ac:spMk id="6" creationId="{CA37F30B-0C15-4C20-B203-B86996A28ECF}"/>
          </ac:spMkLst>
        </pc:spChg>
        <pc:picChg chg="del">
          <ac:chgData name="Niittymies Aleksi" userId="00c1d702-9a1a-46cb-9bcd-5368d837961b" providerId="ADAL" clId="{A41CC034-EC84-4F05-A9F8-9D0A4747319C}" dt="2023-10-20T11:27:22.005" v="1680" actId="478"/>
          <ac:picMkLst>
            <pc:docMk/>
            <pc:sldMk cId="3051544539" sldId="6475"/>
            <ac:picMk id="3" creationId="{B5A19B2A-FDA4-42C3-9162-B7695D99DA7F}"/>
          </ac:picMkLst>
        </pc:picChg>
      </pc:sldChg>
      <pc:sldChg chg="add del">
        <pc:chgData name="Niittymies Aleksi" userId="00c1d702-9a1a-46cb-9bcd-5368d837961b" providerId="ADAL" clId="{A41CC034-EC84-4F05-A9F8-9D0A4747319C}" dt="2023-10-20T11:51:01.002" v="1840" actId="47"/>
        <pc:sldMkLst>
          <pc:docMk/>
          <pc:sldMk cId="1550532965" sldId="6476"/>
        </pc:sldMkLst>
      </pc:sldChg>
      <pc:sldChg chg="modSp add mod">
        <pc:chgData name="Niittymies Aleksi" userId="00c1d702-9a1a-46cb-9bcd-5368d837961b" providerId="ADAL" clId="{A41CC034-EC84-4F05-A9F8-9D0A4747319C}" dt="2023-10-21T17:13:50.993" v="2385" actId="20577"/>
        <pc:sldMkLst>
          <pc:docMk/>
          <pc:sldMk cId="3567938623" sldId="6477"/>
        </pc:sldMkLst>
        <pc:spChg chg="mod">
          <ac:chgData name="Niittymies Aleksi" userId="00c1d702-9a1a-46cb-9bcd-5368d837961b" providerId="ADAL" clId="{A41CC034-EC84-4F05-A9F8-9D0A4747319C}" dt="2023-10-21T17:13:50.993" v="2385" actId="20577"/>
          <ac:spMkLst>
            <pc:docMk/>
            <pc:sldMk cId="3567938623" sldId="6477"/>
            <ac:spMk id="3" creationId="{CF3F630B-0F73-483A-838D-6B23394D1B86}"/>
          </ac:spMkLst>
        </pc:spChg>
      </pc:sldChg>
      <pc:sldChg chg="delSp modSp add mod ord">
        <pc:chgData name="Niittymies Aleksi" userId="00c1d702-9a1a-46cb-9bcd-5368d837961b" providerId="ADAL" clId="{A41CC034-EC84-4F05-A9F8-9D0A4747319C}" dt="2023-10-24T11:20:27.512" v="3405"/>
        <pc:sldMkLst>
          <pc:docMk/>
          <pc:sldMk cId="396421728" sldId="6478"/>
        </pc:sldMkLst>
        <pc:spChg chg="del">
          <ac:chgData name="Niittymies Aleksi" userId="00c1d702-9a1a-46cb-9bcd-5368d837961b" providerId="ADAL" clId="{A41CC034-EC84-4F05-A9F8-9D0A4747319C}" dt="2023-10-19T16:15:37.683" v="664" actId="478"/>
          <ac:spMkLst>
            <pc:docMk/>
            <pc:sldMk cId="396421728" sldId="6478"/>
            <ac:spMk id="4" creationId="{F31A6CDB-1D72-4B61-B018-DC60A248B10B}"/>
          </ac:spMkLst>
        </pc:spChg>
        <pc:spChg chg="mod">
          <ac:chgData name="Niittymies Aleksi" userId="00c1d702-9a1a-46cb-9bcd-5368d837961b" providerId="ADAL" clId="{A41CC034-EC84-4F05-A9F8-9D0A4747319C}" dt="2023-10-21T11:35:01.280" v="2081" actId="20577"/>
          <ac:spMkLst>
            <pc:docMk/>
            <pc:sldMk cId="396421728" sldId="6478"/>
            <ac:spMk id="5" creationId="{4E79B233-C263-4355-BEE2-6A4CD1ED5B59}"/>
          </ac:spMkLst>
        </pc:spChg>
        <pc:spChg chg="mod">
          <ac:chgData name="Niittymies Aleksi" userId="00c1d702-9a1a-46cb-9bcd-5368d837961b" providerId="ADAL" clId="{A41CC034-EC84-4F05-A9F8-9D0A4747319C}" dt="2023-10-21T09:43:07.527" v="2072" actId="14100"/>
          <ac:spMkLst>
            <pc:docMk/>
            <pc:sldMk cId="396421728" sldId="6478"/>
            <ac:spMk id="6" creationId="{CA37F30B-0C15-4C20-B203-B86996A28ECF}"/>
          </ac:spMkLst>
        </pc:spChg>
        <pc:picChg chg="del">
          <ac:chgData name="Niittymies Aleksi" userId="00c1d702-9a1a-46cb-9bcd-5368d837961b" providerId="ADAL" clId="{A41CC034-EC84-4F05-A9F8-9D0A4747319C}" dt="2023-10-19T16:15:37.683" v="664" actId="478"/>
          <ac:picMkLst>
            <pc:docMk/>
            <pc:sldMk cId="396421728" sldId="6478"/>
            <ac:picMk id="3" creationId="{B5A19B2A-FDA4-42C3-9162-B7695D99DA7F}"/>
          </ac:picMkLst>
        </pc:picChg>
      </pc:sldChg>
      <pc:sldChg chg="delSp modSp add del mod ord">
        <pc:chgData name="Niittymies Aleksi" userId="00c1d702-9a1a-46cb-9bcd-5368d837961b" providerId="ADAL" clId="{A41CC034-EC84-4F05-A9F8-9D0A4747319C}" dt="2023-10-24T10:32:26.608" v="3099" actId="47"/>
        <pc:sldMkLst>
          <pc:docMk/>
          <pc:sldMk cId="1919901390" sldId="6479"/>
        </pc:sldMkLst>
        <pc:spChg chg="del">
          <ac:chgData name="Niittymies Aleksi" userId="00c1d702-9a1a-46cb-9bcd-5368d837961b" providerId="ADAL" clId="{A41CC034-EC84-4F05-A9F8-9D0A4747319C}" dt="2023-10-19T16:15:41.475" v="666" actId="478"/>
          <ac:spMkLst>
            <pc:docMk/>
            <pc:sldMk cId="1919901390" sldId="6479"/>
            <ac:spMk id="4" creationId="{F31A6CDB-1D72-4B61-B018-DC60A248B10B}"/>
          </ac:spMkLst>
        </pc:spChg>
        <pc:spChg chg="mod">
          <ac:chgData name="Niittymies Aleksi" userId="00c1d702-9a1a-46cb-9bcd-5368d837961b" providerId="ADAL" clId="{A41CC034-EC84-4F05-A9F8-9D0A4747319C}" dt="2023-10-19T16:15:53.050" v="699" actId="20577"/>
          <ac:spMkLst>
            <pc:docMk/>
            <pc:sldMk cId="1919901390" sldId="6479"/>
            <ac:spMk id="5" creationId="{4E79B233-C263-4355-BEE2-6A4CD1ED5B59}"/>
          </ac:spMkLst>
        </pc:spChg>
        <pc:spChg chg="mod">
          <ac:chgData name="Niittymies Aleksi" userId="00c1d702-9a1a-46cb-9bcd-5368d837961b" providerId="ADAL" clId="{A41CC034-EC84-4F05-A9F8-9D0A4747319C}" dt="2023-10-19T16:23:30.390" v="957" actId="15"/>
          <ac:spMkLst>
            <pc:docMk/>
            <pc:sldMk cId="1919901390" sldId="6479"/>
            <ac:spMk id="6" creationId="{CA37F30B-0C15-4C20-B203-B86996A28ECF}"/>
          </ac:spMkLst>
        </pc:spChg>
        <pc:picChg chg="del">
          <ac:chgData name="Niittymies Aleksi" userId="00c1d702-9a1a-46cb-9bcd-5368d837961b" providerId="ADAL" clId="{A41CC034-EC84-4F05-A9F8-9D0A4747319C}" dt="2023-10-19T16:15:41.475" v="666" actId="478"/>
          <ac:picMkLst>
            <pc:docMk/>
            <pc:sldMk cId="1919901390" sldId="6479"/>
            <ac:picMk id="3" creationId="{B5A19B2A-FDA4-42C3-9162-B7695D99DA7F}"/>
          </ac:picMkLst>
        </pc:picChg>
      </pc:sldChg>
      <pc:sldChg chg="delSp modSp add mod ord">
        <pc:chgData name="Niittymies Aleksi" userId="00c1d702-9a1a-46cb-9bcd-5368d837961b" providerId="ADAL" clId="{A41CC034-EC84-4F05-A9F8-9D0A4747319C}" dt="2023-10-24T11:20:27.512" v="3405"/>
        <pc:sldMkLst>
          <pc:docMk/>
          <pc:sldMk cId="1879992390" sldId="6480"/>
        </pc:sldMkLst>
        <pc:spChg chg="del">
          <ac:chgData name="Niittymies Aleksi" userId="00c1d702-9a1a-46cb-9bcd-5368d837961b" providerId="ADAL" clId="{A41CC034-EC84-4F05-A9F8-9D0A4747319C}" dt="2023-10-19T16:15:39.299" v="665" actId="478"/>
          <ac:spMkLst>
            <pc:docMk/>
            <pc:sldMk cId="1879992390" sldId="6480"/>
            <ac:spMk id="4" creationId="{F31A6CDB-1D72-4B61-B018-DC60A248B10B}"/>
          </ac:spMkLst>
        </pc:spChg>
        <pc:spChg chg="mod">
          <ac:chgData name="Niittymies Aleksi" userId="00c1d702-9a1a-46cb-9bcd-5368d837961b" providerId="ADAL" clId="{A41CC034-EC84-4F05-A9F8-9D0A4747319C}" dt="2023-10-19T16:12:40.875" v="564" actId="20577"/>
          <ac:spMkLst>
            <pc:docMk/>
            <pc:sldMk cId="1879992390" sldId="6480"/>
            <ac:spMk id="5" creationId="{4E79B233-C263-4355-BEE2-6A4CD1ED5B59}"/>
          </ac:spMkLst>
        </pc:spChg>
        <pc:spChg chg="mod">
          <ac:chgData name="Niittymies Aleksi" userId="00c1d702-9a1a-46cb-9bcd-5368d837961b" providerId="ADAL" clId="{A41CC034-EC84-4F05-A9F8-9D0A4747319C}" dt="2023-10-21T16:42:46.186" v="2215" actId="1076"/>
          <ac:spMkLst>
            <pc:docMk/>
            <pc:sldMk cId="1879992390" sldId="6480"/>
            <ac:spMk id="6" creationId="{CA37F30B-0C15-4C20-B203-B86996A28ECF}"/>
          </ac:spMkLst>
        </pc:spChg>
        <pc:picChg chg="del">
          <ac:chgData name="Niittymies Aleksi" userId="00c1d702-9a1a-46cb-9bcd-5368d837961b" providerId="ADAL" clId="{A41CC034-EC84-4F05-A9F8-9D0A4747319C}" dt="2023-10-19T16:15:39.299" v="665" actId="478"/>
          <ac:picMkLst>
            <pc:docMk/>
            <pc:sldMk cId="1879992390" sldId="6480"/>
            <ac:picMk id="3" creationId="{B5A19B2A-FDA4-42C3-9162-B7695D99DA7F}"/>
          </ac:picMkLst>
        </pc:picChg>
      </pc:sldChg>
      <pc:sldChg chg="addSp delSp modSp add mod ord">
        <pc:chgData name="Niittymies Aleksi" userId="00c1d702-9a1a-46cb-9bcd-5368d837961b" providerId="ADAL" clId="{A41CC034-EC84-4F05-A9F8-9D0A4747319C}" dt="2023-10-19T16:15:16.585" v="656" actId="1076"/>
        <pc:sldMkLst>
          <pc:docMk/>
          <pc:sldMk cId="2587305749" sldId="6481"/>
        </pc:sldMkLst>
        <pc:spChg chg="del">
          <ac:chgData name="Niittymies Aleksi" userId="00c1d702-9a1a-46cb-9bcd-5368d837961b" providerId="ADAL" clId="{A41CC034-EC84-4F05-A9F8-9D0A4747319C}" dt="2023-10-19T16:14:51.811" v="647" actId="478"/>
          <ac:spMkLst>
            <pc:docMk/>
            <pc:sldMk cId="2587305749" sldId="6481"/>
            <ac:spMk id="4" creationId="{F31A6CDB-1D72-4B61-B018-DC60A248B10B}"/>
          </ac:spMkLst>
        </pc:spChg>
        <pc:spChg chg="mod">
          <ac:chgData name="Niittymies Aleksi" userId="00c1d702-9a1a-46cb-9bcd-5368d837961b" providerId="ADAL" clId="{A41CC034-EC84-4F05-A9F8-9D0A4747319C}" dt="2023-10-19T16:14:37.258" v="646" actId="20577"/>
          <ac:spMkLst>
            <pc:docMk/>
            <pc:sldMk cId="2587305749" sldId="6481"/>
            <ac:spMk id="5" creationId="{4E79B233-C263-4355-BEE2-6A4CD1ED5B59}"/>
          </ac:spMkLst>
        </pc:spChg>
        <pc:spChg chg="del">
          <ac:chgData name="Niittymies Aleksi" userId="00c1d702-9a1a-46cb-9bcd-5368d837961b" providerId="ADAL" clId="{A41CC034-EC84-4F05-A9F8-9D0A4747319C}" dt="2023-10-19T16:14:54.294" v="648" actId="478"/>
          <ac:spMkLst>
            <pc:docMk/>
            <pc:sldMk cId="2587305749" sldId="6481"/>
            <ac:spMk id="6" creationId="{CA37F30B-0C15-4C20-B203-B86996A28ECF}"/>
          </ac:spMkLst>
        </pc:spChg>
        <pc:spChg chg="add del mod">
          <ac:chgData name="Niittymies Aleksi" userId="00c1d702-9a1a-46cb-9bcd-5368d837961b" providerId="ADAL" clId="{A41CC034-EC84-4F05-A9F8-9D0A4747319C}" dt="2023-10-19T16:14:56.252" v="649" actId="478"/>
          <ac:spMkLst>
            <pc:docMk/>
            <pc:sldMk cId="2587305749" sldId="6481"/>
            <ac:spMk id="7" creationId="{D1DF6B73-D94C-EC3A-6089-869B43418CC2}"/>
          </ac:spMkLst>
        </pc:spChg>
        <pc:spChg chg="add del mod">
          <ac:chgData name="Niittymies Aleksi" userId="00c1d702-9a1a-46cb-9bcd-5368d837961b" providerId="ADAL" clId="{A41CC034-EC84-4F05-A9F8-9D0A4747319C}" dt="2023-10-19T16:15:07.011" v="653"/>
          <ac:spMkLst>
            <pc:docMk/>
            <pc:sldMk cId="2587305749" sldId="6481"/>
            <ac:spMk id="10" creationId="{7A3CD214-921C-82FE-0015-B00E6D6EE3DE}"/>
          </ac:spMkLst>
        </pc:spChg>
        <pc:picChg chg="del">
          <ac:chgData name="Niittymies Aleksi" userId="00c1d702-9a1a-46cb-9bcd-5368d837961b" providerId="ADAL" clId="{A41CC034-EC84-4F05-A9F8-9D0A4747319C}" dt="2023-10-19T16:14:51.811" v="647" actId="478"/>
          <ac:picMkLst>
            <pc:docMk/>
            <pc:sldMk cId="2587305749" sldId="6481"/>
            <ac:picMk id="3" creationId="{B5A19B2A-FDA4-42C3-9162-B7695D99DA7F}"/>
          </ac:picMkLst>
        </pc:picChg>
        <pc:picChg chg="add del mod">
          <ac:chgData name="Niittymies Aleksi" userId="00c1d702-9a1a-46cb-9bcd-5368d837961b" providerId="ADAL" clId="{A41CC034-EC84-4F05-A9F8-9D0A4747319C}" dt="2023-10-19T16:15:07.011" v="653"/>
          <ac:picMkLst>
            <pc:docMk/>
            <pc:sldMk cId="2587305749" sldId="6481"/>
            <ac:picMk id="8" creationId="{6AD09A9C-15E3-2019-3BD4-DF7254B3B58A}"/>
          </ac:picMkLst>
        </pc:picChg>
        <pc:picChg chg="add del mod">
          <ac:chgData name="Niittymies Aleksi" userId="00c1d702-9a1a-46cb-9bcd-5368d837961b" providerId="ADAL" clId="{A41CC034-EC84-4F05-A9F8-9D0A4747319C}" dt="2023-10-19T16:15:07.011" v="653"/>
          <ac:picMkLst>
            <pc:docMk/>
            <pc:sldMk cId="2587305749" sldId="6481"/>
            <ac:picMk id="9" creationId="{ADFA987B-E075-BC4A-AED1-A51A9EB3147D}"/>
          </ac:picMkLst>
        </pc:picChg>
        <pc:picChg chg="add del mod">
          <ac:chgData name="Niittymies Aleksi" userId="00c1d702-9a1a-46cb-9bcd-5368d837961b" providerId="ADAL" clId="{A41CC034-EC84-4F05-A9F8-9D0A4747319C}" dt="2023-10-19T16:15:07.011" v="653"/>
          <ac:picMkLst>
            <pc:docMk/>
            <pc:sldMk cId="2587305749" sldId="6481"/>
            <ac:picMk id="11" creationId="{75726E50-FDB7-9501-DF68-A7E419923DD0}"/>
          </ac:picMkLst>
        </pc:picChg>
        <pc:picChg chg="add mod">
          <ac:chgData name="Niittymies Aleksi" userId="00c1d702-9a1a-46cb-9bcd-5368d837961b" providerId="ADAL" clId="{A41CC034-EC84-4F05-A9F8-9D0A4747319C}" dt="2023-10-19T16:15:16.585" v="656" actId="1076"/>
          <ac:picMkLst>
            <pc:docMk/>
            <pc:sldMk cId="2587305749" sldId="6481"/>
            <ac:picMk id="14" creationId="{B34FD60A-24A9-46B8-7EB5-A97AD39B1703}"/>
          </ac:picMkLst>
        </pc:picChg>
        <pc:cxnChg chg="add del mod">
          <ac:chgData name="Niittymies Aleksi" userId="00c1d702-9a1a-46cb-9bcd-5368d837961b" providerId="ADAL" clId="{A41CC034-EC84-4F05-A9F8-9D0A4747319C}" dt="2023-10-19T16:15:07.011" v="653"/>
          <ac:cxnSpMkLst>
            <pc:docMk/>
            <pc:sldMk cId="2587305749" sldId="6481"/>
            <ac:cxnSpMk id="12" creationId="{3A2A6AD3-2833-A007-A65A-549017997649}"/>
          </ac:cxnSpMkLst>
        </pc:cxnChg>
      </pc:sldChg>
      <pc:sldChg chg="delSp modSp add mod ord">
        <pc:chgData name="Niittymies Aleksi" userId="00c1d702-9a1a-46cb-9bcd-5368d837961b" providerId="ADAL" clId="{A41CC034-EC84-4F05-A9F8-9D0A4747319C}" dt="2023-10-24T11:20:27.512" v="3405"/>
        <pc:sldMkLst>
          <pc:docMk/>
          <pc:sldMk cId="1575237945" sldId="6482"/>
        </pc:sldMkLst>
        <pc:spChg chg="del">
          <ac:chgData name="Niittymies Aleksi" userId="00c1d702-9a1a-46cb-9bcd-5368d837961b" providerId="ADAL" clId="{A41CC034-EC84-4F05-A9F8-9D0A4747319C}" dt="2023-10-19T16:17:41.754" v="752" actId="478"/>
          <ac:spMkLst>
            <pc:docMk/>
            <pc:sldMk cId="1575237945" sldId="6482"/>
            <ac:spMk id="4" creationId="{F31A6CDB-1D72-4B61-B018-DC60A248B10B}"/>
          </ac:spMkLst>
        </pc:spChg>
        <pc:spChg chg="mod">
          <ac:chgData name="Niittymies Aleksi" userId="00c1d702-9a1a-46cb-9bcd-5368d837961b" providerId="ADAL" clId="{A41CC034-EC84-4F05-A9F8-9D0A4747319C}" dt="2023-10-19T16:17:49.274" v="789" actId="20577"/>
          <ac:spMkLst>
            <pc:docMk/>
            <pc:sldMk cId="1575237945" sldId="6482"/>
            <ac:spMk id="5" creationId="{4E79B233-C263-4355-BEE2-6A4CD1ED5B59}"/>
          </ac:spMkLst>
        </pc:spChg>
        <pc:spChg chg="mod">
          <ac:chgData name="Niittymies Aleksi" userId="00c1d702-9a1a-46cb-9bcd-5368d837961b" providerId="ADAL" clId="{A41CC034-EC84-4F05-A9F8-9D0A4747319C}" dt="2023-10-19T16:24:43.536" v="974" actId="15"/>
          <ac:spMkLst>
            <pc:docMk/>
            <pc:sldMk cId="1575237945" sldId="6482"/>
            <ac:spMk id="6" creationId="{CA37F30B-0C15-4C20-B203-B86996A28ECF}"/>
          </ac:spMkLst>
        </pc:spChg>
        <pc:picChg chg="del">
          <ac:chgData name="Niittymies Aleksi" userId="00c1d702-9a1a-46cb-9bcd-5368d837961b" providerId="ADAL" clId="{A41CC034-EC84-4F05-A9F8-9D0A4747319C}" dt="2023-10-19T16:17:41.754" v="752" actId="478"/>
          <ac:picMkLst>
            <pc:docMk/>
            <pc:sldMk cId="1575237945" sldId="6482"/>
            <ac:picMk id="3" creationId="{B5A19B2A-FDA4-42C3-9162-B7695D99DA7F}"/>
          </ac:picMkLst>
        </pc:picChg>
      </pc:sldChg>
      <pc:sldChg chg="delSp add del mod">
        <pc:chgData name="Niittymies Aleksi" userId="00c1d702-9a1a-46cb-9bcd-5368d837961b" providerId="ADAL" clId="{A41CC034-EC84-4F05-A9F8-9D0A4747319C}" dt="2023-10-19T16:19:07.498" v="838" actId="47"/>
        <pc:sldMkLst>
          <pc:docMk/>
          <pc:sldMk cId="3891411893" sldId="6483"/>
        </pc:sldMkLst>
        <pc:spChg chg="del">
          <ac:chgData name="Niittymies Aleksi" userId="00c1d702-9a1a-46cb-9bcd-5368d837961b" providerId="ADAL" clId="{A41CC034-EC84-4F05-A9F8-9D0A4747319C}" dt="2023-10-19T16:15:35.195" v="663" actId="478"/>
          <ac:spMkLst>
            <pc:docMk/>
            <pc:sldMk cId="3891411893" sldId="6483"/>
            <ac:spMk id="4" creationId="{F31A6CDB-1D72-4B61-B018-DC60A248B10B}"/>
          </ac:spMkLst>
        </pc:spChg>
        <pc:picChg chg="del">
          <ac:chgData name="Niittymies Aleksi" userId="00c1d702-9a1a-46cb-9bcd-5368d837961b" providerId="ADAL" clId="{A41CC034-EC84-4F05-A9F8-9D0A4747319C}" dt="2023-10-19T16:15:35.195" v="663" actId="478"/>
          <ac:picMkLst>
            <pc:docMk/>
            <pc:sldMk cId="3891411893" sldId="6483"/>
            <ac:picMk id="3" creationId="{B5A19B2A-FDA4-42C3-9162-B7695D99DA7F}"/>
          </ac:picMkLst>
        </pc:picChg>
      </pc:sldChg>
      <pc:sldChg chg="modSp add del mod ord">
        <pc:chgData name="Niittymies Aleksi" userId="00c1d702-9a1a-46cb-9bcd-5368d837961b" providerId="ADAL" clId="{A41CC034-EC84-4F05-A9F8-9D0A4747319C}" dt="2023-10-24T10:32:24.562" v="3098" actId="47"/>
        <pc:sldMkLst>
          <pc:docMk/>
          <pc:sldMk cId="1223214229" sldId="6484"/>
        </pc:sldMkLst>
        <pc:spChg chg="mod">
          <ac:chgData name="Niittymies Aleksi" userId="00c1d702-9a1a-46cb-9bcd-5368d837961b" providerId="ADAL" clId="{A41CC034-EC84-4F05-A9F8-9D0A4747319C}" dt="2023-10-19T16:16:46.700" v="747" actId="20577"/>
          <ac:spMkLst>
            <pc:docMk/>
            <pc:sldMk cId="1223214229" sldId="6484"/>
            <ac:spMk id="5" creationId="{4E79B233-C263-4355-BEE2-6A4CD1ED5B59}"/>
          </ac:spMkLst>
        </pc:spChg>
        <pc:spChg chg="mod">
          <ac:chgData name="Niittymies Aleksi" userId="00c1d702-9a1a-46cb-9bcd-5368d837961b" providerId="ADAL" clId="{A41CC034-EC84-4F05-A9F8-9D0A4747319C}" dt="2023-10-19T16:23:40.190" v="959" actId="15"/>
          <ac:spMkLst>
            <pc:docMk/>
            <pc:sldMk cId="1223214229" sldId="6484"/>
            <ac:spMk id="6" creationId="{CA37F30B-0C15-4C20-B203-B86996A28ECF}"/>
          </ac:spMkLst>
        </pc:spChg>
      </pc:sldChg>
      <pc:sldChg chg="modSp add del mod ord">
        <pc:chgData name="Niittymies Aleksi" userId="00c1d702-9a1a-46cb-9bcd-5368d837961b" providerId="ADAL" clId="{A41CC034-EC84-4F05-A9F8-9D0A4747319C}" dt="2023-10-21T17:02:22.169" v="2357" actId="47"/>
        <pc:sldMkLst>
          <pc:docMk/>
          <pc:sldMk cId="2141797614" sldId="6485"/>
        </pc:sldMkLst>
        <pc:spChg chg="mod">
          <ac:chgData name="Niittymies Aleksi" userId="00c1d702-9a1a-46cb-9bcd-5368d837961b" providerId="ADAL" clId="{A41CC034-EC84-4F05-A9F8-9D0A4747319C}" dt="2023-10-20T12:36:02.408" v="1888" actId="20577"/>
          <ac:spMkLst>
            <pc:docMk/>
            <pc:sldMk cId="2141797614" sldId="6485"/>
            <ac:spMk id="2" creationId="{91B2AF14-E058-42B4-9EE4-BC811A0FDF14}"/>
          </ac:spMkLst>
        </pc:spChg>
      </pc:sldChg>
      <pc:sldChg chg="modSp add del mod ord">
        <pc:chgData name="Niittymies Aleksi" userId="00c1d702-9a1a-46cb-9bcd-5368d837961b" providerId="ADAL" clId="{A41CC034-EC84-4F05-A9F8-9D0A4747319C}" dt="2023-10-21T16:43:38.943" v="2216" actId="47"/>
        <pc:sldMkLst>
          <pc:docMk/>
          <pc:sldMk cId="522374644" sldId="6486"/>
        </pc:sldMkLst>
        <pc:spChg chg="mod">
          <ac:chgData name="Niittymies Aleksi" userId="00c1d702-9a1a-46cb-9bcd-5368d837961b" providerId="ADAL" clId="{A41CC034-EC84-4F05-A9F8-9D0A4747319C}" dt="2023-10-20T12:35:38.233" v="1884" actId="20577"/>
          <ac:spMkLst>
            <pc:docMk/>
            <pc:sldMk cId="522374644" sldId="6486"/>
            <ac:spMk id="2" creationId="{91B2AF14-E058-42B4-9EE4-BC811A0FDF14}"/>
          </ac:spMkLst>
        </pc:spChg>
      </pc:sldChg>
      <pc:sldChg chg="modSp add del mod ord">
        <pc:chgData name="Niittymies Aleksi" userId="00c1d702-9a1a-46cb-9bcd-5368d837961b" providerId="ADAL" clId="{A41CC034-EC84-4F05-A9F8-9D0A4747319C}" dt="2023-10-20T11:43:24.917" v="1783" actId="47"/>
        <pc:sldMkLst>
          <pc:docMk/>
          <pc:sldMk cId="3688116972" sldId="6487"/>
        </pc:sldMkLst>
        <pc:spChg chg="mod">
          <ac:chgData name="Niittymies Aleksi" userId="00c1d702-9a1a-46cb-9bcd-5368d837961b" providerId="ADAL" clId="{A41CC034-EC84-4F05-A9F8-9D0A4747319C}" dt="2023-10-20T10:53:15.480" v="1564" actId="20577"/>
          <ac:spMkLst>
            <pc:docMk/>
            <pc:sldMk cId="3688116972" sldId="6487"/>
            <ac:spMk id="2" creationId="{91B2AF14-E058-42B4-9EE4-BC811A0FDF14}"/>
          </ac:spMkLst>
        </pc:spChg>
      </pc:sldChg>
      <pc:sldChg chg="addSp modSp add mod ord">
        <pc:chgData name="Niittymies Aleksi" userId="00c1d702-9a1a-46cb-9bcd-5368d837961b" providerId="ADAL" clId="{A41CC034-EC84-4F05-A9F8-9D0A4747319C}" dt="2023-10-20T13:24:17.378" v="2070" actId="1076"/>
        <pc:sldMkLst>
          <pc:docMk/>
          <pc:sldMk cId="2516522154" sldId="6488"/>
        </pc:sldMkLst>
        <pc:spChg chg="mod">
          <ac:chgData name="Niittymies Aleksi" userId="00c1d702-9a1a-46cb-9bcd-5368d837961b" providerId="ADAL" clId="{A41CC034-EC84-4F05-A9F8-9D0A4747319C}" dt="2023-10-19T16:20:19.447" v="891" actId="20577"/>
          <ac:spMkLst>
            <pc:docMk/>
            <pc:sldMk cId="2516522154" sldId="6488"/>
            <ac:spMk id="5" creationId="{4E79B233-C263-4355-BEE2-6A4CD1ED5B59}"/>
          </ac:spMkLst>
        </pc:spChg>
        <pc:spChg chg="mod">
          <ac:chgData name="Niittymies Aleksi" userId="00c1d702-9a1a-46cb-9bcd-5368d837961b" providerId="ADAL" clId="{A41CC034-EC84-4F05-A9F8-9D0A4747319C}" dt="2023-10-20T13:24:17.378" v="2070" actId="1076"/>
          <ac:spMkLst>
            <pc:docMk/>
            <pc:sldMk cId="2516522154" sldId="6488"/>
            <ac:spMk id="6" creationId="{CA37F30B-0C15-4C20-B203-B86996A28ECF}"/>
          </ac:spMkLst>
        </pc:spChg>
        <pc:picChg chg="add mod">
          <ac:chgData name="Niittymies Aleksi" userId="00c1d702-9a1a-46cb-9bcd-5368d837961b" providerId="ADAL" clId="{A41CC034-EC84-4F05-A9F8-9D0A4747319C}" dt="2023-10-20T11:55:09.307" v="1859" actId="1076"/>
          <ac:picMkLst>
            <pc:docMk/>
            <pc:sldMk cId="2516522154" sldId="6488"/>
            <ac:picMk id="2" creationId="{2FFE3E07-AE90-EF6C-0CAE-5215CAC4A812}"/>
          </ac:picMkLst>
        </pc:picChg>
      </pc:sldChg>
      <pc:sldChg chg="modSp add mod ord">
        <pc:chgData name="Niittymies Aleksi" userId="00c1d702-9a1a-46cb-9bcd-5368d837961b" providerId="ADAL" clId="{A41CC034-EC84-4F05-A9F8-9D0A4747319C}" dt="2023-10-24T11:01:23.552" v="3333" actId="20577"/>
        <pc:sldMkLst>
          <pc:docMk/>
          <pc:sldMk cId="3439043387" sldId="6489"/>
        </pc:sldMkLst>
        <pc:spChg chg="mod">
          <ac:chgData name="Niittymies Aleksi" userId="00c1d702-9a1a-46cb-9bcd-5368d837961b" providerId="ADAL" clId="{A41CC034-EC84-4F05-A9F8-9D0A4747319C}" dt="2023-10-19T16:21:00.295" v="942" actId="20577"/>
          <ac:spMkLst>
            <pc:docMk/>
            <pc:sldMk cId="3439043387" sldId="6489"/>
            <ac:spMk id="5" creationId="{4E79B233-C263-4355-BEE2-6A4CD1ED5B59}"/>
          </ac:spMkLst>
        </pc:spChg>
        <pc:spChg chg="mod">
          <ac:chgData name="Niittymies Aleksi" userId="00c1d702-9a1a-46cb-9bcd-5368d837961b" providerId="ADAL" clId="{A41CC034-EC84-4F05-A9F8-9D0A4747319C}" dt="2023-10-24T11:01:23.552" v="3333" actId="20577"/>
          <ac:spMkLst>
            <pc:docMk/>
            <pc:sldMk cId="3439043387" sldId="6489"/>
            <ac:spMk id="6" creationId="{CA37F30B-0C15-4C20-B203-B86996A28ECF}"/>
          </ac:spMkLst>
        </pc:spChg>
      </pc:sldChg>
      <pc:sldChg chg="modSp add del mod">
        <pc:chgData name="Niittymies Aleksi" userId="00c1d702-9a1a-46cb-9bcd-5368d837961b" providerId="ADAL" clId="{A41CC034-EC84-4F05-A9F8-9D0A4747319C}" dt="2023-10-20T12:45:34.141" v="1902" actId="47"/>
        <pc:sldMkLst>
          <pc:docMk/>
          <pc:sldMk cId="2459887620" sldId="6490"/>
        </pc:sldMkLst>
        <pc:spChg chg="mod">
          <ac:chgData name="Niittymies Aleksi" userId="00c1d702-9a1a-46cb-9bcd-5368d837961b" providerId="ADAL" clId="{A41CC034-EC84-4F05-A9F8-9D0A4747319C}" dt="2023-10-19T16:41:40.777" v="1180" actId="20577"/>
          <ac:spMkLst>
            <pc:docMk/>
            <pc:sldMk cId="2459887620" sldId="6490"/>
            <ac:spMk id="5" creationId="{4E79B233-C263-4355-BEE2-6A4CD1ED5B59}"/>
          </ac:spMkLst>
        </pc:spChg>
        <pc:spChg chg="mod">
          <ac:chgData name="Niittymies Aleksi" userId="00c1d702-9a1a-46cb-9bcd-5368d837961b" providerId="ADAL" clId="{A41CC034-EC84-4F05-A9F8-9D0A4747319C}" dt="2023-10-19T16:42:01.519" v="1183"/>
          <ac:spMkLst>
            <pc:docMk/>
            <pc:sldMk cId="2459887620" sldId="6490"/>
            <ac:spMk id="6" creationId="{CA37F30B-0C15-4C20-B203-B86996A28ECF}"/>
          </ac:spMkLst>
        </pc:spChg>
      </pc:sldChg>
      <pc:sldChg chg="addSp delSp modSp add del mod ord">
        <pc:chgData name="Niittymies Aleksi" userId="00c1d702-9a1a-46cb-9bcd-5368d837961b" providerId="ADAL" clId="{A41CC034-EC84-4F05-A9F8-9D0A4747319C}" dt="2023-10-20T11:51:28.837" v="1846" actId="47"/>
        <pc:sldMkLst>
          <pc:docMk/>
          <pc:sldMk cId="3453536883" sldId="6491"/>
        </pc:sldMkLst>
        <pc:spChg chg="add del mod">
          <ac:chgData name="Niittymies Aleksi" userId="00c1d702-9a1a-46cb-9bcd-5368d837961b" providerId="ADAL" clId="{A41CC034-EC84-4F05-A9F8-9D0A4747319C}" dt="2023-10-19T16:34:05.839" v="1062" actId="478"/>
          <ac:spMkLst>
            <pc:docMk/>
            <pc:sldMk cId="3453536883" sldId="6491"/>
            <ac:spMk id="3" creationId="{9052457B-4EFB-1F42-1F60-386087E169ED}"/>
          </ac:spMkLst>
        </pc:spChg>
        <pc:spChg chg="mod">
          <ac:chgData name="Niittymies Aleksi" userId="00c1d702-9a1a-46cb-9bcd-5368d837961b" providerId="ADAL" clId="{A41CC034-EC84-4F05-A9F8-9D0A4747319C}" dt="2023-10-19T16:35:59.900" v="1101" actId="20577"/>
          <ac:spMkLst>
            <pc:docMk/>
            <pc:sldMk cId="3453536883" sldId="6491"/>
            <ac:spMk id="5" creationId="{4E79B233-C263-4355-BEE2-6A4CD1ED5B59}"/>
          </ac:spMkLst>
        </pc:spChg>
        <pc:spChg chg="del">
          <ac:chgData name="Niittymies Aleksi" userId="00c1d702-9a1a-46cb-9bcd-5368d837961b" providerId="ADAL" clId="{A41CC034-EC84-4F05-A9F8-9D0A4747319C}" dt="2023-10-19T16:34:04.536" v="1061" actId="478"/>
          <ac:spMkLst>
            <pc:docMk/>
            <pc:sldMk cId="3453536883" sldId="6491"/>
            <ac:spMk id="6" creationId="{CA37F30B-0C15-4C20-B203-B86996A28ECF}"/>
          </ac:spMkLst>
        </pc:spChg>
        <pc:graphicFrameChg chg="add mod modGraphic">
          <ac:chgData name="Niittymies Aleksi" userId="00c1d702-9a1a-46cb-9bcd-5368d837961b" providerId="ADAL" clId="{A41CC034-EC84-4F05-A9F8-9D0A4747319C}" dt="2023-10-20T09:39:59.066" v="1329" actId="20577"/>
          <ac:graphicFrameMkLst>
            <pc:docMk/>
            <pc:sldMk cId="3453536883" sldId="6491"/>
            <ac:graphicFrameMk id="4" creationId="{1DEFA179-CD3A-0819-4808-62AAB8391FAF}"/>
          </ac:graphicFrameMkLst>
        </pc:graphicFrameChg>
      </pc:sldChg>
      <pc:sldChg chg="addSp delSp modSp add mod ord">
        <pc:chgData name="Niittymies Aleksi" userId="00c1d702-9a1a-46cb-9bcd-5368d837961b" providerId="ADAL" clId="{A41CC034-EC84-4F05-A9F8-9D0A4747319C}" dt="2023-10-24T11:10:27.036" v="3344"/>
        <pc:sldMkLst>
          <pc:docMk/>
          <pc:sldMk cId="3999714898" sldId="6492"/>
        </pc:sldMkLst>
        <pc:spChg chg="add del mod">
          <ac:chgData name="Niittymies Aleksi" userId="00c1d702-9a1a-46cb-9bcd-5368d837961b" providerId="ADAL" clId="{A41CC034-EC84-4F05-A9F8-9D0A4747319C}" dt="2023-10-19T16:49:42.609" v="1234" actId="478"/>
          <ac:spMkLst>
            <pc:docMk/>
            <pc:sldMk cId="3999714898" sldId="6492"/>
            <ac:spMk id="3" creationId="{06FE9051-5568-D0EF-5CD1-9D3151BA70A3}"/>
          </ac:spMkLst>
        </pc:spChg>
        <pc:spChg chg="del">
          <ac:chgData name="Niittymies Aleksi" userId="00c1d702-9a1a-46cb-9bcd-5368d837961b" providerId="ADAL" clId="{A41CC034-EC84-4F05-A9F8-9D0A4747319C}" dt="2023-10-19T16:52:40.095" v="1242" actId="478"/>
          <ac:spMkLst>
            <pc:docMk/>
            <pc:sldMk cId="3999714898" sldId="6492"/>
            <ac:spMk id="5" creationId="{4E79B233-C263-4355-BEE2-6A4CD1ED5B59}"/>
          </ac:spMkLst>
        </pc:spChg>
        <pc:spChg chg="del">
          <ac:chgData name="Niittymies Aleksi" userId="00c1d702-9a1a-46cb-9bcd-5368d837961b" providerId="ADAL" clId="{A41CC034-EC84-4F05-A9F8-9D0A4747319C}" dt="2023-10-19T16:49:38.066" v="1233" actId="478"/>
          <ac:spMkLst>
            <pc:docMk/>
            <pc:sldMk cId="3999714898" sldId="6492"/>
            <ac:spMk id="6" creationId="{CA37F30B-0C15-4C20-B203-B86996A28ECF}"/>
          </ac:spMkLst>
        </pc:spChg>
        <pc:spChg chg="add mod">
          <ac:chgData name="Niittymies Aleksi" userId="00c1d702-9a1a-46cb-9bcd-5368d837961b" providerId="ADAL" clId="{A41CC034-EC84-4F05-A9F8-9D0A4747319C}" dt="2023-10-19T16:52:50.571" v="1247" actId="1076"/>
          <ac:spMkLst>
            <pc:docMk/>
            <pc:sldMk cId="3999714898" sldId="6492"/>
            <ac:spMk id="8" creationId="{9B04551F-97B2-C5A5-7013-2CBFC20CFE10}"/>
          </ac:spMkLst>
        </pc:spChg>
        <pc:spChg chg="add del mod">
          <ac:chgData name="Niittymies Aleksi" userId="00c1d702-9a1a-46cb-9bcd-5368d837961b" providerId="ADAL" clId="{A41CC034-EC84-4F05-A9F8-9D0A4747319C}" dt="2023-10-19T16:52:42.413" v="1243" actId="478"/>
          <ac:spMkLst>
            <pc:docMk/>
            <pc:sldMk cId="3999714898" sldId="6492"/>
            <ac:spMk id="10" creationId="{7BFE58D7-565C-B33F-2C4C-B9B4BF573A23}"/>
          </ac:spMkLst>
        </pc:spChg>
        <pc:picChg chg="add mod">
          <ac:chgData name="Niittymies Aleksi" userId="00c1d702-9a1a-46cb-9bcd-5368d837961b" providerId="ADAL" clId="{A41CC034-EC84-4F05-A9F8-9D0A4747319C}" dt="2023-10-19T16:52:52.779" v="1248" actId="1076"/>
          <ac:picMkLst>
            <pc:docMk/>
            <pc:sldMk cId="3999714898" sldId="6492"/>
            <ac:picMk id="4" creationId="{D2ABA6F9-3A43-2A01-BDA3-C728BD9626CD}"/>
          </ac:picMkLst>
        </pc:picChg>
      </pc:sldChg>
      <pc:sldChg chg="add del">
        <pc:chgData name="Niittymies Aleksi" userId="00c1d702-9a1a-46cb-9bcd-5368d837961b" providerId="ADAL" clId="{A41CC034-EC84-4F05-A9F8-9D0A4747319C}" dt="2023-10-19T16:42:22.644" v="1185"/>
        <pc:sldMkLst>
          <pc:docMk/>
          <pc:sldMk cId="1182876229" sldId="6493"/>
        </pc:sldMkLst>
      </pc:sldChg>
      <pc:sldChg chg="del">
        <pc:chgData name="Niittymies Aleksi" userId="00c1d702-9a1a-46cb-9bcd-5368d837961b" providerId="ADAL" clId="{A41CC034-EC84-4F05-A9F8-9D0A4747319C}" dt="2023-10-19T16:43:54.029" v="1186" actId="47"/>
        <pc:sldMkLst>
          <pc:docMk/>
          <pc:sldMk cId="1367703117" sldId="6493"/>
        </pc:sldMkLst>
      </pc:sldChg>
      <pc:sldChg chg="modSp add del mod ord modShow">
        <pc:chgData name="Niittymies Aleksi" userId="00c1d702-9a1a-46cb-9bcd-5368d837961b" providerId="ADAL" clId="{A41CC034-EC84-4F05-A9F8-9D0A4747319C}" dt="2023-10-24T10:45:17.274" v="3100" actId="47"/>
        <pc:sldMkLst>
          <pc:docMk/>
          <pc:sldMk cId="4226316838" sldId="6493"/>
        </pc:sldMkLst>
        <pc:spChg chg="mod">
          <ac:chgData name="Niittymies Aleksi" userId="00c1d702-9a1a-46cb-9bcd-5368d837961b" providerId="ADAL" clId="{A41CC034-EC84-4F05-A9F8-9D0A4747319C}" dt="2023-10-20T09:44:05.950" v="1416" actId="20577"/>
          <ac:spMkLst>
            <pc:docMk/>
            <pc:sldMk cId="4226316838" sldId="6493"/>
            <ac:spMk id="5" creationId="{4E79B233-C263-4355-BEE2-6A4CD1ED5B59}"/>
          </ac:spMkLst>
        </pc:spChg>
        <pc:spChg chg="mod">
          <ac:chgData name="Niittymies Aleksi" userId="00c1d702-9a1a-46cb-9bcd-5368d837961b" providerId="ADAL" clId="{A41CC034-EC84-4F05-A9F8-9D0A4747319C}" dt="2023-10-20T10:51:14.754" v="1531" actId="15"/>
          <ac:spMkLst>
            <pc:docMk/>
            <pc:sldMk cId="4226316838" sldId="6493"/>
            <ac:spMk id="6" creationId="{CA37F30B-0C15-4C20-B203-B86996A28ECF}"/>
          </ac:spMkLst>
        </pc:spChg>
      </pc:sldChg>
      <pc:sldChg chg="addSp delSp modSp add ord">
        <pc:chgData name="Niittymies Aleksi" userId="00c1d702-9a1a-46cb-9bcd-5368d837961b" providerId="ADAL" clId="{A41CC034-EC84-4F05-A9F8-9D0A4747319C}" dt="2023-10-21T11:36:23.250" v="2085"/>
        <pc:sldMkLst>
          <pc:docMk/>
          <pc:sldMk cId="984379484" sldId="6494"/>
        </pc:sldMkLst>
        <pc:picChg chg="add del mod">
          <ac:chgData name="Niittymies Aleksi" userId="00c1d702-9a1a-46cb-9bcd-5368d837961b" providerId="ADAL" clId="{A41CC034-EC84-4F05-A9F8-9D0A4747319C}" dt="2023-10-20T12:40:24.225" v="1893" actId="478"/>
          <ac:picMkLst>
            <pc:docMk/>
            <pc:sldMk cId="984379484" sldId="6494"/>
            <ac:picMk id="2050" creationId="{A4665D8D-118B-53FF-D1C8-B1CA12E7E4A1}"/>
          </ac:picMkLst>
        </pc:picChg>
        <pc:picChg chg="add mod">
          <ac:chgData name="Niittymies Aleksi" userId="00c1d702-9a1a-46cb-9bcd-5368d837961b" providerId="ADAL" clId="{A41CC034-EC84-4F05-A9F8-9D0A4747319C}" dt="2023-10-20T12:40:36.079" v="1898" actId="1076"/>
          <ac:picMkLst>
            <pc:docMk/>
            <pc:sldMk cId="984379484" sldId="6494"/>
            <ac:picMk id="2052" creationId="{E53BAE7D-1C1F-CE8A-3D13-565813B0A731}"/>
          </ac:picMkLst>
        </pc:picChg>
      </pc:sldChg>
      <pc:sldChg chg="addSp delSp modSp add mod ord">
        <pc:chgData name="Niittymies Aleksi" userId="00c1d702-9a1a-46cb-9bcd-5368d837961b" providerId="ADAL" clId="{A41CC034-EC84-4F05-A9F8-9D0A4747319C}" dt="2023-10-24T10:05:08.281" v="2689" actId="20577"/>
        <pc:sldMkLst>
          <pc:docMk/>
          <pc:sldMk cId="3329689310" sldId="6495"/>
        </pc:sldMkLst>
        <pc:spChg chg="mod">
          <ac:chgData name="Niittymies Aleksi" userId="00c1d702-9a1a-46cb-9bcd-5368d837961b" providerId="ADAL" clId="{A41CC034-EC84-4F05-A9F8-9D0A4747319C}" dt="2023-10-19T16:46:32.703" v="1224" actId="20577"/>
          <ac:spMkLst>
            <pc:docMk/>
            <pc:sldMk cId="3329689310" sldId="6495"/>
            <ac:spMk id="5" creationId="{4E79B233-C263-4355-BEE2-6A4CD1ED5B59}"/>
          </ac:spMkLst>
        </pc:spChg>
        <pc:spChg chg="mod">
          <ac:chgData name="Niittymies Aleksi" userId="00c1d702-9a1a-46cb-9bcd-5368d837961b" providerId="ADAL" clId="{A41CC034-EC84-4F05-A9F8-9D0A4747319C}" dt="2023-10-24T10:05:08.281" v="2689" actId="20577"/>
          <ac:spMkLst>
            <pc:docMk/>
            <pc:sldMk cId="3329689310" sldId="6495"/>
            <ac:spMk id="6" creationId="{CA37F30B-0C15-4C20-B203-B86996A28ECF}"/>
          </ac:spMkLst>
        </pc:spChg>
        <pc:picChg chg="add del mod">
          <ac:chgData name="Niittymies Aleksi" userId="00c1d702-9a1a-46cb-9bcd-5368d837961b" providerId="ADAL" clId="{A41CC034-EC84-4F05-A9F8-9D0A4747319C}" dt="2023-10-20T12:38:04.532" v="1889" actId="478"/>
          <ac:picMkLst>
            <pc:docMk/>
            <pc:sldMk cId="3329689310" sldId="6495"/>
            <ac:picMk id="2" creationId="{9CED31B3-468D-1877-4B9B-FD082FE6D535}"/>
          </ac:picMkLst>
        </pc:picChg>
        <pc:picChg chg="add mod">
          <ac:chgData name="Niittymies Aleksi" userId="00c1d702-9a1a-46cb-9bcd-5368d837961b" providerId="ADAL" clId="{A41CC034-EC84-4F05-A9F8-9D0A4747319C}" dt="2023-10-20T12:38:11.983" v="1892" actId="1076"/>
          <ac:picMkLst>
            <pc:docMk/>
            <pc:sldMk cId="3329689310" sldId="6495"/>
            <ac:picMk id="4098" creationId="{12ACBFA4-B891-7174-7412-685E784FAA7A}"/>
          </ac:picMkLst>
        </pc:picChg>
      </pc:sldChg>
      <pc:sldChg chg="addSp modSp add mod ord">
        <pc:chgData name="Niittymies Aleksi" userId="00c1d702-9a1a-46cb-9bcd-5368d837961b" providerId="ADAL" clId="{A41CC034-EC84-4F05-A9F8-9D0A4747319C}" dt="2023-10-24T10:45:58.145" v="3143" actId="20577"/>
        <pc:sldMkLst>
          <pc:docMk/>
          <pc:sldMk cId="1916855917" sldId="6496"/>
        </pc:sldMkLst>
        <pc:spChg chg="mod">
          <ac:chgData name="Niittymies Aleksi" userId="00c1d702-9a1a-46cb-9bcd-5368d837961b" providerId="ADAL" clId="{A41CC034-EC84-4F05-A9F8-9D0A4747319C}" dt="2023-10-24T10:45:58.145" v="3143" actId="20577"/>
          <ac:spMkLst>
            <pc:docMk/>
            <pc:sldMk cId="1916855917" sldId="6496"/>
            <ac:spMk id="6" creationId="{CA37F30B-0C15-4C20-B203-B86996A28ECF}"/>
          </ac:spMkLst>
        </pc:spChg>
        <pc:picChg chg="add mod">
          <ac:chgData name="Niittymies Aleksi" userId="00c1d702-9a1a-46cb-9bcd-5368d837961b" providerId="ADAL" clId="{A41CC034-EC84-4F05-A9F8-9D0A4747319C}" dt="2023-10-20T10:55:41.663" v="1589" actId="1076"/>
          <ac:picMkLst>
            <pc:docMk/>
            <pc:sldMk cId="1916855917" sldId="6496"/>
            <ac:picMk id="2" creationId="{7755E236-6444-E84D-AA1D-E7A816DFF629}"/>
          </ac:picMkLst>
        </pc:picChg>
      </pc:sldChg>
      <pc:sldChg chg="add del ord">
        <pc:chgData name="Niittymies Aleksi" userId="00c1d702-9a1a-46cb-9bcd-5368d837961b" providerId="ADAL" clId="{A41CC034-EC84-4F05-A9F8-9D0A4747319C}" dt="2023-10-21T17:01:32.250" v="2352" actId="47"/>
        <pc:sldMkLst>
          <pc:docMk/>
          <pc:sldMk cId="1385544904" sldId="6497"/>
        </pc:sldMkLst>
      </pc:sldChg>
      <pc:sldChg chg="add del">
        <pc:chgData name="Niittymies Aleksi" userId="00c1d702-9a1a-46cb-9bcd-5368d837961b" providerId="ADAL" clId="{A41CC034-EC84-4F05-A9F8-9D0A4747319C}" dt="2023-10-19T16:54:46.778" v="1249" actId="47"/>
        <pc:sldMkLst>
          <pc:docMk/>
          <pc:sldMk cId="4177102889" sldId="6497"/>
        </pc:sldMkLst>
      </pc:sldChg>
      <pc:sldChg chg="modSp del mod">
        <pc:chgData name="Niittymies Aleksi" userId="00c1d702-9a1a-46cb-9bcd-5368d837961b" providerId="ADAL" clId="{A41CC034-EC84-4F05-A9F8-9D0A4747319C}" dt="2023-10-21T17:02:48.515" v="2358" actId="47"/>
        <pc:sldMkLst>
          <pc:docMk/>
          <pc:sldMk cId="1501035965" sldId="6498"/>
        </pc:sldMkLst>
        <pc:spChg chg="mod">
          <ac:chgData name="Niittymies Aleksi" userId="00c1d702-9a1a-46cb-9bcd-5368d837961b" providerId="ADAL" clId="{A41CC034-EC84-4F05-A9F8-9D0A4747319C}" dt="2023-10-20T11:51:17.701" v="1844" actId="113"/>
          <ac:spMkLst>
            <pc:docMk/>
            <pc:sldMk cId="1501035965" sldId="6498"/>
            <ac:spMk id="3" creationId="{CF3F630B-0F73-483A-838D-6B23394D1B86}"/>
          </ac:spMkLst>
        </pc:spChg>
      </pc:sldChg>
      <pc:sldChg chg="addSp modSp add del">
        <pc:chgData name="Niittymies Aleksi" userId="00c1d702-9a1a-46cb-9bcd-5368d837961b" providerId="ADAL" clId="{A41CC034-EC84-4F05-A9F8-9D0A4747319C}" dt="2023-10-20T12:41:29.396" v="1901" actId="47"/>
        <pc:sldMkLst>
          <pc:docMk/>
          <pc:sldMk cId="508067728" sldId="6499"/>
        </pc:sldMkLst>
        <pc:picChg chg="add mod">
          <ac:chgData name="Niittymies Aleksi" userId="00c1d702-9a1a-46cb-9bcd-5368d837961b" providerId="ADAL" clId="{A41CC034-EC84-4F05-A9F8-9D0A4747319C}" dt="2023-10-20T12:41:08.424" v="1900" actId="1076"/>
          <ac:picMkLst>
            <pc:docMk/>
            <pc:sldMk cId="508067728" sldId="6499"/>
            <ac:picMk id="2" creationId="{A47C0EB2-B0C1-5593-3805-BCB5F9A6F1A4}"/>
          </ac:picMkLst>
        </pc:picChg>
      </pc:sldChg>
      <pc:sldChg chg="del">
        <pc:chgData name="Niittymies Aleksi" userId="00c1d702-9a1a-46cb-9bcd-5368d837961b" providerId="ADAL" clId="{A41CC034-EC84-4F05-A9F8-9D0A4747319C}" dt="2023-10-20T12:46:24.369" v="1959" actId="47"/>
        <pc:sldMkLst>
          <pc:docMk/>
          <pc:sldMk cId="3295361793" sldId="6500"/>
        </pc:sldMkLst>
      </pc:sldChg>
      <pc:sldChg chg="add">
        <pc:chgData name="Niittymies Aleksi" userId="00c1d702-9a1a-46cb-9bcd-5368d837961b" providerId="ADAL" clId="{A41CC034-EC84-4F05-A9F8-9D0A4747319C}" dt="2023-10-20T10:53:06.111" v="1532" actId="2890"/>
        <pc:sldMkLst>
          <pc:docMk/>
          <pc:sldMk cId="2753825767" sldId="6501"/>
        </pc:sldMkLst>
      </pc:sldChg>
      <pc:sldChg chg="addSp modSp add mod ord">
        <pc:chgData name="Niittymies Aleksi" userId="00c1d702-9a1a-46cb-9bcd-5368d837961b" providerId="ADAL" clId="{A41CC034-EC84-4F05-A9F8-9D0A4747319C}" dt="2023-10-21T17:02:05.526" v="2356"/>
        <pc:sldMkLst>
          <pc:docMk/>
          <pc:sldMk cId="3404113290" sldId="6502"/>
        </pc:sldMkLst>
        <pc:spChg chg="mod">
          <ac:chgData name="Niittymies Aleksi" userId="00c1d702-9a1a-46cb-9bcd-5368d837961b" providerId="ADAL" clId="{A41CC034-EC84-4F05-A9F8-9D0A4747319C}" dt="2023-10-20T11:48:21.343" v="1838" actId="20577"/>
          <ac:spMkLst>
            <pc:docMk/>
            <pc:sldMk cId="3404113290" sldId="6502"/>
            <ac:spMk id="5" creationId="{4E79B233-C263-4355-BEE2-6A4CD1ED5B59}"/>
          </ac:spMkLst>
        </pc:spChg>
        <pc:spChg chg="mod">
          <ac:chgData name="Niittymies Aleksi" userId="00c1d702-9a1a-46cb-9bcd-5368d837961b" providerId="ADAL" clId="{A41CC034-EC84-4F05-A9F8-9D0A4747319C}" dt="2023-10-20T10:53:56.286" v="1575" actId="14100"/>
          <ac:spMkLst>
            <pc:docMk/>
            <pc:sldMk cId="3404113290" sldId="6502"/>
            <ac:spMk id="6" creationId="{CA37F30B-0C15-4C20-B203-B86996A28ECF}"/>
          </ac:spMkLst>
        </pc:spChg>
        <pc:picChg chg="add mod">
          <ac:chgData name="Niittymies Aleksi" userId="00c1d702-9a1a-46cb-9bcd-5368d837961b" providerId="ADAL" clId="{A41CC034-EC84-4F05-A9F8-9D0A4747319C}" dt="2023-10-20T10:54:48.239" v="1579" actId="1076"/>
          <ac:picMkLst>
            <pc:docMk/>
            <pc:sldMk cId="3404113290" sldId="6502"/>
            <ac:picMk id="1026" creationId="{C662B983-3720-D591-354D-2D5660C50325}"/>
          </ac:picMkLst>
        </pc:picChg>
      </pc:sldChg>
      <pc:sldChg chg="modSp add mod ord">
        <pc:chgData name="Niittymies Aleksi" userId="00c1d702-9a1a-46cb-9bcd-5368d837961b" providerId="ADAL" clId="{A41CC034-EC84-4F05-A9F8-9D0A4747319C}" dt="2023-10-21T17:02:05.526" v="2356"/>
        <pc:sldMkLst>
          <pc:docMk/>
          <pc:sldMk cId="2323915524" sldId="6503"/>
        </pc:sldMkLst>
        <pc:spChg chg="mod">
          <ac:chgData name="Niittymies Aleksi" userId="00c1d702-9a1a-46cb-9bcd-5368d837961b" providerId="ADAL" clId="{A41CC034-EC84-4F05-A9F8-9D0A4747319C}" dt="2023-10-21T16:59:17.809" v="2344" actId="14100"/>
          <ac:spMkLst>
            <pc:docMk/>
            <pc:sldMk cId="2323915524" sldId="6503"/>
            <ac:spMk id="5" creationId="{4E79B233-C263-4355-BEE2-6A4CD1ED5B59}"/>
          </ac:spMkLst>
        </pc:spChg>
        <pc:spChg chg="mod">
          <ac:chgData name="Niittymies Aleksi" userId="00c1d702-9a1a-46cb-9bcd-5368d837961b" providerId="ADAL" clId="{A41CC034-EC84-4F05-A9F8-9D0A4747319C}" dt="2023-10-20T10:58:35.804" v="1598" actId="15"/>
          <ac:spMkLst>
            <pc:docMk/>
            <pc:sldMk cId="2323915524" sldId="6503"/>
            <ac:spMk id="6" creationId="{CA37F30B-0C15-4C20-B203-B86996A28ECF}"/>
          </ac:spMkLst>
        </pc:spChg>
      </pc:sldChg>
      <pc:sldChg chg="modSp add mod ord">
        <pc:chgData name="Niittymies Aleksi" userId="00c1d702-9a1a-46cb-9bcd-5368d837961b" providerId="ADAL" clId="{A41CC034-EC84-4F05-A9F8-9D0A4747319C}" dt="2023-10-21T17:02:05.526" v="2356"/>
        <pc:sldMkLst>
          <pc:docMk/>
          <pc:sldMk cId="1856887595" sldId="6504"/>
        </pc:sldMkLst>
        <pc:spChg chg="mod">
          <ac:chgData name="Niittymies Aleksi" userId="00c1d702-9a1a-46cb-9bcd-5368d837961b" providerId="ADAL" clId="{A41CC034-EC84-4F05-A9F8-9D0A4747319C}" dt="2023-10-20T10:58:52.376" v="1600"/>
          <ac:spMkLst>
            <pc:docMk/>
            <pc:sldMk cId="1856887595" sldId="6504"/>
            <ac:spMk id="5" creationId="{4E79B233-C263-4355-BEE2-6A4CD1ED5B59}"/>
          </ac:spMkLst>
        </pc:spChg>
        <pc:spChg chg="mod">
          <ac:chgData name="Niittymies Aleksi" userId="00c1d702-9a1a-46cb-9bcd-5368d837961b" providerId="ADAL" clId="{A41CC034-EC84-4F05-A9F8-9D0A4747319C}" dt="2023-10-20T10:59:03.760" v="1602" actId="1076"/>
          <ac:spMkLst>
            <pc:docMk/>
            <pc:sldMk cId="1856887595" sldId="6504"/>
            <ac:spMk id="6" creationId="{CA37F30B-0C15-4C20-B203-B86996A28ECF}"/>
          </ac:spMkLst>
        </pc:spChg>
      </pc:sldChg>
      <pc:sldChg chg="modSp add del mod ord">
        <pc:chgData name="Niittymies Aleksi" userId="00c1d702-9a1a-46cb-9bcd-5368d837961b" providerId="ADAL" clId="{A41CC034-EC84-4F05-A9F8-9D0A4747319C}" dt="2023-10-20T11:49:47.175" v="1839" actId="47"/>
        <pc:sldMkLst>
          <pc:docMk/>
          <pc:sldMk cId="2506506502" sldId="6505"/>
        </pc:sldMkLst>
        <pc:spChg chg="mod">
          <ac:chgData name="Niittymies Aleksi" userId="00c1d702-9a1a-46cb-9bcd-5368d837961b" providerId="ADAL" clId="{A41CC034-EC84-4F05-A9F8-9D0A4747319C}" dt="2023-10-20T10:59:29.272" v="1620" actId="20577"/>
          <ac:spMkLst>
            <pc:docMk/>
            <pc:sldMk cId="2506506502" sldId="6505"/>
            <ac:spMk id="5" creationId="{4E79B233-C263-4355-BEE2-6A4CD1ED5B59}"/>
          </ac:spMkLst>
        </pc:spChg>
        <pc:spChg chg="mod">
          <ac:chgData name="Niittymies Aleksi" userId="00c1d702-9a1a-46cb-9bcd-5368d837961b" providerId="ADAL" clId="{A41CC034-EC84-4F05-A9F8-9D0A4747319C}" dt="2023-10-20T10:59:45.817" v="1623" actId="15"/>
          <ac:spMkLst>
            <pc:docMk/>
            <pc:sldMk cId="2506506502" sldId="6505"/>
            <ac:spMk id="6" creationId="{CA37F30B-0C15-4C20-B203-B86996A28ECF}"/>
          </ac:spMkLst>
        </pc:spChg>
      </pc:sldChg>
      <pc:sldChg chg="addSp delSp modSp add mod ord">
        <pc:chgData name="Niittymies Aleksi" userId="00c1d702-9a1a-46cb-9bcd-5368d837961b" providerId="ADAL" clId="{A41CC034-EC84-4F05-A9F8-9D0A4747319C}" dt="2023-10-21T17:02:05.526" v="2356"/>
        <pc:sldMkLst>
          <pc:docMk/>
          <pc:sldMk cId="2273617779" sldId="6506"/>
        </pc:sldMkLst>
        <pc:spChg chg="add mod">
          <ac:chgData name="Niittymies Aleksi" userId="00c1d702-9a1a-46cb-9bcd-5368d837961b" providerId="ADAL" clId="{A41CC034-EC84-4F05-A9F8-9D0A4747319C}" dt="2023-10-20T11:32:31.388" v="1772" actId="20577"/>
          <ac:spMkLst>
            <pc:docMk/>
            <pc:sldMk cId="2273617779" sldId="6506"/>
            <ac:spMk id="3" creationId="{FF423F83-62FA-8FAD-E512-7A6C82FD2D10}"/>
          </ac:spMkLst>
        </pc:spChg>
        <pc:spChg chg="mod">
          <ac:chgData name="Niittymies Aleksi" userId="00c1d702-9a1a-46cb-9bcd-5368d837961b" providerId="ADAL" clId="{A41CC034-EC84-4F05-A9F8-9D0A4747319C}" dt="2023-10-20T11:32:01.763" v="1711" actId="20577"/>
          <ac:spMkLst>
            <pc:docMk/>
            <pc:sldMk cId="2273617779" sldId="6506"/>
            <ac:spMk id="5" creationId="{4E79B233-C263-4355-BEE2-6A4CD1ED5B59}"/>
          </ac:spMkLst>
        </pc:spChg>
        <pc:spChg chg="del">
          <ac:chgData name="Niittymies Aleksi" userId="00c1d702-9a1a-46cb-9bcd-5368d837961b" providerId="ADAL" clId="{A41CC034-EC84-4F05-A9F8-9D0A4747319C}" dt="2023-10-20T11:31:35.017" v="1685" actId="478"/>
          <ac:spMkLst>
            <pc:docMk/>
            <pc:sldMk cId="2273617779" sldId="6506"/>
            <ac:spMk id="6" creationId="{CA37F30B-0C15-4C20-B203-B86996A28ECF}"/>
          </ac:spMkLst>
        </pc:spChg>
        <pc:picChg chg="add mod">
          <ac:chgData name="Niittymies Aleksi" userId="00c1d702-9a1a-46cb-9bcd-5368d837961b" providerId="ADAL" clId="{A41CC034-EC84-4F05-A9F8-9D0A4747319C}" dt="2023-10-20T11:38:40.182" v="1775" actId="1076"/>
          <ac:picMkLst>
            <pc:docMk/>
            <pc:sldMk cId="2273617779" sldId="6506"/>
            <ac:picMk id="4" creationId="{5C2C20B1-928B-8216-2B58-386F6D43ABC6}"/>
          </ac:picMkLst>
        </pc:picChg>
      </pc:sldChg>
      <pc:sldChg chg="del">
        <pc:chgData name="Niittymies Aleksi" userId="00c1d702-9a1a-46cb-9bcd-5368d837961b" providerId="ADAL" clId="{A41CC034-EC84-4F05-A9F8-9D0A4747319C}" dt="2023-10-21T16:35:44.538" v="2090" actId="47"/>
        <pc:sldMkLst>
          <pc:docMk/>
          <pc:sldMk cId="2916203252" sldId="6507"/>
        </pc:sldMkLst>
      </pc:sldChg>
      <pc:sldChg chg="modSp add del mod">
        <pc:chgData name="Niittymies Aleksi" userId="00c1d702-9a1a-46cb-9bcd-5368d837961b" providerId="ADAL" clId="{A41CC034-EC84-4F05-A9F8-9D0A4747319C}" dt="2023-10-21T17:02:51.826" v="2359" actId="47"/>
        <pc:sldMkLst>
          <pc:docMk/>
          <pc:sldMk cId="3835154550" sldId="6508"/>
        </pc:sldMkLst>
        <pc:spChg chg="mod">
          <ac:chgData name="Niittymies Aleksi" userId="00c1d702-9a1a-46cb-9bcd-5368d837961b" providerId="ADAL" clId="{A41CC034-EC84-4F05-A9F8-9D0A4747319C}" dt="2023-10-20T11:51:11.021" v="1843" actId="113"/>
          <ac:spMkLst>
            <pc:docMk/>
            <pc:sldMk cId="3835154550" sldId="6508"/>
            <ac:spMk id="3" creationId="{CF3F630B-0F73-483A-838D-6B23394D1B86}"/>
          </ac:spMkLst>
        </pc:spChg>
      </pc:sldChg>
      <pc:sldChg chg="addSp delSp modSp add del mod">
        <pc:chgData name="Niittymies Aleksi" userId="00c1d702-9a1a-46cb-9bcd-5368d837961b" providerId="ADAL" clId="{A41CC034-EC84-4F05-A9F8-9D0A4747319C}" dt="2023-10-20T11:55:13.895" v="1860" actId="47"/>
        <pc:sldMkLst>
          <pc:docMk/>
          <pc:sldMk cId="630532044" sldId="6509"/>
        </pc:sldMkLst>
        <pc:spChg chg="mod">
          <ac:chgData name="Niittymies Aleksi" userId="00c1d702-9a1a-46cb-9bcd-5368d837961b" providerId="ADAL" clId="{A41CC034-EC84-4F05-A9F8-9D0A4747319C}" dt="2023-10-20T11:53:51.052" v="1849" actId="20577"/>
          <ac:spMkLst>
            <pc:docMk/>
            <pc:sldMk cId="630532044" sldId="6509"/>
            <ac:spMk id="6" creationId="{CA37F30B-0C15-4C20-B203-B86996A28ECF}"/>
          </ac:spMkLst>
        </pc:spChg>
        <pc:picChg chg="add del mod">
          <ac:chgData name="Niittymies Aleksi" userId="00c1d702-9a1a-46cb-9bcd-5368d837961b" providerId="ADAL" clId="{A41CC034-EC84-4F05-A9F8-9D0A4747319C}" dt="2023-10-20T11:55:02.083" v="1855" actId="21"/>
          <ac:picMkLst>
            <pc:docMk/>
            <pc:sldMk cId="630532044" sldId="6509"/>
            <ac:picMk id="2" creationId="{0AA295A0-DD40-76C6-F635-9EAC162809E2}"/>
          </ac:picMkLst>
        </pc:picChg>
      </pc:sldChg>
      <pc:sldChg chg="addSp delSp modSp add mod modClrScheme chgLayout">
        <pc:chgData name="Niittymies Aleksi" userId="00c1d702-9a1a-46cb-9bcd-5368d837961b" providerId="ADAL" clId="{A41CC034-EC84-4F05-A9F8-9D0A4747319C}" dt="2023-10-20T12:51:06.900" v="1988" actId="404"/>
        <pc:sldMkLst>
          <pc:docMk/>
          <pc:sldMk cId="921956387" sldId="6509"/>
        </pc:sldMkLst>
        <pc:spChg chg="add del mod">
          <ac:chgData name="Niittymies Aleksi" userId="00c1d702-9a1a-46cb-9bcd-5368d837961b" providerId="ADAL" clId="{A41CC034-EC84-4F05-A9F8-9D0A4747319C}" dt="2023-10-20T12:50:41.896" v="1980" actId="21"/>
          <ac:spMkLst>
            <pc:docMk/>
            <pc:sldMk cId="921956387" sldId="6509"/>
            <ac:spMk id="3" creationId="{BEB826C6-44C1-3F38-AFFC-E4F66C7ABB67}"/>
          </ac:spMkLst>
        </pc:spChg>
        <pc:spChg chg="add del mod">
          <ac:chgData name="Niittymies Aleksi" userId="00c1d702-9a1a-46cb-9bcd-5368d837961b" providerId="ADAL" clId="{A41CC034-EC84-4F05-A9F8-9D0A4747319C}" dt="2023-10-20T12:49:29.637" v="1963"/>
          <ac:spMkLst>
            <pc:docMk/>
            <pc:sldMk cId="921956387" sldId="6509"/>
            <ac:spMk id="4" creationId="{AEA8EA50-E3D2-9438-FDC2-F14CBA39B26F}"/>
          </ac:spMkLst>
        </pc:spChg>
        <pc:spChg chg="del mod">
          <ac:chgData name="Niittymies Aleksi" userId="00c1d702-9a1a-46cb-9bcd-5368d837961b" providerId="ADAL" clId="{A41CC034-EC84-4F05-A9F8-9D0A4747319C}" dt="2023-10-20T12:50:59.254" v="1985" actId="478"/>
          <ac:spMkLst>
            <pc:docMk/>
            <pc:sldMk cId="921956387" sldId="6509"/>
            <ac:spMk id="5" creationId="{4E79B233-C263-4355-BEE2-6A4CD1ED5B59}"/>
          </ac:spMkLst>
        </pc:spChg>
        <pc:spChg chg="add del mod">
          <ac:chgData name="Niittymies Aleksi" userId="00c1d702-9a1a-46cb-9bcd-5368d837961b" providerId="ADAL" clId="{A41CC034-EC84-4F05-A9F8-9D0A4747319C}" dt="2023-10-20T12:50:48.445" v="1981" actId="26606"/>
          <ac:spMkLst>
            <pc:docMk/>
            <pc:sldMk cId="921956387" sldId="6509"/>
            <ac:spMk id="6" creationId="{CA37F30B-0C15-4C20-B203-B86996A28ECF}"/>
          </ac:spMkLst>
        </pc:spChg>
        <pc:spChg chg="add del">
          <ac:chgData name="Niittymies Aleksi" userId="00c1d702-9a1a-46cb-9bcd-5368d837961b" providerId="ADAL" clId="{A41CC034-EC84-4F05-A9F8-9D0A4747319C}" dt="2023-10-20T12:50:38.688" v="1978" actId="22"/>
          <ac:spMkLst>
            <pc:docMk/>
            <pc:sldMk cId="921956387" sldId="6509"/>
            <ac:spMk id="8" creationId="{886F3786-6B8C-60D8-7A32-3E8079CD407B}"/>
          </ac:spMkLst>
        </pc:spChg>
        <pc:spChg chg="add mod">
          <ac:chgData name="Niittymies Aleksi" userId="00c1d702-9a1a-46cb-9bcd-5368d837961b" providerId="ADAL" clId="{A41CC034-EC84-4F05-A9F8-9D0A4747319C}" dt="2023-10-20T12:50:50.321" v="1982"/>
          <ac:spMkLst>
            <pc:docMk/>
            <pc:sldMk cId="921956387" sldId="6509"/>
            <ac:spMk id="9" creationId="{719B780C-B20C-A6D9-B94F-333D0A75A2B9}"/>
          </ac:spMkLst>
        </pc:spChg>
        <pc:spChg chg="mod modVis">
          <ac:chgData name="Niittymies Aleksi" userId="00c1d702-9a1a-46cb-9bcd-5368d837961b" providerId="ADAL" clId="{A41CC034-EC84-4F05-A9F8-9D0A4747319C}" dt="2023-10-20T12:50:48.445" v="1981" actId="26606"/>
          <ac:spMkLst>
            <pc:docMk/>
            <pc:sldMk cId="921956387" sldId="6509"/>
            <ac:spMk id="162818" creationId="{4AF7E206-83A6-4CF2-9358-B1234F00AF45}"/>
          </ac:spMkLst>
        </pc:spChg>
        <pc:spChg chg="add mod">
          <ac:chgData name="Niittymies Aleksi" userId="00c1d702-9a1a-46cb-9bcd-5368d837961b" providerId="ADAL" clId="{A41CC034-EC84-4F05-A9F8-9D0A4747319C}" dt="2023-10-20T12:51:06.900" v="1988" actId="404"/>
          <ac:spMkLst>
            <pc:docMk/>
            <pc:sldMk cId="921956387" sldId="6509"/>
            <ac:spMk id="162823" creationId="{8D49ECDF-864D-1B71-9B43-65FAF541D334}"/>
          </ac:spMkLst>
        </pc:spChg>
        <pc:spChg chg="add del mod">
          <ac:chgData name="Niittymies Aleksi" userId="00c1d702-9a1a-46cb-9bcd-5368d837961b" providerId="ADAL" clId="{A41CC034-EC84-4F05-A9F8-9D0A4747319C}" dt="2023-10-20T12:50:30.232" v="1974" actId="26606"/>
          <ac:spMkLst>
            <pc:docMk/>
            <pc:sldMk cId="921956387" sldId="6509"/>
            <ac:spMk id="162824" creationId="{7647CFC7-18F3-E940-7357-1133355AB249}"/>
          </ac:spMkLst>
        </pc:spChg>
        <pc:graphicFrameChg chg="add del">
          <ac:chgData name="Niittymies Aleksi" userId="00c1d702-9a1a-46cb-9bcd-5368d837961b" providerId="ADAL" clId="{A41CC034-EC84-4F05-A9F8-9D0A4747319C}" dt="2023-10-20T12:49:45.936" v="1968" actId="26606"/>
          <ac:graphicFrameMkLst>
            <pc:docMk/>
            <pc:sldMk cId="921956387" sldId="6509"/>
            <ac:graphicFrameMk id="162820" creationId="{FA9365D7-9FD2-2F2D-941A-F5BD9788AE87}"/>
          </ac:graphicFrameMkLst>
        </pc:graphicFrameChg>
        <pc:graphicFrameChg chg="add del">
          <ac:chgData name="Niittymies Aleksi" userId="00c1d702-9a1a-46cb-9bcd-5368d837961b" providerId="ADAL" clId="{A41CC034-EC84-4F05-A9F8-9D0A4747319C}" dt="2023-10-20T12:50:12.109" v="1970" actId="26606"/>
          <ac:graphicFrameMkLst>
            <pc:docMk/>
            <pc:sldMk cId="921956387" sldId="6509"/>
            <ac:graphicFrameMk id="162821" creationId="{6A0384E1-3575-2C77-C4C8-6688A4576DFD}"/>
          </ac:graphicFrameMkLst>
        </pc:graphicFrameChg>
        <pc:graphicFrameChg chg="add del">
          <ac:chgData name="Niittymies Aleksi" userId="00c1d702-9a1a-46cb-9bcd-5368d837961b" providerId="ADAL" clId="{A41CC034-EC84-4F05-A9F8-9D0A4747319C}" dt="2023-10-20T12:50:30.232" v="1974" actId="26606"/>
          <ac:graphicFrameMkLst>
            <pc:docMk/>
            <pc:sldMk cId="921956387" sldId="6509"/>
            <ac:graphicFrameMk id="162822" creationId="{0363B3FF-AA7D-9BD6-03BD-49670F849A08}"/>
          </ac:graphicFrameMkLst>
        </pc:graphicFrameChg>
        <pc:graphicFrameChg chg="add">
          <ac:chgData name="Niittymies Aleksi" userId="00c1d702-9a1a-46cb-9bcd-5368d837961b" providerId="ADAL" clId="{A41CC034-EC84-4F05-A9F8-9D0A4747319C}" dt="2023-10-20T12:50:48.445" v="1981" actId="26606"/>
          <ac:graphicFrameMkLst>
            <pc:docMk/>
            <pc:sldMk cId="921956387" sldId="6509"/>
            <ac:graphicFrameMk id="162825" creationId="{5FD9EF2F-7345-AE5F-885E-2E3DE927AE81}"/>
          </ac:graphicFrameMkLst>
        </pc:graphicFrameChg>
        <pc:picChg chg="del">
          <ac:chgData name="Niittymies Aleksi" userId="00c1d702-9a1a-46cb-9bcd-5368d837961b" providerId="ADAL" clId="{A41CC034-EC84-4F05-A9F8-9D0A4747319C}" dt="2023-10-20T12:46:08.016" v="1956" actId="478"/>
          <ac:picMkLst>
            <pc:docMk/>
            <pc:sldMk cId="921956387" sldId="6509"/>
            <ac:picMk id="2" creationId="{2FFE3E07-AE90-EF6C-0CAE-5215CAC4A812}"/>
          </ac:picMkLst>
        </pc:picChg>
      </pc:sldChg>
      <pc:sldChg chg="addSp delSp modSp add mod ord">
        <pc:chgData name="Niittymies Aleksi" userId="00c1d702-9a1a-46cb-9bcd-5368d837961b" providerId="ADAL" clId="{A41CC034-EC84-4F05-A9F8-9D0A4747319C}" dt="2023-10-24T10:01:07.146" v="2609" actId="20577"/>
        <pc:sldMkLst>
          <pc:docMk/>
          <pc:sldMk cId="2515855588" sldId="6510"/>
        </pc:sldMkLst>
        <pc:spChg chg="mod">
          <ac:chgData name="Niittymies Aleksi" userId="00c1d702-9a1a-46cb-9bcd-5368d837961b" providerId="ADAL" clId="{A41CC034-EC84-4F05-A9F8-9D0A4747319C}" dt="2023-10-21T16:38:12.405" v="2108" actId="20577"/>
          <ac:spMkLst>
            <pc:docMk/>
            <pc:sldMk cId="2515855588" sldId="6510"/>
            <ac:spMk id="5" creationId="{4E79B233-C263-4355-BEE2-6A4CD1ED5B59}"/>
          </ac:spMkLst>
        </pc:spChg>
        <pc:spChg chg="mod">
          <ac:chgData name="Niittymies Aleksi" userId="00c1d702-9a1a-46cb-9bcd-5368d837961b" providerId="ADAL" clId="{A41CC034-EC84-4F05-A9F8-9D0A4747319C}" dt="2023-10-24T10:01:07.146" v="2609" actId="20577"/>
          <ac:spMkLst>
            <pc:docMk/>
            <pc:sldMk cId="2515855588" sldId="6510"/>
            <ac:spMk id="6" creationId="{CA37F30B-0C15-4C20-B203-B86996A28ECF}"/>
          </ac:spMkLst>
        </pc:spChg>
        <pc:picChg chg="del">
          <ac:chgData name="Niittymies Aleksi" userId="00c1d702-9a1a-46cb-9bcd-5368d837961b" providerId="ADAL" clId="{A41CC034-EC84-4F05-A9F8-9D0A4747319C}" dt="2023-10-21T16:40:50.018" v="2211" actId="478"/>
          <ac:picMkLst>
            <pc:docMk/>
            <pc:sldMk cId="2515855588" sldId="6510"/>
            <ac:picMk id="2052" creationId="{E53BAE7D-1C1F-CE8A-3D13-565813B0A731}"/>
          </ac:picMkLst>
        </pc:picChg>
        <pc:picChg chg="add mod">
          <ac:chgData name="Niittymies Aleksi" userId="00c1d702-9a1a-46cb-9bcd-5368d837961b" providerId="ADAL" clId="{A41CC034-EC84-4F05-A9F8-9D0A4747319C}" dt="2023-10-21T16:40:56.737" v="2214" actId="1076"/>
          <ac:picMkLst>
            <pc:docMk/>
            <pc:sldMk cId="2515855588" sldId="6510"/>
            <ac:picMk id="6146" creationId="{4AB4B213-1ECE-5E4B-11E2-16AD30D9C7E6}"/>
          </ac:picMkLst>
        </pc:picChg>
      </pc:sldChg>
      <pc:sldChg chg="modSp add mod ord">
        <pc:chgData name="Niittymies Aleksi" userId="00c1d702-9a1a-46cb-9bcd-5368d837961b" providerId="ADAL" clId="{A41CC034-EC84-4F05-A9F8-9D0A4747319C}" dt="2023-10-21T17:14:12.708" v="2389" actId="113"/>
        <pc:sldMkLst>
          <pc:docMk/>
          <pc:sldMk cId="2555860637" sldId="6511"/>
        </pc:sldMkLst>
        <pc:spChg chg="mod">
          <ac:chgData name="Niittymies Aleksi" userId="00c1d702-9a1a-46cb-9bcd-5368d837961b" providerId="ADAL" clId="{A41CC034-EC84-4F05-A9F8-9D0A4747319C}" dt="2023-10-21T17:14:12.708" v="2389" actId="113"/>
          <ac:spMkLst>
            <pc:docMk/>
            <pc:sldMk cId="2555860637" sldId="6511"/>
            <ac:spMk id="3" creationId="{CF3F630B-0F73-483A-838D-6B23394D1B86}"/>
          </ac:spMkLst>
        </pc:spChg>
      </pc:sldChg>
      <pc:sldChg chg="modSp mod">
        <pc:chgData name="Niittymies Aleksi" userId="00c1d702-9a1a-46cb-9bcd-5368d837961b" providerId="ADAL" clId="{A41CC034-EC84-4F05-A9F8-9D0A4747319C}" dt="2023-10-21T17:14:08.181" v="2388" actId="113"/>
        <pc:sldMkLst>
          <pc:docMk/>
          <pc:sldMk cId="3919083279" sldId="6512"/>
        </pc:sldMkLst>
        <pc:spChg chg="mod">
          <ac:chgData name="Niittymies Aleksi" userId="00c1d702-9a1a-46cb-9bcd-5368d837961b" providerId="ADAL" clId="{A41CC034-EC84-4F05-A9F8-9D0A4747319C}" dt="2023-10-21T17:14:08.181" v="2388" actId="113"/>
          <ac:spMkLst>
            <pc:docMk/>
            <pc:sldMk cId="3919083279" sldId="6512"/>
            <ac:spMk id="3" creationId="{CF3F630B-0F73-483A-838D-6B23394D1B86}"/>
          </ac:spMkLst>
        </pc:spChg>
      </pc:sldChg>
      <pc:sldChg chg="modSp new del mod ord">
        <pc:chgData name="Niittymies Aleksi" userId="00c1d702-9a1a-46cb-9bcd-5368d837961b" providerId="ADAL" clId="{A41CC034-EC84-4F05-A9F8-9D0A4747319C}" dt="2023-10-24T11:20:13.742" v="3403" actId="47"/>
        <pc:sldMkLst>
          <pc:docMk/>
          <pc:sldMk cId="1967199844" sldId="6513"/>
        </pc:sldMkLst>
        <pc:spChg chg="mod">
          <ac:chgData name="Niittymies Aleksi" userId="00c1d702-9a1a-46cb-9bcd-5368d837961b" providerId="ADAL" clId="{A41CC034-EC84-4F05-A9F8-9D0A4747319C}" dt="2023-10-24T10:56:02.703" v="3267" actId="20577"/>
          <ac:spMkLst>
            <pc:docMk/>
            <pc:sldMk cId="1967199844" sldId="6513"/>
            <ac:spMk id="2" creationId="{9029C6A4-7A8C-6AF4-5F9F-07E4556F4C87}"/>
          </ac:spMkLst>
        </pc:spChg>
        <pc:spChg chg="mod">
          <ac:chgData name="Niittymies Aleksi" userId="00c1d702-9a1a-46cb-9bcd-5368d837961b" providerId="ADAL" clId="{A41CC034-EC84-4F05-A9F8-9D0A4747319C}" dt="2023-10-24T10:46:55.696" v="3247" actId="20577"/>
          <ac:spMkLst>
            <pc:docMk/>
            <pc:sldMk cId="1967199844" sldId="6513"/>
            <ac:spMk id="3" creationId="{C865C307-4642-1086-F418-BAA073798823}"/>
          </ac:spMkLst>
        </pc:spChg>
      </pc:sldChg>
      <pc:sldChg chg="addSp delSp modSp add mod ord">
        <pc:chgData name="Niittymies Aleksi" userId="00c1d702-9a1a-46cb-9bcd-5368d837961b" providerId="ADAL" clId="{A41CC034-EC84-4F05-A9F8-9D0A4747319C}" dt="2023-10-24T09:56:04.337" v="2516" actId="13822"/>
        <pc:sldMkLst>
          <pc:docMk/>
          <pc:sldMk cId="858044239" sldId="6514"/>
        </pc:sldMkLst>
        <pc:spChg chg="add del mod">
          <ac:chgData name="Niittymies Aleksi" userId="00c1d702-9a1a-46cb-9bcd-5368d837961b" providerId="ADAL" clId="{A41CC034-EC84-4F05-A9F8-9D0A4747319C}" dt="2023-10-24T09:53:33.565" v="2439" actId="478"/>
          <ac:spMkLst>
            <pc:docMk/>
            <pc:sldMk cId="858044239" sldId="6514"/>
            <ac:spMk id="3" creationId="{043D56DF-FFF3-4F63-F76A-3E60D5E08B26}"/>
          </ac:spMkLst>
        </pc:spChg>
        <pc:spChg chg="add mod">
          <ac:chgData name="Niittymies Aleksi" userId="00c1d702-9a1a-46cb-9bcd-5368d837961b" providerId="ADAL" clId="{A41CC034-EC84-4F05-A9F8-9D0A4747319C}" dt="2023-10-24T09:54:14.436" v="2469" actId="1076"/>
          <ac:spMkLst>
            <pc:docMk/>
            <pc:sldMk cId="858044239" sldId="6514"/>
            <ac:spMk id="4" creationId="{48C8DD5A-826D-61ED-E8A6-69F598C77030}"/>
          </ac:spMkLst>
        </pc:spChg>
        <pc:spChg chg="mod">
          <ac:chgData name="Niittymies Aleksi" userId="00c1d702-9a1a-46cb-9bcd-5368d837961b" providerId="ADAL" clId="{A41CC034-EC84-4F05-A9F8-9D0A4747319C}" dt="2023-10-24T09:55:51.359" v="2514" actId="20577"/>
          <ac:spMkLst>
            <pc:docMk/>
            <pc:sldMk cId="858044239" sldId="6514"/>
            <ac:spMk id="5" creationId="{4E79B233-C263-4355-BEE2-6A4CD1ED5B59}"/>
          </ac:spMkLst>
        </pc:spChg>
        <pc:spChg chg="del">
          <ac:chgData name="Niittymies Aleksi" userId="00c1d702-9a1a-46cb-9bcd-5368d837961b" providerId="ADAL" clId="{A41CC034-EC84-4F05-A9F8-9D0A4747319C}" dt="2023-10-24T09:53:31.287" v="2438" actId="478"/>
          <ac:spMkLst>
            <pc:docMk/>
            <pc:sldMk cId="858044239" sldId="6514"/>
            <ac:spMk id="6" creationId="{CA37F30B-0C15-4C20-B203-B86996A28ECF}"/>
          </ac:spMkLst>
        </pc:spChg>
        <pc:spChg chg="add mod">
          <ac:chgData name="Niittymies Aleksi" userId="00c1d702-9a1a-46cb-9bcd-5368d837961b" providerId="ADAL" clId="{A41CC034-EC84-4F05-A9F8-9D0A4747319C}" dt="2023-10-24T09:54:17.405" v="2470" actId="1076"/>
          <ac:spMkLst>
            <pc:docMk/>
            <pc:sldMk cId="858044239" sldId="6514"/>
            <ac:spMk id="7" creationId="{DD0AA779-BA7E-8E8C-97DD-A073A6DAFC0F}"/>
          </ac:spMkLst>
        </pc:spChg>
        <pc:spChg chg="add mod">
          <ac:chgData name="Niittymies Aleksi" userId="00c1d702-9a1a-46cb-9bcd-5368d837961b" providerId="ADAL" clId="{A41CC034-EC84-4F05-A9F8-9D0A4747319C}" dt="2023-10-24T09:54:34.124" v="2475" actId="1076"/>
          <ac:spMkLst>
            <pc:docMk/>
            <pc:sldMk cId="858044239" sldId="6514"/>
            <ac:spMk id="8" creationId="{3ABF3AD3-D6FA-473C-0585-8F9BC68E85A0}"/>
          </ac:spMkLst>
        </pc:spChg>
        <pc:spChg chg="add mod">
          <ac:chgData name="Niittymies Aleksi" userId="00c1d702-9a1a-46cb-9bcd-5368d837961b" providerId="ADAL" clId="{A41CC034-EC84-4F05-A9F8-9D0A4747319C}" dt="2023-10-24T09:54:47.493" v="2479" actId="1076"/>
          <ac:spMkLst>
            <pc:docMk/>
            <pc:sldMk cId="858044239" sldId="6514"/>
            <ac:spMk id="9" creationId="{58456D8E-260B-C4BE-7082-21D63BBE01EF}"/>
          </ac:spMkLst>
        </pc:spChg>
        <pc:spChg chg="add mod">
          <ac:chgData name="Niittymies Aleksi" userId="00c1d702-9a1a-46cb-9bcd-5368d837961b" providerId="ADAL" clId="{A41CC034-EC84-4F05-A9F8-9D0A4747319C}" dt="2023-10-24T09:55:17.572" v="2485" actId="1076"/>
          <ac:spMkLst>
            <pc:docMk/>
            <pc:sldMk cId="858044239" sldId="6514"/>
            <ac:spMk id="10" creationId="{B09B7AF3-0782-85BF-19E6-C7A39599912A}"/>
          </ac:spMkLst>
        </pc:spChg>
        <pc:spChg chg="add mod">
          <ac:chgData name="Niittymies Aleksi" userId="00c1d702-9a1a-46cb-9bcd-5368d837961b" providerId="ADAL" clId="{A41CC034-EC84-4F05-A9F8-9D0A4747319C}" dt="2023-10-24T09:55:35.979" v="2498" actId="1076"/>
          <ac:spMkLst>
            <pc:docMk/>
            <pc:sldMk cId="858044239" sldId="6514"/>
            <ac:spMk id="11" creationId="{598070D3-77BA-919A-7763-DAAAD97B05B8}"/>
          </ac:spMkLst>
        </pc:spChg>
        <pc:cxnChg chg="add mod">
          <ac:chgData name="Niittymies Aleksi" userId="00c1d702-9a1a-46cb-9bcd-5368d837961b" providerId="ADAL" clId="{A41CC034-EC84-4F05-A9F8-9D0A4747319C}" dt="2023-10-24T09:56:04.337" v="2516" actId="13822"/>
          <ac:cxnSpMkLst>
            <pc:docMk/>
            <pc:sldMk cId="858044239" sldId="6514"/>
            <ac:cxnSpMk id="13" creationId="{D21EE9D0-FE12-EF0A-1EEA-C7DF782DC30E}"/>
          </ac:cxnSpMkLst>
        </pc:cxnChg>
      </pc:sldChg>
      <pc:sldChg chg="add">
        <pc:chgData name="Niittymies Aleksi" userId="00c1d702-9a1a-46cb-9bcd-5368d837961b" providerId="ADAL" clId="{A41CC034-EC84-4F05-A9F8-9D0A4747319C}" dt="2023-10-24T09:56:55.549" v="2517" actId="2890"/>
        <pc:sldMkLst>
          <pc:docMk/>
          <pc:sldMk cId="1404594552" sldId="6515"/>
        </pc:sldMkLst>
      </pc:sldChg>
      <pc:sldChg chg="modSp mod">
        <pc:chgData name="Niittymies Aleksi" userId="00c1d702-9a1a-46cb-9bcd-5368d837961b" providerId="ADAL" clId="{A41CC034-EC84-4F05-A9F8-9D0A4747319C}" dt="2023-10-24T10:53:43.342" v="3255" actId="20577"/>
        <pc:sldMkLst>
          <pc:docMk/>
          <pc:sldMk cId="136992191" sldId="6516"/>
        </pc:sldMkLst>
        <pc:spChg chg="mod">
          <ac:chgData name="Niittymies Aleksi" userId="00c1d702-9a1a-46cb-9bcd-5368d837961b" providerId="ADAL" clId="{A41CC034-EC84-4F05-A9F8-9D0A4747319C}" dt="2023-10-24T10:53:43.342" v="3255" actId="20577"/>
          <ac:spMkLst>
            <pc:docMk/>
            <pc:sldMk cId="136992191" sldId="6516"/>
            <ac:spMk id="2" creationId="{B653D250-3593-433D-BC0B-4883CB4A6561}"/>
          </ac:spMkLst>
        </pc:spChg>
        <pc:spChg chg="mod">
          <ac:chgData name="Niittymies Aleksi" userId="00c1d702-9a1a-46cb-9bcd-5368d837961b" providerId="ADAL" clId="{A41CC034-EC84-4F05-A9F8-9D0A4747319C}" dt="2023-10-24T10:53:33.121" v="3248" actId="20577"/>
          <ac:spMkLst>
            <pc:docMk/>
            <pc:sldMk cId="136992191" sldId="6516"/>
            <ac:spMk id="3" creationId="{8AD6F6D3-B529-FEF4-23CF-BB7CAD464E72}"/>
          </ac:spMkLst>
        </pc:spChg>
      </pc:sldChg>
      <pc:sldChg chg="add">
        <pc:chgData name="Niittymies Aleksi" userId="00c1d702-9a1a-46cb-9bcd-5368d837961b" providerId="ADAL" clId="{A41CC034-EC84-4F05-A9F8-9D0A4747319C}" dt="2023-10-24T11:30:41.990" v="3406" actId="2890"/>
        <pc:sldMkLst>
          <pc:docMk/>
          <pc:sldMk cId="1134950752" sldId="6517"/>
        </pc:sldMkLst>
      </pc:sldChg>
      <pc:sldChg chg="new del">
        <pc:chgData name="Niittymies Aleksi" userId="00c1d702-9a1a-46cb-9bcd-5368d837961b" providerId="ADAL" clId="{A41CC034-EC84-4F05-A9F8-9D0A4747319C}" dt="2023-10-24T10:46:02.425" v="3145" actId="680"/>
        <pc:sldMkLst>
          <pc:docMk/>
          <pc:sldMk cId="3307148360" sldId="6517"/>
        </pc:sldMkLst>
      </pc:sldChg>
      <pc:sldMasterChg chg="delSldLayout">
        <pc:chgData name="Niittymies Aleksi" userId="00c1d702-9a1a-46cb-9bcd-5368d837961b" providerId="ADAL" clId="{A41CC034-EC84-4F05-A9F8-9D0A4747319C}" dt="2023-10-19T13:31:15.622" v="418" actId="47"/>
        <pc:sldMasterMkLst>
          <pc:docMk/>
          <pc:sldMasterMk cId="1833754440" sldId="2147483648"/>
        </pc:sldMasterMkLst>
        <pc:sldLayoutChg chg="del">
          <pc:chgData name="Niittymies Aleksi" userId="00c1d702-9a1a-46cb-9bcd-5368d837961b" providerId="ADAL" clId="{A41CC034-EC84-4F05-A9F8-9D0A4747319C}" dt="2023-10-19T13:31:15.622" v="418" actId="47"/>
          <pc:sldLayoutMkLst>
            <pc:docMk/>
            <pc:sldMasterMk cId="1833754440" sldId="2147483648"/>
            <pc:sldLayoutMk cId="932657662" sldId="2147483959"/>
          </pc:sldLayoutMkLst>
        </pc:sldLayoutChg>
      </pc:sldMasterChg>
      <pc:sldMasterChg chg="del delSldLayout">
        <pc:chgData name="Niittymies Aleksi" userId="00c1d702-9a1a-46cb-9bcd-5368d837961b" providerId="ADAL" clId="{A41CC034-EC84-4F05-A9F8-9D0A4747319C}" dt="2023-10-20T11:56:59.580" v="1864" actId="47"/>
        <pc:sldMasterMkLst>
          <pc:docMk/>
          <pc:sldMasterMk cId="2128680520" sldId="2147483808"/>
        </pc:sldMasterMkLst>
        <pc:sldLayoutChg chg="del">
          <pc:chgData name="Niittymies Aleksi" userId="00c1d702-9a1a-46cb-9bcd-5368d837961b" providerId="ADAL" clId="{A41CC034-EC84-4F05-A9F8-9D0A4747319C}" dt="2023-10-20T11:56:59.580" v="1864" actId="47"/>
          <pc:sldLayoutMkLst>
            <pc:docMk/>
            <pc:sldMasterMk cId="2128680520" sldId="2147483808"/>
            <pc:sldLayoutMk cId="2773566124" sldId="2147483809"/>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395576264" sldId="2147483810"/>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4035902131" sldId="2147483811"/>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543085427" sldId="2147483812"/>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613983384" sldId="2147483813"/>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2916986106" sldId="2147483814"/>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217317879" sldId="2147483815"/>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791165654" sldId="2147483816"/>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755247155" sldId="2147483817"/>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335179643" sldId="2147483818"/>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892244798" sldId="2147483819"/>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820901019" sldId="2147483820"/>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4122615128" sldId="2147483821"/>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913652274" sldId="2147483822"/>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574038118" sldId="2147483823"/>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788517514" sldId="2147483824"/>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2549676743" sldId="2147483825"/>
          </pc:sldLayoutMkLst>
        </pc:sldLayoutChg>
      </pc:sldMasterChg>
      <pc:sldMasterChg chg="del delSldLayout">
        <pc:chgData name="Niittymies Aleksi" userId="00c1d702-9a1a-46cb-9bcd-5368d837961b" providerId="ADAL" clId="{A41CC034-EC84-4F05-A9F8-9D0A4747319C}" dt="2023-10-20T10:50:23.880" v="1529" actId="47"/>
        <pc:sldMasterMkLst>
          <pc:docMk/>
          <pc:sldMasterMk cId="601211621" sldId="2147483972"/>
        </pc:sldMasterMkLst>
        <pc:sldLayoutChg chg="del">
          <pc:chgData name="Niittymies Aleksi" userId="00c1d702-9a1a-46cb-9bcd-5368d837961b" providerId="ADAL" clId="{A41CC034-EC84-4F05-A9F8-9D0A4747319C}" dt="2023-10-20T10:50:23.880" v="1529" actId="47"/>
          <pc:sldLayoutMkLst>
            <pc:docMk/>
            <pc:sldMasterMk cId="601211621" sldId="2147483972"/>
            <pc:sldLayoutMk cId="2600915629" sldId="2147483973"/>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483642602" sldId="2147483974"/>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535448243" sldId="2147483975"/>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998359787" sldId="2147483976"/>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936430377" sldId="2147483977"/>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1734497244" sldId="2147483978"/>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825855443" sldId="2147483979"/>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451874781" sldId="2147483980"/>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657020543" sldId="2147483981"/>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437075183" sldId="2147483982"/>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773949815" sldId="2147483983"/>
          </pc:sldLayoutMkLst>
        </pc:sldLayoutChg>
      </pc:sldMasterChg>
    </pc:docChg>
  </pc:docChgLst>
  <pc:docChgLst>
    <pc:chgData name="Niittymies Aleksi" userId="00c1d702-9a1a-46cb-9bcd-5368d837961b" providerId="ADAL" clId="{B5FDD507-75F5-4960-970E-D1799A0CCE37}"/>
    <pc:docChg chg="undo custSel addSld delSld modSld sldOrd delMainMaster">
      <pc:chgData name="Niittymies Aleksi" userId="00c1d702-9a1a-46cb-9bcd-5368d837961b" providerId="ADAL" clId="{B5FDD507-75F5-4960-970E-D1799A0CCE37}" dt="2023-10-30T16:07:55.240" v="98" actId="14734"/>
      <pc:docMkLst>
        <pc:docMk/>
      </pc:docMkLst>
      <pc:sldChg chg="modSp mod">
        <pc:chgData name="Niittymies Aleksi" userId="00c1d702-9a1a-46cb-9bcd-5368d837961b" providerId="ADAL" clId="{B5FDD507-75F5-4960-970E-D1799A0CCE37}" dt="2023-10-30T15:43:13.362" v="34" actId="6549"/>
        <pc:sldMkLst>
          <pc:docMk/>
          <pc:sldMk cId="4022952943" sldId="259"/>
        </pc:sldMkLst>
        <pc:spChg chg="mod">
          <ac:chgData name="Niittymies Aleksi" userId="00c1d702-9a1a-46cb-9bcd-5368d837961b" providerId="ADAL" clId="{B5FDD507-75F5-4960-970E-D1799A0CCE37}" dt="2023-10-30T15:43:05.891" v="21" actId="20577"/>
          <ac:spMkLst>
            <pc:docMk/>
            <pc:sldMk cId="4022952943" sldId="259"/>
            <ac:spMk id="3" creationId="{8A46F9C8-1964-44D9-B1CD-B6CEC744D5F3}"/>
          </ac:spMkLst>
        </pc:spChg>
        <pc:spChg chg="mod">
          <ac:chgData name="Niittymies Aleksi" userId="00c1d702-9a1a-46cb-9bcd-5368d837961b" providerId="ADAL" clId="{B5FDD507-75F5-4960-970E-D1799A0CCE37}" dt="2023-10-30T15:43:13.362" v="34" actId="6549"/>
          <ac:spMkLst>
            <pc:docMk/>
            <pc:sldMk cId="4022952943" sldId="259"/>
            <ac:spMk id="5" creationId="{14D9E3F0-1051-411B-B4E8-74150CD2A556}"/>
          </ac:spMkLst>
        </pc:spChg>
      </pc:sldChg>
      <pc:sldChg chg="del">
        <pc:chgData name="Niittymies Aleksi" userId="00c1d702-9a1a-46cb-9bcd-5368d837961b" providerId="ADAL" clId="{B5FDD507-75F5-4960-970E-D1799A0CCE37}" dt="2023-10-30T15:42:10.341" v="3" actId="47"/>
        <pc:sldMkLst>
          <pc:docMk/>
          <pc:sldMk cId="2683116071" sldId="288"/>
        </pc:sldMkLst>
      </pc:sldChg>
      <pc:sldChg chg="modSp mod">
        <pc:chgData name="Niittymies Aleksi" userId="00c1d702-9a1a-46cb-9bcd-5368d837961b" providerId="ADAL" clId="{B5FDD507-75F5-4960-970E-D1799A0CCE37}" dt="2023-10-30T15:54:31.983" v="56" actId="20577"/>
        <pc:sldMkLst>
          <pc:docMk/>
          <pc:sldMk cId="2555860637" sldId="6511"/>
        </pc:sldMkLst>
        <pc:spChg chg="mod">
          <ac:chgData name="Niittymies Aleksi" userId="00c1d702-9a1a-46cb-9bcd-5368d837961b" providerId="ADAL" clId="{B5FDD507-75F5-4960-970E-D1799A0CCE37}" dt="2023-10-30T15:54:31.983" v="56" actId="20577"/>
          <ac:spMkLst>
            <pc:docMk/>
            <pc:sldMk cId="2555860637" sldId="6511"/>
            <ac:spMk id="3" creationId="{CF3F630B-0F73-483A-838D-6B23394D1B86}"/>
          </ac:spMkLst>
        </pc:spChg>
      </pc:sldChg>
      <pc:sldChg chg="del">
        <pc:chgData name="Niittymies Aleksi" userId="00c1d702-9a1a-46cb-9bcd-5368d837961b" providerId="ADAL" clId="{B5FDD507-75F5-4960-970E-D1799A0CCE37}" dt="2023-10-30T15:41:41.995" v="0" actId="47"/>
        <pc:sldMkLst>
          <pc:docMk/>
          <pc:sldMk cId="858044239" sldId="6514"/>
        </pc:sldMkLst>
      </pc:sldChg>
      <pc:sldChg chg="del">
        <pc:chgData name="Niittymies Aleksi" userId="00c1d702-9a1a-46cb-9bcd-5368d837961b" providerId="ADAL" clId="{B5FDD507-75F5-4960-970E-D1799A0CCE37}" dt="2023-10-30T15:54:17.408" v="38" actId="47"/>
        <pc:sldMkLst>
          <pc:docMk/>
          <pc:sldMk cId="1134950752" sldId="6517"/>
        </pc:sldMkLst>
      </pc:sldChg>
      <pc:sldChg chg="add del">
        <pc:chgData name="Niittymies Aleksi" userId="00c1d702-9a1a-46cb-9bcd-5368d837961b" providerId="ADAL" clId="{B5FDD507-75F5-4960-970E-D1799A0CCE37}" dt="2023-10-30T15:42:06.991" v="2" actId="47"/>
        <pc:sldMkLst>
          <pc:docMk/>
          <pc:sldMk cId="3262308052" sldId="6518"/>
        </pc:sldMkLst>
      </pc:sldChg>
      <pc:sldChg chg="addSp modSp mod ord">
        <pc:chgData name="Niittymies Aleksi" userId="00c1d702-9a1a-46cb-9bcd-5368d837961b" providerId="ADAL" clId="{B5FDD507-75F5-4960-970E-D1799A0CCE37}" dt="2023-10-30T16:07:55.240" v="98" actId="14734"/>
        <pc:sldMkLst>
          <pc:docMk/>
          <pc:sldMk cId="2293747233" sldId="6519"/>
        </pc:sldMkLst>
        <pc:spChg chg="add mod">
          <ac:chgData name="Niittymies Aleksi" userId="00c1d702-9a1a-46cb-9bcd-5368d837961b" providerId="ADAL" clId="{B5FDD507-75F5-4960-970E-D1799A0CCE37}" dt="2023-10-30T16:07:42.328" v="95" actId="20577"/>
          <ac:spMkLst>
            <pc:docMk/>
            <pc:sldMk cId="2293747233" sldId="6519"/>
            <ac:spMk id="3" creationId="{CA06A1E4-446C-4FCC-43C2-A7516D699078}"/>
          </ac:spMkLst>
        </pc:spChg>
        <pc:graphicFrameChg chg="mod modGraphic">
          <ac:chgData name="Niittymies Aleksi" userId="00c1d702-9a1a-46cb-9bcd-5368d837961b" providerId="ADAL" clId="{B5FDD507-75F5-4960-970E-D1799A0CCE37}" dt="2023-10-30T16:07:55.240" v="98" actId="14734"/>
          <ac:graphicFrameMkLst>
            <pc:docMk/>
            <pc:sldMk cId="2293747233" sldId="6519"/>
            <ac:graphicFrameMk id="4" creationId="{1EF669D7-A6D0-7FEB-630E-7C948D3B785C}"/>
          </ac:graphicFrameMkLst>
        </pc:graphicFrameChg>
      </pc:sldChg>
      <pc:sldChg chg="addSp modSp mod ord">
        <pc:chgData name="Niittymies Aleksi" userId="00c1d702-9a1a-46cb-9bcd-5368d837961b" providerId="ADAL" clId="{B5FDD507-75F5-4960-970E-D1799A0CCE37}" dt="2023-10-30T16:07:49.009" v="97" actId="14100"/>
        <pc:sldMkLst>
          <pc:docMk/>
          <pc:sldMk cId="2886959941" sldId="6520"/>
        </pc:sldMkLst>
        <pc:spChg chg="mod">
          <ac:chgData name="Niittymies Aleksi" userId="00c1d702-9a1a-46cb-9bcd-5368d837961b" providerId="ADAL" clId="{B5FDD507-75F5-4960-970E-D1799A0CCE37}" dt="2023-10-30T16:07:27.082" v="88" actId="14100"/>
          <ac:spMkLst>
            <pc:docMk/>
            <pc:sldMk cId="2886959941" sldId="6520"/>
            <ac:spMk id="2" creationId="{EB9470BD-37F2-F9DF-AEAE-BA866A79DD00}"/>
          </ac:spMkLst>
        </pc:spChg>
        <pc:spChg chg="add mod">
          <ac:chgData name="Niittymies Aleksi" userId="00c1d702-9a1a-46cb-9bcd-5368d837961b" providerId="ADAL" clId="{B5FDD507-75F5-4960-970E-D1799A0CCE37}" dt="2023-10-30T16:07:49.009" v="97" actId="14100"/>
          <ac:spMkLst>
            <pc:docMk/>
            <pc:sldMk cId="2886959941" sldId="6520"/>
            <ac:spMk id="3" creationId="{00DF8828-9532-C431-C295-92757778F2E4}"/>
          </ac:spMkLst>
        </pc:spChg>
        <pc:graphicFrameChg chg="mod modGraphic">
          <ac:chgData name="Niittymies Aleksi" userId="00c1d702-9a1a-46cb-9bcd-5368d837961b" providerId="ADAL" clId="{B5FDD507-75F5-4960-970E-D1799A0CCE37}" dt="2023-10-30T16:07:13.064" v="64" actId="1076"/>
          <ac:graphicFrameMkLst>
            <pc:docMk/>
            <pc:sldMk cId="2886959941" sldId="6520"/>
            <ac:graphicFrameMk id="5" creationId="{AA2D9C4C-4BDE-971B-DD35-2580EDBF70E6}"/>
          </ac:graphicFrameMkLst>
        </pc:graphicFrameChg>
      </pc:sldChg>
      <pc:sldChg chg="del">
        <pc:chgData name="Niittymies Aleksi" userId="00c1d702-9a1a-46cb-9bcd-5368d837961b" providerId="ADAL" clId="{B5FDD507-75F5-4960-970E-D1799A0CCE37}" dt="2023-10-30T15:54:15.800" v="37" actId="47"/>
        <pc:sldMkLst>
          <pc:docMk/>
          <pc:sldMk cId="1627617651" sldId="6525"/>
        </pc:sldMkLst>
      </pc:sldChg>
      <pc:sldMasterChg chg="del delSldLayout">
        <pc:chgData name="Niittymies Aleksi" userId="00c1d702-9a1a-46cb-9bcd-5368d837961b" providerId="ADAL" clId="{B5FDD507-75F5-4960-970E-D1799A0CCE37}" dt="2023-10-30T15:42:10.341" v="3" actId="47"/>
        <pc:sldMasterMkLst>
          <pc:docMk/>
          <pc:sldMasterMk cId="3721905321" sldId="2147483960"/>
        </pc:sldMasterMkLst>
        <pc:sldLayoutChg chg="del">
          <pc:chgData name="Niittymies Aleksi" userId="00c1d702-9a1a-46cb-9bcd-5368d837961b" providerId="ADAL" clId="{B5FDD507-75F5-4960-970E-D1799A0CCE37}" dt="2023-10-30T15:42:10.341" v="3" actId="47"/>
          <pc:sldLayoutMkLst>
            <pc:docMk/>
            <pc:sldMasterMk cId="3721905321" sldId="2147483960"/>
            <pc:sldLayoutMk cId="3540152528" sldId="2147483961"/>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208749513" sldId="2147483962"/>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2798429647" sldId="2147483963"/>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678449177" sldId="2147483964"/>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712377576" sldId="2147483965"/>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284365208" sldId="2147483966"/>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49404559" sldId="2147483967"/>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1446203455" sldId="2147483968"/>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4260634382" sldId="2147483969"/>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2226039348" sldId="2147483970"/>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1076916470" sldId="2147483971"/>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CCC29D-C729-694F-A788-B5007BCA57F6}" type="datetimeFigureOut">
              <a:rPr lang="en-US" smtClean="0"/>
              <a:t>6.11.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540BB66-2831-4C42-9675-9DAB39629BDD}" type="slidenum">
              <a:rPr lang="en-US" smtClean="0"/>
              <a:t>‹#›</a:t>
            </a:fld>
            <a:endParaRPr lang="en-US" dirty="0"/>
          </a:p>
        </p:txBody>
      </p:sp>
    </p:spTree>
    <p:extLst>
      <p:ext uri="{BB962C8B-B14F-4D97-AF65-F5344CB8AC3E}">
        <p14:creationId xmlns:p14="http://schemas.microsoft.com/office/powerpoint/2010/main" val="19300430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AFD53-F29D-C94E-BF8B-0D8B7431C954}" type="datetimeFigureOut">
              <a:rPr lang="en-US" smtClean="0"/>
              <a:t>6.1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164E42-DED0-9246-9B1B-B67105F62D49}" type="slidenum">
              <a:rPr lang="en-US" smtClean="0"/>
              <a:t>‹#›</a:t>
            </a:fld>
            <a:endParaRPr lang="en-US" dirty="0"/>
          </a:p>
        </p:txBody>
      </p:sp>
    </p:spTree>
    <p:extLst>
      <p:ext uri="{BB962C8B-B14F-4D97-AF65-F5344CB8AC3E}">
        <p14:creationId xmlns:p14="http://schemas.microsoft.com/office/powerpoint/2010/main" val="386339113"/>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9.png"/><Relationship Id="rId3" Type="http://schemas.openxmlformats.org/officeDocument/2006/relationships/hyperlink" Target="https://www.facebook.com/aaltobiz/" TargetMode="External"/><Relationship Id="rId7" Type="http://schemas.openxmlformats.org/officeDocument/2006/relationships/hyperlink" Target="https://twitter.com/AaltoBIZ" TargetMode="External"/><Relationship Id="rId12" Type="http://schemas.openxmlformats.org/officeDocument/2006/relationships/image" Target="../media/image8.png"/><Relationship Id="rId2" Type="http://schemas.openxmlformats.org/officeDocument/2006/relationships/hyperlink" Target="http://biz.aalto.fi/" TargetMode="External"/><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hyperlink" Target="http://www.aalto.fi/snapchat/" TargetMode="External"/><Relationship Id="rId5" Type="http://schemas.openxmlformats.org/officeDocument/2006/relationships/hyperlink" Target="https://www.instagram.com/aaltouniversity/" TargetMode="External"/><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s://www.youtube.com/user/aaltouniversity" TargetMode="External"/><Relationship Id="rId1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9.png"/><Relationship Id="rId3" Type="http://schemas.openxmlformats.org/officeDocument/2006/relationships/hyperlink" Target="https://www.facebook.com/aaltobiz/" TargetMode="External"/><Relationship Id="rId7" Type="http://schemas.openxmlformats.org/officeDocument/2006/relationships/hyperlink" Target="https://twitter.com/AaltoBIZ" TargetMode="External"/><Relationship Id="rId12" Type="http://schemas.openxmlformats.org/officeDocument/2006/relationships/image" Target="../media/image8.png"/><Relationship Id="rId2" Type="http://schemas.openxmlformats.org/officeDocument/2006/relationships/hyperlink" Target="http://biz.aalto.fi/" TargetMode="External"/><Relationship Id="rId1" Type="http://schemas.openxmlformats.org/officeDocument/2006/relationships/slideMaster" Target="../slideMasters/slideMaster3.xml"/><Relationship Id="rId6" Type="http://schemas.openxmlformats.org/officeDocument/2006/relationships/image" Target="../media/image5.png"/><Relationship Id="rId11" Type="http://schemas.openxmlformats.org/officeDocument/2006/relationships/hyperlink" Target="http://www.aalto.fi/snapchat/" TargetMode="External"/><Relationship Id="rId5" Type="http://schemas.openxmlformats.org/officeDocument/2006/relationships/hyperlink" Target="https://www.instagram.com/aaltouniversity/" TargetMode="External"/><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s://www.youtube.com/user/aaltouniversity" TargetMode="External"/><Relationship Id="rId1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Header Slide - Red">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431800" y="1638135"/>
            <a:ext cx="7948556" cy="663264"/>
          </a:xfrm>
          <a:prstGeom prst="rect">
            <a:avLst/>
          </a:prstGeom>
        </p:spPr>
        <p:txBody>
          <a:bodyPr lIns="0" rIns="0" anchor="b"/>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Headline</a:t>
            </a:r>
          </a:p>
        </p:txBody>
      </p:sp>
      <p:sp>
        <p:nvSpPr>
          <p:cNvPr id="8" name="Text Placeholder 3"/>
          <p:cNvSpPr>
            <a:spLocks noGrp="1"/>
          </p:cNvSpPr>
          <p:nvPr>
            <p:ph type="body" sz="half" idx="2" hasCustomPrompt="1"/>
          </p:nvPr>
        </p:nvSpPr>
        <p:spPr>
          <a:xfrm>
            <a:off x="431800" y="2571750"/>
            <a:ext cx="7998597" cy="501388"/>
          </a:xfrm>
          <a:prstGeom prst="rect">
            <a:avLst/>
          </a:prstGeom>
        </p:spPr>
        <p:txBody>
          <a:bodyPr lIns="0" r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o Image - Sub</a:t>
            </a:r>
          </a:p>
        </p:txBody>
      </p:sp>
      <p:sp>
        <p:nvSpPr>
          <p:cNvPr id="9" name="Text Placeholder 3"/>
          <p:cNvSpPr>
            <a:spLocks noGrp="1"/>
          </p:cNvSpPr>
          <p:nvPr>
            <p:ph type="body" sz="half" idx="12" hasCustomPrompt="1"/>
          </p:nvPr>
        </p:nvSpPr>
        <p:spPr>
          <a:xfrm>
            <a:off x="5966372" y="4215388"/>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1" name="Text Placeholder 3"/>
          <p:cNvSpPr>
            <a:spLocks noGrp="1"/>
          </p:cNvSpPr>
          <p:nvPr>
            <p:ph type="body" sz="half" idx="13" hasCustomPrompt="1"/>
          </p:nvPr>
        </p:nvSpPr>
        <p:spPr>
          <a:xfrm>
            <a:off x="5966372" y="4509807"/>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4" name="Kuva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cSld>
  <p:clrMapOvr>
    <a:masterClrMapping/>
  </p:clrMapOvr>
  <p:extLst>
    <p:ext uri="{DCECCB84-F9BA-43D5-87BE-67443E8EF086}">
      <p15:sldGuideLst xmlns:p15="http://schemas.microsoft.com/office/powerpoint/2012/main">
        <p15:guide id="1" orient="horz" pos="295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 Body slide - Text - Full bleed image">
    <p:bg>
      <p:bgPr>
        <a:solidFill>
          <a:schemeClr val="bg1"/>
        </a:solidFill>
        <a:effectLst/>
      </p:bgPr>
    </p:bg>
    <p:spTree>
      <p:nvGrpSpPr>
        <p:cNvPr id="1" name=""/>
        <p:cNvGrpSpPr/>
        <p:nvPr/>
      </p:nvGrpSpPr>
      <p:grpSpPr>
        <a:xfrm>
          <a:off x="0" y="0"/>
          <a:ext cx="0" cy="0"/>
          <a:chOff x="0" y="0"/>
          <a:chExt cx="0" cy="0"/>
        </a:xfrm>
      </p:grpSpPr>
      <p:sp>
        <p:nvSpPr>
          <p:cNvPr id="12"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 name="Text Placeholder 3"/>
          <p:cNvSpPr>
            <a:spLocks noGrp="1"/>
          </p:cNvSpPr>
          <p:nvPr>
            <p:ph type="body" sz="half" idx="2" hasCustomPrompt="1"/>
          </p:nvPr>
        </p:nvSpPr>
        <p:spPr>
          <a:xfrm>
            <a:off x="287339" y="1347789"/>
            <a:ext cx="4150122" cy="2938911"/>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11" name="Text Placeholder 3"/>
          <p:cNvSpPr>
            <a:spLocks noGrp="1"/>
          </p:cNvSpPr>
          <p:nvPr>
            <p:ph type="body" sz="half" idx="10" hasCustomPrompt="1"/>
          </p:nvPr>
        </p:nvSpPr>
        <p:spPr>
          <a:xfrm>
            <a:off x="287338" y="21510"/>
            <a:ext cx="8497093" cy="1153455"/>
          </a:xfrm>
          <a:prstGeom prst="rect">
            <a:avLst/>
          </a:prstGeom>
        </p:spPr>
        <p:txBody>
          <a:bodyPr lIns="0" tIns="0" rIns="0" bIns="0"/>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8" name="Text Placeholder 3"/>
          <p:cNvSpPr>
            <a:spLocks noGrp="1"/>
          </p:cNvSpPr>
          <p:nvPr>
            <p:ph type="body" sz="half" idx="11" hasCustomPrompt="1"/>
          </p:nvPr>
        </p:nvSpPr>
        <p:spPr>
          <a:xfrm>
            <a:off x="4706540" y="1347788"/>
            <a:ext cx="4077891" cy="294060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000" b="1">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2" name="Päivämäärän paikkamerkki 1">
            <a:extLst>
              <a:ext uri="{FF2B5EF4-FFF2-40B4-BE49-F238E27FC236}">
                <a16:creationId xmlns:a16="http://schemas.microsoft.com/office/drawing/2014/main" id="{62DDC196-D49A-4DB6-A68D-238E3C73DA3B}"/>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51265EED-F2E6-43DA-B5C9-706015FF2F76}"/>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6" name="Dian numeron paikkamerkki 5">
            <a:extLst>
              <a:ext uri="{FF2B5EF4-FFF2-40B4-BE49-F238E27FC236}">
                <a16:creationId xmlns:a16="http://schemas.microsoft.com/office/drawing/2014/main" id="{E5011BD5-68CE-472A-A314-532B85BA474D}"/>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cSld>
  <p:clrMapOvr>
    <a:masterClrMapping/>
  </p:clrMapOvr>
  <p:extLst>
    <p:ext uri="{DCECCB84-F9BA-43D5-87BE-67443E8EF086}">
      <p15:sldGuideLst xmlns:p15="http://schemas.microsoft.com/office/powerpoint/2012/main">
        <p15:guide id="1" pos="2795" userDrawn="1">
          <p15:clr>
            <a:srgbClr val="FBAE40"/>
          </p15:clr>
        </p15:guide>
        <p15:guide id="2" pos="2965" userDrawn="1">
          <p15:clr>
            <a:srgbClr val="FBAE40"/>
          </p15:clr>
        </p15:guide>
        <p15:guide id="3" orient="horz" pos="849"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10" name="Date Placeholder 9"/>
          <p:cNvSpPr>
            <a:spLocks noGrp="1"/>
          </p:cNvSpPr>
          <p:nvPr>
            <p:ph type="dt" sz="half" idx="29"/>
          </p:nvPr>
        </p:nvSpPr>
        <p:spPr/>
        <p:txBody>
          <a:bodyPr/>
          <a:lstStyle>
            <a:lvl1pPr>
              <a:defRPr>
                <a:noFill/>
              </a:defRPr>
            </a:lvl1pPr>
          </a:lstStyle>
          <a:p>
            <a:fld id="{EE827FF4-EA26-4F38-8B0B-147625CE7045}" type="datetime1">
              <a:rPr lang="fi-FI" smtClean="0"/>
              <a:t>6.11.2023</a:t>
            </a:fld>
            <a:endParaRPr lang="en-US" dirty="0"/>
          </a:p>
        </p:txBody>
      </p:sp>
      <p:sp>
        <p:nvSpPr>
          <p:cNvPr id="11" name="Footer Placeholder 10"/>
          <p:cNvSpPr>
            <a:spLocks noGrp="1"/>
          </p:cNvSpPr>
          <p:nvPr>
            <p:ph type="ftr" sz="quarter" idx="30"/>
          </p:nvPr>
        </p:nvSpPr>
        <p:spPr/>
        <p:txBody>
          <a:bodyPr/>
          <a:lstStyle>
            <a:lvl1pPr>
              <a:defRPr>
                <a:noFill/>
              </a:defRPr>
            </a:lvl1pPr>
          </a:lstStyle>
          <a:p>
            <a:r>
              <a:rPr lang="en-US"/>
              <a:t>© Aalto University Executive Education</a:t>
            </a:r>
            <a:endParaRPr lang="en-US" dirty="0"/>
          </a:p>
        </p:txBody>
      </p:sp>
      <p:sp>
        <p:nvSpPr>
          <p:cNvPr id="12" name="Slide Number Placeholder 11"/>
          <p:cNvSpPr>
            <a:spLocks noGrp="1"/>
          </p:cNvSpPr>
          <p:nvPr>
            <p:ph type="sldNum" sz="quarter" idx="31"/>
          </p:nvPr>
        </p:nvSpPr>
        <p:spPr/>
        <p:txBody>
          <a:bodyPr/>
          <a:lstStyle>
            <a:lvl1pPr>
              <a:defRPr>
                <a:noFill/>
              </a:defRPr>
            </a:lvl1pPr>
          </a:lstStyle>
          <a:p>
            <a:fld id="{FCCA222D-FCF7-48C1-A274-EBDDEF75DC66}" type="slidenum">
              <a:rPr lang="en-US" smtClean="0"/>
              <a:pPr/>
              <a:t>‹#›</a:t>
            </a:fld>
            <a:endParaRPr lang="en-US" dirty="0"/>
          </a:p>
        </p:txBody>
      </p:sp>
      <p:sp>
        <p:nvSpPr>
          <p:cNvPr id="21" name="Rectangle 20"/>
          <p:cNvSpPr/>
          <p:nvPr userDrawn="1"/>
        </p:nvSpPr>
        <p:spPr>
          <a:xfrm>
            <a:off x="4572000" y="2571750"/>
            <a:ext cx="4572000"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20" name="Rectangle 19"/>
          <p:cNvSpPr/>
          <p:nvPr userDrawn="1"/>
        </p:nvSpPr>
        <p:spPr>
          <a:xfrm>
            <a:off x="0" y="257175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13" name="Content Placeholder 12"/>
          <p:cNvSpPr>
            <a:spLocks noGrp="1"/>
          </p:cNvSpPr>
          <p:nvPr>
            <p:ph sz="quarter" idx="14" hasCustomPrompt="1"/>
          </p:nvPr>
        </p:nvSpPr>
        <p:spPr>
          <a:xfrm>
            <a:off x="413461" y="1248968"/>
            <a:ext cx="3726455" cy="971746"/>
          </a:xfrm>
        </p:spPr>
        <p:txBody>
          <a:bodyPr/>
          <a:lstStyle>
            <a:lvl1pPr marL="0" indent="0">
              <a:buNone/>
              <a:defRPr sz="1050"/>
            </a:lvl1pPr>
          </a:lstStyle>
          <a:p>
            <a:pPr lvl="0"/>
            <a:r>
              <a:rPr lang="en-US" dirty="0"/>
              <a:t>Click to add text</a:t>
            </a:r>
          </a:p>
        </p:txBody>
      </p:sp>
      <p:sp>
        <p:nvSpPr>
          <p:cNvPr id="2" name="Rectangle 1"/>
          <p:cNvSpPr/>
          <p:nvPr userDrawn="1"/>
        </p:nvSpPr>
        <p:spPr>
          <a:xfrm>
            <a:off x="4572000" y="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22" name="Text Placeholder 6"/>
          <p:cNvSpPr>
            <a:spLocks noGrp="1"/>
          </p:cNvSpPr>
          <p:nvPr>
            <p:ph type="body" sz="quarter" idx="18" hasCustomPrompt="1"/>
          </p:nvPr>
        </p:nvSpPr>
        <p:spPr>
          <a:xfrm>
            <a:off x="414231" y="303436"/>
            <a:ext cx="3725686" cy="242999"/>
          </a:xfrm>
        </p:spPr>
        <p:txBody>
          <a:bodyPr anchor="t"/>
          <a:lstStyle>
            <a:lvl1pPr marL="0" indent="0">
              <a:buNone/>
              <a:defRPr sz="1200" b="1">
                <a:solidFill>
                  <a:schemeClr val="bg2"/>
                </a:solidFill>
              </a:defRPr>
            </a:lvl1pPr>
          </a:lstStyle>
          <a:p>
            <a:pPr lvl="0"/>
            <a:r>
              <a:rPr lang="en-US" dirty="0"/>
              <a:t>Click to add text</a:t>
            </a:r>
          </a:p>
        </p:txBody>
      </p:sp>
      <p:sp>
        <p:nvSpPr>
          <p:cNvPr id="24" name="Content Placeholder 12"/>
          <p:cNvSpPr>
            <a:spLocks noGrp="1"/>
          </p:cNvSpPr>
          <p:nvPr>
            <p:ph sz="quarter" idx="19" hasCustomPrompt="1"/>
          </p:nvPr>
        </p:nvSpPr>
        <p:spPr>
          <a:xfrm>
            <a:off x="5004085" y="1248969"/>
            <a:ext cx="3725686" cy="971746"/>
          </a:xfrm>
        </p:spPr>
        <p:txBody>
          <a:bodyPr/>
          <a:lstStyle>
            <a:lvl1pPr marL="0" indent="0">
              <a:buNone/>
              <a:defRPr sz="1050"/>
            </a:lvl1pPr>
          </a:lstStyle>
          <a:p>
            <a:pPr lvl="0"/>
            <a:r>
              <a:rPr lang="en-US" dirty="0"/>
              <a:t>Click to add text</a:t>
            </a:r>
          </a:p>
        </p:txBody>
      </p:sp>
      <p:sp>
        <p:nvSpPr>
          <p:cNvPr id="25" name="Text Placeholder 6"/>
          <p:cNvSpPr>
            <a:spLocks noGrp="1"/>
          </p:cNvSpPr>
          <p:nvPr>
            <p:ph type="body" sz="quarter" idx="20" hasCustomPrompt="1"/>
          </p:nvPr>
        </p:nvSpPr>
        <p:spPr>
          <a:xfrm>
            <a:off x="5004085" y="303501"/>
            <a:ext cx="3725686"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26" name="Text Placeholder 25"/>
          <p:cNvSpPr>
            <a:spLocks noGrp="1"/>
          </p:cNvSpPr>
          <p:nvPr>
            <p:ph type="body" sz="quarter" idx="21" hasCustomPrompt="1"/>
          </p:nvPr>
        </p:nvSpPr>
        <p:spPr>
          <a:xfrm>
            <a:off x="5003948" y="546851"/>
            <a:ext cx="3725823"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latin typeface="+mj-lt"/>
                <a:ea typeface="+mj-ea"/>
                <a:cs typeface="+mj-cs"/>
              </a:defRPr>
            </a:lvl1pPr>
          </a:lstStyle>
          <a:p>
            <a:pPr lvl="0">
              <a:lnSpc>
                <a:spcPct val="90000"/>
              </a:lnSpc>
              <a:spcBef>
                <a:spcPct val="0"/>
              </a:spcBef>
            </a:pPr>
            <a:r>
              <a:rPr lang="en-US" dirty="0"/>
              <a:t>Click to add text</a:t>
            </a:r>
          </a:p>
        </p:txBody>
      </p:sp>
      <p:sp>
        <p:nvSpPr>
          <p:cNvPr id="30" name="Content Placeholder 12"/>
          <p:cNvSpPr>
            <a:spLocks noGrp="1"/>
          </p:cNvSpPr>
          <p:nvPr>
            <p:ph sz="quarter" idx="22" hasCustomPrompt="1"/>
          </p:nvPr>
        </p:nvSpPr>
        <p:spPr>
          <a:xfrm>
            <a:off x="414429" y="3814254"/>
            <a:ext cx="3725488" cy="971746"/>
          </a:xfrm>
        </p:spPr>
        <p:txBody>
          <a:bodyPr/>
          <a:lstStyle>
            <a:lvl1pPr marL="0" indent="0">
              <a:buNone/>
              <a:defRPr sz="1050"/>
            </a:lvl1pPr>
          </a:lstStyle>
          <a:p>
            <a:pPr lvl="0"/>
            <a:r>
              <a:rPr lang="en-US" dirty="0"/>
              <a:t>Click to add text</a:t>
            </a:r>
          </a:p>
        </p:txBody>
      </p:sp>
      <p:sp>
        <p:nvSpPr>
          <p:cNvPr id="31" name="Text Placeholder 6"/>
          <p:cNvSpPr>
            <a:spLocks noGrp="1"/>
          </p:cNvSpPr>
          <p:nvPr>
            <p:ph type="body" sz="quarter" idx="23" hasCustomPrompt="1"/>
          </p:nvPr>
        </p:nvSpPr>
        <p:spPr>
          <a:xfrm>
            <a:off x="414429" y="2868785"/>
            <a:ext cx="3725488"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32" name="Text Placeholder 25"/>
          <p:cNvSpPr>
            <a:spLocks noGrp="1"/>
          </p:cNvSpPr>
          <p:nvPr>
            <p:ph type="body" sz="quarter" idx="24" hasCustomPrompt="1"/>
          </p:nvPr>
        </p:nvSpPr>
        <p:spPr>
          <a:xfrm>
            <a:off x="414231"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latin typeface="+mj-lt"/>
                <a:ea typeface="+mj-ea"/>
                <a:cs typeface="+mj-cs"/>
              </a:defRPr>
            </a:lvl1pPr>
          </a:lstStyle>
          <a:p>
            <a:pPr lvl="0">
              <a:lnSpc>
                <a:spcPct val="90000"/>
              </a:lnSpc>
              <a:spcBef>
                <a:spcPct val="0"/>
              </a:spcBef>
            </a:pPr>
            <a:r>
              <a:rPr lang="en-US" dirty="0"/>
              <a:t>Click to add text</a:t>
            </a:r>
          </a:p>
        </p:txBody>
      </p:sp>
      <p:sp>
        <p:nvSpPr>
          <p:cNvPr id="33" name="Content Placeholder 12"/>
          <p:cNvSpPr>
            <a:spLocks noGrp="1"/>
          </p:cNvSpPr>
          <p:nvPr>
            <p:ph sz="quarter" idx="25" hasCustomPrompt="1"/>
          </p:nvPr>
        </p:nvSpPr>
        <p:spPr>
          <a:xfrm>
            <a:off x="5004086" y="3814254"/>
            <a:ext cx="3725685" cy="971746"/>
          </a:xfrm>
        </p:spPr>
        <p:txBody>
          <a:bodyPr/>
          <a:lstStyle>
            <a:lvl1pPr marL="0" indent="0">
              <a:buNone/>
              <a:defRPr sz="1050">
                <a:solidFill>
                  <a:schemeClr val="bg1"/>
                </a:solidFill>
              </a:defRPr>
            </a:lvl1pPr>
          </a:lstStyle>
          <a:p>
            <a:pPr lvl="0"/>
            <a:r>
              <a:rPr lang="en-US" dirty="0"/>
              <a:t>Click to add text</a:t>
            </a:r>
          </a:p>
        </p:txBody>
      </p:sp>
      <p:sp>
        <p:nvSpPr>
          <p:cNvPr id="34" name="Text Placeholder 6"/>
          <p:cNvSpPr>
            <a:spLocks noGrp="1"/>
          </p:cNvSpPr>
          <p:nvPr>
            <p:ph type="body" sz="quarter" idx="26" hasCustomPrompt="1"/>
          </p:nvPr>
        </p:nvSpPr>
        <p:spPr>
          <a:xfrm>
            <a:off x="5004086" y="2868785"/>
            <a:ext cx="3725685" cy="242999"/>
          </a:xfrm>
        </p:spPr>
        <p:txBody>
          <a:bodyPr anchor="t"/>
          <a:lstStyle>
            <a:lvl1pPr marL="0" indent="0">
              <a:buNone/>
              <a:defRPr sz="1200" b="1">
                <a:solidFill>
                  <a:schemeClr val="bg1"/>
                </a:solidFill>
              </a:defRPr>
            </a:lvl1pPr>
          </a:lstStyle>
          <a:p>
            <a:pPr lvl="0"/>
            <a:r>
              <a:rPr lang="en-US" dirty="0"/>
              <a:t>Click to add text</a:t>
            </a:r>
          </a:p>
        </p:txBody>
      </p:sp>
      <p:sp>
        <p:nvSpPr>
          <p:cNvPr id="35" name="Text Placeholder 25"/>
          <p:cNvSpPr>
            <a:spLocks noGrp="1"/>
          </p:cNvSpPr>
          <p:nvPr>
            <p:ph type="body" sz="quarter" idx="27" hasCustomPrompt="1"/>
          </p:nvPr>
        </p:nvSpPr>
        <p:spPr>
          <a:xfrm>
            <a:off x="5004085"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solidFill>
                  <a:schemeClr val="bg1"/>
                </a:solidFill>
                <a:latin typeface="+mj-lt"/>
                <a:ea typeface="+mj-ea"/>
                <a:cs typeface="+mj-cs"/>
              </a:defRPr>
            </a:lvl1pPr>
          </a:lstStyle>
          <a:p>
            <a:pPr lvl="0">
              <a:lnSpc>
                <a:spcPct val="90000"/>
              </a:lnSpc>
              <a:spcBef>
                <a:spcPct val="0"/>
              </a:spcBef>
            </a:pPr>
            <a:r>
              <a:rPr lang="en-US" dirty="0"/>
              <a:t>Click to add text</a:t>
            </a:r>
          </a:p>
        </p:txBody>
      </p:sp>
      <p:sp>
        <p:nvSpPr>
          <p:cNvPr id="36" name="Text Placeholder 25"/>
          <p:cNvSpPr>
            <a:spLocks noGrp="1"/>
          </p:cNvSpPr>
          <p:nvPr>
            <p:ph type="body" sz="quarter" idx="28" hasCustomPrompt="1"/>
          </p:nvPr>
        </p:nvSpPr>
        <p:spPr>
          <a:xfrm>
            <a:off x="414229" y="546497"/>
            <a:ext cx="3725687"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latin typeface="+mj-lt"/>
                <a:ea typeface="+mj-ea"/>
                <a:cs typeface="+mj-cs"/>
              </a:defRPr>
            </a:lvl1pPr>
          </a:lstStyle>
          <a:p>
            <a:pPr lvl="0">
              <a:lnSpc>
                <a:spcPct val="90000"/>
              </a:lnSpc>
              <a:spcBef>
                <a:spcPct val="0"/>
              </a:spcBef>
            </a:pPr>
            <a:r>
              <a:rPr lang="en-US" dirty="0"/>
              <a:t>Click to add text</a:t>
            </a:r>
          </a:p>
        </p:txBody>
      </p:sp>
    </p:spTree>
    <p:extLst>
      <p:ext uri="{BB962C8B-B14F-4D97-AF65-F5344CB8AC3E}">
        <p14:creationId xmlns:p14="http://schemas.microsoft.com/office/powerpoint/2010/main" val="313192859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io">
    <p:spTree>
      <p:nvGrpSpPr>
        <p:cNvPr id="1" name=""/>
        <p:cNvGrpSpPr/>
        <p:nvPr/>
      </p:nvGrpSpPr>
      <p:grpSpPr>
        <a:xfrm>
          <a:off x="0" y="0"/>
          <a:ext cx="0" cy="0"/>
          <a:chOff x="0" y="0"/>
          <a:chExt cx="0" cy="0"/>
        </a:xfrm>
      </p:grpSpPr>
      <p:sp>
        <p:nvSpPr>
          <p:cNvPr id="12" name="Rectangle 11"/>
          <p:cNvSpPr/>
          <p:nvPr userDrawn="1"/>
        </p:nvSpPr>
        <p:spPr>
          <a:xfrm>
            <a:off x="6083774" y="2571750"/>
            <a:ext cx="3060226"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3" name="Date Placeholder 2"/>
          <p:cNvSpPr>
            <a:spLocks noGrp="1"/>
          </p:cNvSpPr>
          <p:nvPr>
            <p:ph type="dt" sz="half" idx="10"/>
          </p:nvPr>
        </p:nvSpPr>
        <p:spPr/>
        <p:txBody>
          <a:bodyPr/>
          <a:lstStyle/>
          <a:p>
            <a:fld id="{D4559940-DECE-47F4-9CFC-F8FA3E09F4F2}" type="datetime1">
              <a:rPr lang="fi-FI" smtClean="0"/>
              <a:t>6.11.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
        <p:nvSpPr>
          <p:cNvPr id="9" name="Picture Placeholder 2"/>
          <p:cNvSpPr>
            <a:spLocks noGrp="1"/>
          </p:cNvSpPr>
          <p:nvPr>
            <p:ph type="pic" idx="13"/>
          </p:nvPr>
        </p:nvSpPr>
        <p:spPr>
          <a:xfrm>
            <a:off x="6083774" y="2"/>
            <a:ext cx="3060226" cy="2571749"/>
          </a:xfrm>
          <a:solidFill>
            <a:schemeClr val="bg2">
              <a:lumMod val="20000"/>
              <a:lumOff val="80000"/>
            </a:schemeClr>
          </a:solidFill>
        </p:spPr>
        <p:txBody>
          <a:bodyPr/>
          <a:lstStyle>
            <a:lvl1pPr marL="0" indent="0">
              <a:buNone/>
              <a:defRPr sz="1050"/>
            </a:lvl1pPr>
            <a:lvl2pPr marL="342797" indent="0">
              <a:buNone/>
              <a:defRPr sz="2099"/>
            </a:lvl2pPr>
            <a:lvl3pPr marL="685595" indent="0">
              <a:buNone/>
              <a:defRPr sz="1799"/>
            </a:lvl3pPr>
            <a:lvl4pPr marL="1028392" indent="0">
              <a:buNone/>
              <a:defRPr sz="1499"/>
            </a:lvl4pPr>
            <a:lvl5pPr marL="1371188" indent="0">
              <a:buNone/>
              <a:defRPr sz="1499"/>
            </a:lvl5pPr>
            <a:lvl6pPr marL="1713986" indent="0">
              <a:buNone/>
              <a:defRPr sz="1499"/>
            </a:lvl6pPr>
            <a:lvl7pPr marL="2056783" indent="0">
              <a:buNone/>
              <a:defRPr sz="1499"/>
            </a:lvl7pPr>
            <a:lvl8pPr marL="2399580" indent="0">
              <a:buNone/>
              <a:defRPr sz="1499"/>
            </a:lvl8pPr>
            <a:lvl9pPr marL="2742377" indent="0">
              <a:buNone/>
              <a:defRPr sz="1499"/>
            </a:lvl9pPr>
          </a:lstStyle>
          <a:p>
            <a:r>
              <a:rPr lang="en-US"/>
              <a:t>Click icon to add picture</a:t>
            </a:r>
            <a:endParaRPr lang="en-US" dirty="0"/>
          </a:p>
        </p:txBody>
      </p:sp>
      <p:sp>
        <p:nvSpPr>
          <p:cNvPr id="13" name="Content Placeholder 12"/>
          <p:cNvSpPr>
            <a:spLocks noGrp="1"/>
          </p:cNvSpPr>
          <p:nvPr>
            <p:ph sz="quarter" idx="14" hasCustomPrompt="1"/>
          </p:nvPr>
        </p:nvSpPr>
        <p:spPr>
          <a:xfrm>
            <a:off x="414229" y="1221564"/>
            <a:ext cx="5453613" cy="3186131"/>
          </a:xfrm>
        </p:spPr>
        <p:txBody>
          <a:bodyPr/>
          <a:lstStyle>
            <a:lvl1pPr marL="0" indent="0">
              <a:buFontTx/>
              <a:buNone/>
              <a:defRPr sz="1050"/>
            </a:lvl1pPr>
            <a:lvl2pPr marL="199965" indent="-199965">
              <a:buFont typeface="Arial" panose="020B0604020202020204" pitchFamily="34" charset="0"/>
              <a:buChar char="•"/>
              <a:defRPr sz="900"/>
            </a:lvl2pPr>
            <a:lvl3pPr marL="404691" indent="-204726">
              <a:buFont typeface="Arial" panose="020B0604020202020204" pitchFamily="34" charset="0"/>
              <a:buChar char="–"/>
              <a:defRPr sz="825"/>
            </a:lvl3pPr>
            <a:lvl4pPr marL="604656" indent="-199965">
              <a:buFont typeface="Arial" panose="020B0604020202020204" pitchFamily="34" charset="0"/>
              <a:buChar char="•"/>
              <a:defRPr sz="750"/>
            </a:lvl4pPr>
            <a:lvl5pPr marL="803432" indent="-198775">
              <a:buFont typeface="Arial" panose="020B0604020202020204" pitchFamily="34" charset="0"/>
              <a:buChar char="–"/>
              <a:defRPr sz="75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5" hasCustomPrompt="1"/>
          </p:nvPr>
        </p:nvSpPr>
        <p:spPr>
          <a:xfrm>
            <a:off x="6353733" y="2895797"/>
            <a:ext cx="2537921" cy="1511899"/>
          </a:xfrm>
          <a:prstGeom prst="rect">
            <a:avLst/>
          </a:prstGeom>
        </p:spPr>
        <p:txBody>
          <a:bodyPr lIns="0" tIns="0" rIns="0" bIns="0"/>
          <a:lstStyle>
            <a:lvl1pPr marL="0" indent="0">
              <a:buFontTx/>
              <a:buNone/>
              <a:defRPr sz="1200" b="1">
                <a:solidFill>
                  <a:schemeClr val="bg1"/>
                </a:solidFill>
              </a:defRPr>
            </a:lvl1pPr>
            <a:lvl2pPr marL="136881" indent="-136881">
              <a:buFont typeface="Arial" panose="020B0604020202020204" pitchFamily="34" charset="0"/>
              <a:buChar char="•"/>
              <a:defRPr sz="1050" b="1">
                <a:solidFill>
                  <a:schemeClr val="bg1"/>
                </a:solidFill>
              </a:defRPr>
            </a:lvl2pPr>
            <a:lvl3pPr marL="267811" indent="-130930">
              <a:defRPr sz="900" b="1">
                <a:solidFill>
                  <a:schemeClr val="bg1"/>
                </a:solidFill>
              </a:defRPr>
            </a:lvl3pPr>
            <a:lvl4pPr marL="404691" indent="-136881">
              <a:defRPr sz="825" b="1">
                <a:solidFill>
                  <a:schemeClr val="bg1"/>
                </a:solidFill>
              </a:defRPr>
            </a:lvl4pPr>
            <a:lvl5pPr marL="535621" indent="-130930">
              <a:defRPr sz="825" b="1">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Isosceles Triangle 7"/>
          <p:cNvSpPr/>
          <p:nvPr userDrawn="1"/>
        </p:nvSpPr>
        <p:spPr>
          <a:xfrm flipV="1">
            <a:off x="7406747" y="2571750"/>
            <a:ext cx="432060" cy="162023"/>
          </a:xfrm>
          <a:prstGeom prst="triangle">
            <a:avLst/>
          </a:prstGeom>
          <a:solidFill>
            <a:srgbClr val="E09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9"/>
          </a:p>
        </p:txBody>
      </p:sp>
      <p:sp>
        <p:nvSpPr>
          <p:cNvPr id="2" name="Title 1"/>
          <p:cNvSpPr>
            <a:spLocks noGrp="1"/>
          </p:cNvSpPr>
          <p:nvPr>
            <p:ph type="title" hasCustomPrompt="1"/>
          </p:nvPr>
        </p:nvSpPr>
        <p:spPr>
          <a:xfrm>
            <a:off x="0" y="573882"/>
            <a:ext cx="5867843" cy="456902"/>
          </a:xfrm>
          <a:solidFill>
            <a:srgbClr val="B1059D"/>
          </a:solidFill>
        </p:spPr>
        <p:txBody>
          <a:bodyPr/>
          <a:lstStyle>
            <a:lvl1pPr>
              <a:defRPr sz="2249"/>
            </a:lvl1pPr>
          </a:lstStyle>
          <a:p>
            <a:r>
              <a:rPr lang="en-US" dirty="0"/>
              <a:t>Insert Name</a:t>
            </a:r>
            <a:endParaRPr lang="fi-FI" dirty="0"/>
          </a:p>
        </p:txBody>
      </p:sp>
    </p:spTree>
    <p:extLst>
      <p:ext uri="{BB962C8B-B14F-4D97-AF65-F5344CB8AC3E}">
        <p14:creationId xmlns:p14="http://schemas.microsoft.com/office/powerpoint/2010/main" val="294597683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ustom layou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8110"/>
            <a:ext cx="2084015" cy="353027"/>
          </a:xfrm>
          <a:solidFill>
            <a:srgbClr val="B1059D"/>
          </a:solidFill>
        </p:spPr>
        <p:txBody>
          <a:bodyPr wrap="none" lIns="324000" rIns="324000" anchor="ctr"/>
          <a:lstStyle>
            <a:lvl1pPr>
              <a:defRPr sz="1499"/>
            </a:lvl1pPr>
          </a:lstStyle>
          <a:p>
            <a:r>
              <a:rPr lang="en-US" dirty="0"/>
              <a:t>Click to add title</a:t>
            </a:r>
          </a:p>
        </p:txBody>
      </p:sp>
      <p:sp>
        <p:nvSpPr>
          <p:cNvPr id="4" name="Date Placeholder 3"/>
          <p:cNvSpPr>
            <a:spLocks noGrp="1"/>
          </p:cNvSpPr>
          <p:nvPr>
            <p:ph type="dt" sz="half" idx="10"/>
          </p:nvPr>
        </p:nvSpPr>
        <p:spPr/>
        <p:txBody>
          <a:bodyPr/>
          <a:lstStyle/>
          <a:p>
            <a:fld id="{5F04A4A6-8F0B-4EE0-A205-F3CC694F274C}"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7" name="Text Placeholder 6"/>
          <p:cNvSpPr>
            <a:spLocks noGrp="1"/>
          </p:cNvSpPr>
          <p:nvPr>
            <p:ph type="body" sz="quarter" idx="13" hasCustomPrompt="1"/>
          </p:nvPr>
        </p:nvSpPr>
        <p:spPr>
          <a:xfrm>
            <a:off x="1224408" y="1059231"/>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11" name="Text Placeholder 10"/>
          <p:cNvSpPr>
            <a:spLocks noGrp="1"/>
          </p:cNvSpPr>
          <p:nvPr>
            <p:ph type="body" sz="quarter" idx="22"/>
          </p:nvPr>
        </p:nvSpPr>
        <p:spPr>
          <a:xfrm>
            <a:off x="252348" y="1059305"/>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3" name="Text Placeholder 10"/>
          <p:cNvSpPr>
            <a:spLocks noGrp="1"/>
          </p:cNvSpPr>
          <p:nvPr>
            <p:ph type="body" sz="quarter" idx="23"/>
          </p:nvPr>
        </p:nvSpPr>
        <p:spPr>
          <a:xfrm>
            <a:off x="252348" y="2193357"/>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4" name="Text Placeholder 10"/>
          <p:cNvSpPr>
            <a:spLocks noGrp="1"/>
          </p:cNvSpPr>
          <p:nvPr>
            <p:ph type="body" sz="quarter" idx="24"/>
          </p:nvPr>
        </p:nvSpPr>
        <p:spPr>
          <a:xfrm>
            <a:off x="252348" y="3327706"/>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5" name="Text Placeholder 10"/>
          <p:cNvSpPr>
            <a:spLocks noGrp="1"/>
          </p:cNvSpPr>
          <p:nvPr>
            <p:ph type="body" sz="quarter" idx="25"/>
          </p:nvPr>
        </p:nvSpPr>
        <p:spPr>
          <a:xfrm>
            <a:off x="1224408" y="789503"/>
            <a:ext cx="2555506" cy="216030"/>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6" name="Text Placeholder 10"/>
          <p:cNvSpPr>
            <a:spLocks noGrp="1"/>
          </p:cNvSpPr>
          <p:nvPr>
            <p:ph type="body" sz="quarter" idx="26"/>
          </p:nvPr>
        </p:nvSpPr>
        <p:spPr>
          <a:xfrm>
            <a:off x="3816092" y="789505"/>
            <a:ext cx="2484697"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7" name="Text Placeholder 10"/>
          <p:cNvSpPr>
            <a:spLocks noGrp="1"/>
          </p:cNvSpPr>
          <p:nvPr>
            <p:ph type="body" sz="quarter" idx="27"/>
          </p:nvPr>
        </p:nvSpPr>
        <p:spPr>
          <a:xfrm>
            <a:off x="6372201" y="789505"/>
            <a:ext cx="2519453"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50" name="Text Placeholder 6"/>
          <p:cNvSpPr>
            <a:spLocks noGrp="1"/>
          </p:cNvSpPr>
          <p:nvPr>
            <p:ph type="body" sz="quarter" idx="28" hasCustomPrompt="1"/>
          </p:nvPr>
        </p:nvSpPr>
        <p:spPr>
          <a:xfrm>
            <a:off x="3816092" y="1059231"/>
            <a:ext cx="2483698"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1" name="Text Placeholder 6"/>
          <p:cNvSpPr>
            <a:spLocks noGrp="1"/>
          </p:cNvSpPr>
          <p:nvPr>
            <p:ph type="body" sz="quarter" idx="29" hasCustomPrompt="1"/>
          </p:nvPr>
        </p:nvSpPr>
        <p:spPr>
          <a:xfrm>
            <a:off x="6353784" y="1059231"/>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2" name="Text Placeholder 6"/>
          <p:cNvSpPr>
            <a:spLocks noGrp="1"/>
          </p:cNvSpPr>
          <p:nvPr>
            <p:ph type="body" sz="quarter" idx="30" hasCustomPrompt="1"/>
          </p:nvPr>
        </p:nvSpPr>
        <p:spPr>
          <a:xfrm>
            <a:off x="1224408" y="2193357"/>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3" name="Text Placeholder 6"/>
          <p:cNvSpPr>
            <a:spLocks noGrp="1"/>
          </p:cNvSpPr>
          <p:nvPr>
            <p:ph type="body" sz="quarter" idx="31" hasCustomPrompt="1"/>
          </p:nvPr>
        </p:nvSpPr>
        <p:spPr>
          <a:xfrm>
            <a:off x="3816092" y="2193357"/>
            <a:ext cx="2483699"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4" name="Text Placeholder 6"/>
          <p:cNvSpPr>
            <a:spLocks noGrp="1"/>
          </p:cNvSpPr>
          <p:nvPr>
            <p:ph type="body" sz="quarter" idx="32" hasCustomPrompt="1"/>
          </p:nvPr>
        </p:nvSpPr>
        <p:spPr>
          <a:xfrm>
            <a:off x="6353784" y="2193357"/>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5" name="Text Placeholder 6"/>
          <p:cNvSpPr>
            <a:spLocks noGrp="1"/>
          </p:cNvSpPr>
          <p:nvPr>
            <p:ph type="body" sz="quarter" idx="33" hasCustomPrompt="1"/>
          </p:nvPr>
        </p:nvSpPr>
        <p:spPr>
          <a:xfrm>
            <a:off x="1224407" y="3327483"/>
            <a:ext cx="2537691"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6" name="Text Placeholder 6"/>
          <p:cNvSpPr>
            <a:spLocks noGrp="1"/>
          </p:cNvSpPr>
          <p:nvPr>
            <p:ph type="body" sz="quarter" idx="34" hasCustomPrompt="1"/>
          </p:nvPr>
        </p:nvSpPr>
        <p:spPr>
          <a:xfrm>
            <a:off x="3816092" y="3327483"/>
            <a:ext cx="2483699"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7" name="Text Placeholder 6"/>
          <p:cNvSpPr>
            <a:spLocks noGrp="1"/>
          </p:cNvSpPr>
          <p:nvPr>
            <p:ph type="body" sz="quarter" idx="35" hasCustomPrompt="1"/>
          </p:nvPr>
        </p:nvSpPr>
        <p:spPr>
          <a:xfrm>
            <a:off x="6353784" y="3327483"/>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313341308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DFDAFA6-A79C-4473-9965-FC0B670A98FB}" type="datetime1">
              <a:rPr lang="fi-FI" smtClean="0"/>
              <a:t>6.11.2023</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10000279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pic>
        <p:nvPicPr>
          <p:cNvPr id="2" name="Picture 19" descr="logo_title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1" y="411956"/>
            <a:ext cx="44799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0226" y="1226346"/>
            <a:ext cx="4803775" cy="391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050435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Title and Content Green">
    <p:spTree>
      <p:nvGrpSpPr>
        <p:cNvPr id="1" name=""/>
        <p:cNvGrpSpPr/>
        <p:nvPr/>
      </p:nvGrpSpPr>
      <p:grpSpPr>
        <a:xfrm>
          <a:off x="0" y="0"/>
          <a:ext cx="0" cy="0"/>
          <a:chOff x="0" y="0"/>
          <a:chExt cx="0" cy="0"/>
        </a:xfrm>
      </p:grpSpPr>
      <p:cxnSp>
        <p:nvCxnSpPr>
          <p:cNvPr id="4" name="Straight Connector 3"/>
          <p:cNvCxnSpPr/>
          <p:nvPr userDrawn="1"/>
        </p:nvCxnSpPr>
        <p:spPr>
          <a:xfrm>
            <a:off x="228601" y="584597"/>
            <a:ext cx="4302125" cy="0"/>
          </a:xfrm>
          <a:prstGeom prst="line">
            <a:avLst/>
          </a:prstGeom>
          <a:ln w="28575" cmpd="sng">
            <a:solidFill>
              <a:srgbClr val="00CA9B"/>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228601" y="4722021"/>
            <a:ext cx="311150" cy="3119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013" dirty="0"/>
          </a:p>
        </p:txBody>
      </p:sp>
      <p:sp>
        <p:nvSpPr>
          <p:cNvPr id="6" name="TextBox 5"/>
          <p:cNvSpPr txBox="1"/>
          <p:nvPr userDrawn="1"/>
        </p:nvSpPr>
        <p:spPr>
          <a:xfrm>
            <a:off x="212725" y="4767265"/>
            <a:ext cx="338138" cy="184547"/>
          </a:xfrm>
          <a:prstGeom prst="rect">
            <a:avLst/>
          </a:prstGeom>
        </p:spPr>
        <p:txBody>
          <a:bodyPr anchor="ctr"/>
          <a:lstStyle>
            <a:defPPr>
              <a:defRPr lang="id-ID"/>
            </a:defPPr>
            <a:lvl1pPr algn="ctr">
              <a:defRPr sz="1000" b="1">
                <a:solidFill>
                  <a:schemeClr val="bg1"/>
                </a:solidFill>
              </a:defRPr>
            </a:lvl1pPr>
          </a:lstStyle>
          <a:p>
            <a:pPr>
              <a:defRPr/>
            </a:pPr>
            <a:fld id="{6589890B-BD98-4D8C-B8F1-4375E47E2841}" type="slidenum">
              <a:rPr lang="en-US" sz="750" smtClean="0"/>
              <a:pPr>
                <a:defRPr/>
              </a:pPr>
              <a:t>‹#›</a:t>
            </a:fld>
            <a:endParaRPr lang="en-US" sz="750" dirty="0"/>
          </a:p>
        </p:txBody>
      </p:sp>
      <p:pic>
        <p:nvPicPr>
          <p:cNvPr id="7" name="Picture 9" descr="mw_logo_landscap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20013" y="301231"/>
            <a:ext cx="1249362" cy="145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 1"/>
          <p:cNvSpPr>
            <a:spLocks noGrp="1"/>
          </p:cNvSpPr>
          <p:nvPr>
            <p:ph type="title"/>
          </p:nvPr>
        </p:nvSpPr>
        <p:spPr>
          <a:xfrm>
            <a:off x="228195" y="221900"/>
            <a:ext cx="7886700" cy="322723"/>
          </a:xfrm>
          <a:ln>
            <a:noFill/>
          </a:ln>
        </p:spPr>
        <p:txBody>
          <a:bodyPr>
            <a:normAutofit/>
          </a:bodyPr>
          <a:lstStyle>
            <a:lvl1pPr algn="l">
              <a:defRPr sz="1799"/>
            </a:lvl1pPr>
          </a:lstStyle>
          <a:p>
            <a:r>
              <a:rPr lang="en-US"/>
              <a:t>Click to edit Master title style</a:t>
            </a:r>
            <a:endParaRPr lang="en-US" dirty="0"/>
          </a:p>
        </p:txBody>
      </p:sp>
      <p:sp>
        <p:nvSpPr>
          <p:cNvPr id="10" name="Content Placeholder 11"/>
          <p:cNvSpPr>
            <a:spLocks noGrp="1"/>
          </p:cNvSpPr>
          <p:nvPr>
            <p:ph sz="quarter" idx="13"/>
          </p:nvPr>
        </p:nvSpPr>
        <p:spPr>
          <a:xfrm>
            <a:off x="213088" y="988423"/>
            <a:ext cx="7315200" cy="3175397"/>
          </a:xfrm>
        </p:spPr>
        <p:txBody>
          <a:bodyPr>
            <a:normAutofit/>
          </a:bodyPr>
          <a:lstStyle>
            <a:lvl1pPr>
              <a:buClr>
                <a:srgbClr val="00CA9B"/>
              </a:buClr>
              <a:defRPr sz="1799"/>
            </a:lvl1pPr>
            <a:lvl2pPr>
              <a:defRPr sz="1499"/>
            </a:lvl2pPr>
            <a:lvl3pPr>
              <a:defRPr sz="1499"/>
            </a:lvl3pPr>
            <a:lvl4pPr>
              <a:defRPr sz="1499"/>
            </a:lvl4pPr>
            <a:lvl5pPr>
              <a:defRPr sz="1499"/>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509762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D22E3-FE4B-4803-93CF-DB5DAA67C633}"/>
              </a:ext>
            </a:extLst>
          </p:cNvPr>
          <p:cNvSpPr>
            <a:spLocks noGrp="1"/>
          </p:cNvSpPr>
          <p:nvPr>
            <p:ph type="ctrTitle"/>
          </p:nvPr>
        </p:nvSpPr>
        <p:spPr>
          <a:xfrm>
            <a:off x="1143000" y="1240827"/>
            <a:ext cx="6858000" cy="1391645"/>
          </a:xfrm>
        </p:spPr>
        <p:txBody>
          <a:bodyPr anchor="b"/>
          <a:lstStyle>
            <a:lvl1pPr algn="ctr">
              <a:defRPr sz="4499"/>
            </a:lvl1pPr>
          </a:lstStyle>
          <a:p>
            <a:r>
              <a:rPr lang="en-US"/>
              <a:t>Click to edit Master title style</a:t>
            </a:r>
            <a:endParaRPr lang="LID4096"/>
          </a:p>
        </p:txBody>
      </p:sp>
      <p:sp>
        <p:nvSpPr>
          <p:cNvPr id="3" name="Subtitle 2">
            <a:extLst>
              <a:ext uri="{FF2B5EF4-FFF2-40B4-BE49-F238E27FC236}">
                <a16:creationId xmlns:a16="http://schemas.microsoft.com/office/drawing/2014/main" id="{604013CF-DE0A-4B98-BCD8-2ABC9A828FD0}"/>
              </a:ext>
            </a:extLst>
          </p:cNvPr>
          <p:cNvSpPr>
            <a:spLocks noGrp="1"/>
          </p:cNvSpPr>
          <p:nvPr>
            <p:ph type="subTitle" idx="1"/>
          </p:nvPr>
        </p:nvSpPr>
        <p:spPr>
          <a:xfrm>
            <a:off x="1143000" y="2701528"/>
            <a:ext cx="6858000" cy="1241822"/>
          </a:xfrm>
        </p:spPr>
        <p:txBody>
          <a:bodyPr/>
          <a:lstStyle>
            <a:lvl1pPr marL="0" indent="0" algn="ctr">
              <a:buNone/>
              <a:defRPr sz="1799"/>
            </a:lvl1pPr>
            <a:lvl2pPr marL="342797" indent="0" algn="ctr">
              <a:buNone/>
              <a:defRPr sz="1499"/>
            </a:lvl2pPr>
            <a:lvl3pPr marL="685595" indent="0" algn="ctr">
              <a:buNone/>
              <a:defRPr sz="1349"/>
            </a:lvl3pPr>
            <a:lvl4pPr marL="1028392" indent="0" algn="ctr">
              <a:buNone/>
              <a:defRPr sz="1200"/>
            </a:lvl4pPr>
            <a:lvl5pPr marL="1371188" indent="0" algn="ctr">
              <a:buNone/>
              <a:defRPr sz="1200"/>
            </a:lvl5pPr>
            <a:lvl6pPr marL="1713986" indent="0" algn="ctr">
              <a:buNone/>
              <a:defRPr sz="1200"/>
            </a:lvl6pPr>
            <a:lvl7pPr marL="2056783" indent="0" algn="ctr">
              <a:buNone/>
              <a:defRPr sz="1200"/>
            </a:lvl7pPr>
            <a:lvl8pPr marL="2399580" indent="0" algn="ctr">
              <a:buNone/>
              <a:defRPr sz="1200"/>
            </a:lvl8pPr>
            <a:lvl9pPr marL="2742377" indent="0" algn="ctr">
              <a:buNone/>
              <a:defRPr sz="1200"/>
            </a:lvl9pPr>
          </a:lstStyle>
          <a:p>
            <a:r>
              <a:rPr lang="en-US"/>
              <a:t>Click to edit Master subtitle style</a:t>
            </a:r>
            <a:endParaRPr lang="LID4096"/>
          </a:p>
        </p:txBody>
      </p:sp>
      <p:sp>
        <p:nvSpPr>
          <p:cNvPr id="4" name="Date Placeholder 3">
            <a:extLst>
              <a:ext uri="{FF2B5EF4-FFF2-40B4-BE49-F238E27FC236}">
                <a16:creationId xmlns:a16="http://schemas.microsoft.com/office/drawing/2014/main" id="{98B03B7F-F46D-46BF-8DDD-25D977B4DF02}"/>
              </a:ext>
            </a:extLst>
          </p:cNvPr>
          <p:cNvSpPr>
            <a:spLocks noGrp="1"/>
          </p:cNvSpPr>
          <p:nvPr>
            <p:ph type="dt" sz="half" idx="10"/>
          </p:nvPr>
        </p:nvSpPr>
        <p:spPr/>
        <p:txBody>
          <a:bodyPr/>
          <a:lstStyle/>
          <a:p>
            <a:fld id="{A836C3FD-1432-4E81-8E55-96D3F9D8DDA2}" type="datetimeFigureOut">
              <a:rPr lang="LID4096" smtClean="0"/>
              <a:t>11/06/2023</a:t>
            </a:fld>
            <a:endParaRPr lang="LID4096"/>
          </a:p>
        </p:txBody>
      </p:sp>
      <p:sp>
        <p:nvSpPr>
          <p:cNvPr id="5" name="Footer Placeholder 4">
            <a:extLst>
              <a:ext uri="{FF2B5EF4-FFF2-40B4-BE49-F238E27FC236}">
                <a16:creationId xmlns:a16="http://schemas.microsoft.com/office/drawing/2014/main" id="{D08346FD-0A35-4D8D-AA77-26274F9B3E79}"/>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0FA3AA79-228E-4E98-A1D2-5F0E2C062B02}"/>
              </a:ext>
            </a:extLst>
          </p:cNvPr>
          <p:cNvSpPr>
            <a:spLocks noGrp="1"/>
          </p:cNvSpPr>
          <p:nvPr>
            <p:ph type="sldNum" sz="quarter" idx="12"/>
          </p:nvPr>
        </p:nvSpPr>
        <p:spPr/>
        <p:txBody>
          <a:bodyPr/>
          <a:lstStyle/>
          <a:p>
            <a:fld id="{59F0011D-B26C-474C-80F4-1667695A632B}" type="slidenum">
              <a:rPr lang="LID4096" smtClean="0"/>
              <a:t>‹#›</a:t>
            </a:fld>
            <a:endParaRPr lang="LID4096"/>
          </a:p>
        </p:txBody>
      </p:sp>
    </p:spTree>
    <p:extLst>
      <p:ext uri="{BB962C8B-B14F-4D97-AF65-F5344CB8AC3E}">
        <p14:creationId xmlns:p14="http://schemas.microsoft.com/office/powerpoint/2010/main" val="30010479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15687153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190985" y="208344"/>
            <a:ext cx="8752313" cy="207476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376906" y="607672"/>
            <a:ext cx="7692096" cy="1245725"/>
          </a:xfrm>
        </p:spPr>
        <p:txBody>
          <a:bodyPr>
            <a:normAutofit/>
          </a:bodyPr>
          <a:lstStyle>
            <a:lvl1pPr>
              <a:defRPr sz="3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377431" y="2460721"/>
            <a:ext cx="7735490" cy="1163602"/>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7260968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7838647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4786" cy="818489"/>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393031" y="1245394"/>
            <a:ext cx="7297341" cy="1749029"/>
          </a:xfrm>
        </p:spPr>
        <p:txBody>
          <a:bodyPr>
            <a:normAutofit/>
          </a:bodyPr>
          <a:lstStyle>
            <a:lvl1pPr>
              <a:defRPr sz="1350"/>
            </a:lvl1pPr>
            <a:lvl2pPr>
              <a:defRPr sz="135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6885896" y="4974536"/>
            <a:ext cx="2057400" cy="140674"/>
          </a:xfrm>
        </p:spPr>
        <p:txBody>
          <a:bodyPr tIns="0" rIns="0"/>
          <a:lstStyle/>
          <a:p>
            <a:fld id="{37F5C94B-8C55-478B-B509-BAE6A06B2E2A}" type="slidenum">
              <a:rPr lang="en-US" sz="750" smtClean="0">
                <a:solidFill>
                  <a:srgbClr val="ADAFBB"/>
                </a:solidFill>
              </a:rPr>
              <a:pPr/>
              <a:t>‹#›</a:t>
            </a:fld>
            <a:endParaRPr lang="en-US" sz="750" dirty="0">
              <a:solidFill>
                <a:srgbClr val="ADAFBB"/>
              </a:solidFill>
            </a:endParaRPr>
          </a:p>
        </p:txBody>
      </p:sp>
    </p:spTree>
    <p:extLst>
      <p:ext uri="{BB962C8B-B14F-4D97-AF65-F5344CB8AC3E}">
        <p14:creationId xmlns:p14="http://schemas.microsoft.com/office/powerpoint/2010/main" val="417396598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423312043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4787" cy="818489"/>
          </a:xfrm>
          <a:prstGeom prst="rect">
            <a:avLst/>
          </a:prstGeom>
          <a:noFill/>
        </p:spPr>
        <p:txBody>
          <a:bodyPr vert="horz" lIns="91440" tIns="45720" rIns="91440" bIns="45720" rtlCol="0" anchor="ctr">
            <a:normAutofit/>
          </a:bodyPr>
          <a:lstStyle>
            <a:lvl1pPr>
              <a:defRPr sz="18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381001" y="1214872"/>
            <a:ext cx="8309372" cy="1272236"/>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6885896" y="4974536"/>
            <a:ext cx="2057400" cy="140674"/>
          </a:xfrm>
        </p:spPr>
        <p:txBody>
          <a:bodyPr tIns="0" rIns="0"/>
          <a:lstStyle/>
          <a:p>
            <a:fld id="{37F5C94B-8C55-478B-B509-BAE6A06B2E2A}" type="slidenum">
              <a:rPr lang="en-US" sz="750" smtClean="0">
                <a:solidFill>
                  <a:srgbClr val="ADAFBB"/>
                </a:solidFill>
              </a:rPr>
              <a:pPr/>
              <a:t>‹#›</a:t>
            </a:fld>
            <a:endParaRPr lang="en-US" sz="750" dirty="0">
              <a:solidFill>
                <a:srgbClr val="ADAFBB"/>
              </a:solidFill>
            </a:endParaRPr>
          </a:p>
        </p:txBody>
      </p:sp>
    </p:spTree>
    <p:extLst>
      <p:ext uri="{BB962C8B-B14F-4D97-AF65-F5344CB8AC3E}">
        <p14:creationId xmlns:p14="http://schemas.microsoft.com/office/powerpoint/2010/main" val="2022503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 Body slide - Tabl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87338" y="28435"/>
            <a:ext cx="8497093" cy="1007055"/>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6" name="Table Placeholder 12">
            <a:extLst>
              <a:ext uri="{FF2B5EF4-FFF2-40B4-BE49-F238E27FC236}">
                <a16:creationId xmlns:a16="http://schemas.microsoft.com/office/drawing/2014/main" id="{D90CC8CD-0F46-F240-AF4E-99DE2A9ECF91}"/>
              </a:ext>
            </a:extLst>
          </p:cNvPr>
          <p:cNvSpPr>
            <a:spLocks noGrp="1"/>
          </p:cNvSpPr>
          <p:nvPr>
            <p:ph type="tbl" sz="quarter" idx="13" hasCustomPrompt="1"/>
          </p:nvPr>
        </p:nvSpPr>
        <p:spPr>
          <a:xfrm>
            <a:off x="287338" y="1208314"/>
            <a:ext cx="8497093" cy="3075686"/>
          </a:xfrm>
          <a:prstGeom prst="rect">
            <a:avLst/>
          </a:prstGeom>
        </p:spPr>
        <p:txBody>
          <a:bodyPr/>
          <a:lstStyle>
            <a:lvl1pPr marL="0" indent="0" algn="ctr">
              <a:buNone/>
              <a:defRPr b="1">
                <a:solidFill>
                  <a:schemeClr val="bg1">
                    <a:lumMod val="85000"/>
                  </a:schemeClr>
                </a:solidFill>
              </a:defRPr>
            </a:lvl1pPr>
          </a:lstStyle>
          <a:p>
            <a:r>
              <a:rPr lang="fi-FI" dirty="0"/>
              <a:t>Click icon to add table</a:t>
            </a:r>
          </a:p>
        </p:txBody>
      </p:sp>
      <p:sp>
        <p:nvSpPr>
          <p:cNvPr id="5" name="Slide Number Placeholder 5">
            <a:extLst>
              <a:ext uri="{FF2B5EF4-FFF2-40B4-BE49-F238E27FC236}">
                <a16:creationId xmlns:a16="http://schemas.microsoft.com/office/drawing/2014/main" id="{2D4CDEE4-AFAC-4BB1-B02E-FDE939F20DC1}"/>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32C686F0-0C1B-46BD-9DE7-A93BAA6AC898}"/>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4338FCB4-9412-423F-84B9-91EDDBA25087}"/>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2920564110"/>
      </p:ext>
    </p:extLst>
  </p:cSld>
  <p:clrMapOvr>
    <a:masterClrMapping/>
  </p:clrMapOvr>
  <p:extLst>
    <p:ext uri="{DCECCB84-F9BA-43D5-87BE-67443E8EF086}">
      <p15:sldGuideLst xmlns:p15="http://schemas.microsoft.com/office/powerpoint/2012/main">
        <p15:guide id="1" orient="horz" pos="3100" userDrawn="1">
          <p15:clr>
            <a:srgbClr val="FBAE40"/>
          </p15:clr>
        </p15:guide>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38993241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5089" cy="818489"/>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6885896" y="4974536"/>
            <a:ext cx="2057400" cy="140674"/>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381002" y="1214876"/>
            <a:ext cx="3859675" cy="1502284"/>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4831002" y="1214876"/>
            <a:ext cx="3859675" cy="1502284"/>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381002" y="2982008"/>
            <a:ext cx="3859675" cy="1502284"/>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4831002" y="2982008"/>
            <a:ext cx="3859675" cy="1502284"/>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1" y="0"/>
            <a:ext cx="9143999" cy="514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Tree>
    <p:extLst>
      <p:ext uri="{BB962C8B-B14F-4D97-AF65-F5344CB8AC3E}">
        <p14:creationId xmlns:p14="http://schemas.microsoft.com/office/powerpoint/2010/main" val="104092644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5" y="1275608"/>
            <a:ext cx="8207375" cy="2657094"/>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pic>
        <p:nvPicPr>
          <p:cNvPr id="9"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261"/>
            <a:ext cx="1809750" cy="1445895"/>
          </a:xfrm>
          <a:prstGeom prst="rect">
            <a:avLst/>
          </a:prstGeom>
        </p:spPr>
      </p:pic>
    </p:spTree>
    <p:extLst>
      <p:ext uri="{BB962C8B-B14F-4D97-AF65-F5344CB8AC3E}">
        <p14:creationId xmlns:p14="http://schemas.microsoft.com/office/powerpoint/2010/main" val="395338201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5" y="1275872"/>
            <a:ext cx="8207375" cy="2656829"/>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pic>
        <p:nvPicPr>
          <p:cNvPr id="5"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261"/>
            <a:ext cx="1809750" cy="1445895"/>
          </a:xfrm>
          <a:prstGeom prst="rect">
            <a:avLst/>
          </a:prstGeom>
        </p:spPr>
      </p:pic>
    </p:spTree>
    <p:extLst>
      <p:ext uri="{BB962C8B-B14F-4D97-AF65-F5344CB8AC3E}">
        <p14:creationId xmlns:p14="http://schemas.microsoft.com/office/powerpoint/2010/main" val="407734862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ver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chemeClr val="tx2"/>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5" y="3986773"/>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pic>
        <p:nvPicPr>
          <p:cNvPr id="5"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0"/>
            <a:ext cx="1809750" cy="1445895"/>
          </a:xfrm>
          <a:prstGeom prst="rect">
            <a:avLst/>
          </a:prstGeom>
        </p:spPr>
      </p:pic>
    </p:spTree>
    <p:extLst>
      <p:ext uri="{BB962C8B-B14F-4D97-AF65-F5344CB8AC3E}">
        <p14:creationId xmlns:p14="http://schemas.microsoft.com/office/powerpoint/2010/main" val="34216685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ver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5" y="1491966"/>
            <a:ext cx="3319477" cy="2424675"/>
          </a:xfrm>
          <a:prstGeom prst="rect">
            <a:avLst/>
          </a:prstGeom>
        </p:spPr>
        <p:txBody>
          <a:bodyPr lIns="0" tIns="0" rIns="0" bIns="0" anchor="t">
            <a:noAutofit/>
          </a:bodyPr>
          <a:lstStyle>
            <a:lvl1pPr algn="l">
              <a:lnSpc>
                <a:spcPct val="80000"/>
              </a:lnSpc>
              <a:defRPr sz="5400" b="1" spc="-180">
                <a:solidFill>
                  <a:schemeClr val="tx2"/>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5"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3" y="135000"/>
            <a:ext cx="4629692" cy="4873500"/>
          </a:xfrm>
          <a:prstGeom prst="rect">
            <a:avLst/>
          </a:prstGeom>
        </p:spPr>
        <p:txBody>
          <a:bodyPr vert="horz" lIns="91436" tIns="45718" rIns="91436" bIns="45718"/>
          <a:lstStyle/>
          <a:p>
            <a:pPr lvl="0"/>
            <a:r>
              <a:rPr lang="en-US" noProof="0"/>
              <a:t>Click icon to add picture</a:t>
            </a:r>
            <a:endParaRPr lang="fi-FI" noProof="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0"/>
            <a:ext cx="1809750" cy="1445895"/>
          </a:xfrm>
          <a:prstGeom prst="rect">
            <a:avLst/>
          </a:prstGeom>
        </p:spPr>
      </p:pic>
    </p:spTree>
    <p:extLst>
      <p:ext uri="{BB962C8B-B14F-4D97-AF65-F5344CB8AC3E}">
        <p14:creationId xmlns:p14="http://schemas.microsoft.com/office/powerpoint/2010/main" val="22979382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5" y="1434201"/>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en-US"/>
              <a:t>Click to edit Master title style</a:t>
            </a:r>
            <a:endParaRPr lang="en-US" dirty="0"/>
          </a:p>
        </p:txBody>
      </p:sp>
      <p:cxnSp>
        <p:nvCxnSpPr>
          <p:cNvPr id="7" name="Straight Connector 4"/>
          <p:cNvCxnSpPr/>
          <p:nvPr userDrawn="1"/>
        </p:nvCxnSpPr>
        <p:spPr>
          <a:xfrm>
            <a:off x="46831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2" y="4241160"/>
            <a:ext cx="2227145" cy="861840"/>
          </a:xfrm>
          <a:prstGeom prst="rect">
            <a:avLst/>
          </a:prstGeom>
        </p:spPr>
      </p:pic>
    </p:spTree>
    <p:extLst>
      <p:ext uri="{BB962C8B-B14F-4D97-AF65-F5344CB8AC3E}">
        <p14:creationId xmlns:p14="http://schemas.microsoft.com/office/powerpoint/2010/main" val="58373605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ctrTitle"/>
          </p:nvPr>
        </p:nvSpPr>
        <p:spPr>
          <a:xfrm>
            <a:off x="468315" y="238602"/>
            <a:ext cx="8207375" cy="89684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5" y="1135451"/>
            <a:ext cx="8207374" cy="3002475"/>
          </a:xfrm>
          <a:prstGeom prst="rect">
            <a:avLst/>
          </a:prstGeom>
        </p:spPr>
        <p:txBody>
          <a:bodyPr vert="horz" lIns="0" tIns="0" rIns="0" bIns="0"/>
          <a:lstStyle>
            <a:lvl1pPr marL="0" indent="0">
              <a:buNone/>
              <a:defRPr sz="1890" b="1">
                <a:latin typeface="+mj-lt"/>
              </a:defRPr>
            </a:lvl1pPr>
            <a:lvl2pPr marL="213831" indent="-191153">
              <a:buFont typeface="Arial"/>
              <a:buChar char="•"/>
              <a:defRPr sz="1800">
                <a:latin typeface="Georgia"/>
              </a:defRPr>
            </a:lvl2pPr>
            <a:lvl3pPr marL="414704" indent="-207352">
              <a:buFont typeface="Lucida Grande"/>
              <a:buChar char="-"/>
              <a:defRPr sz="1440" i="1">
                <a:latin typeface="Georgia"/>
                <a:cs typeface="Georgia"/>
              </a:defRPr>
            </a:lvl3pPr>
            <a:lvl4pPr marL="712771" indent="-174953">
              <a:buFont typeface="Arial"/>
              <a:buChar char="•"/>
              <a:defRPr sz="1260" baseline="0">
                <a:latin typeface="Georgia"/>
              </a:defRPr>
            </a:lvl4pPr>
            <a:lvl5pPr marL="978440" indent="-205732">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t>6.11.2023</a:t>
            </a:fld>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pPr>
                <a:defRPr/>
              </a:pPr>
              <a:t>‹#›</a:t>
            </a:fld>
            <a:endParaRPr lang="fi-FI"/>
          </a:p>
        </p:txBody>
      </p:sp>
      <p:cxnSp>
        <p:nvCxnSpPr>
          <p:cNvPr id="12" name="Straight Connector 4"/>
          <p:cNvCxnSpPr/>
          <p:nvPr userDrawn="1"/>
        </p:nvCxnSpPr>
        <p:spPr>
          <a:xfrm>
            <a:off x="468315" y="4385706"/>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2" y="4241160"/>
            <a:ext cx="2227147" cy="861840"/>
          </a:xfrm>
          <a:prstGeom prst="rect">
            <a:avLst/>
          </a:prstGeom>
        </p:spPr>
      </p:pic>
    </p:spTree>
    <p:extLst>
      <p:ext uri="{BB962C8B-B14F-4D97-AF65-F5344CB8AC3E}">
        <p14:creationId xmlns:p14="http://schemas.microsoft.com/office/powerpoint/2010/main" val="256626252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10" y="1135451"/>
            <a:ext cx="3988079" cy="3002475"/>
          </a:xfrm>
          <a:prstGeom prst="rect">
            <a:avLst/>
          </a:prstGeom>
        </p:spPr>
        <p:txBody>
          <a:bodyPr vert="horz" lIns="0" tIns="0" rIns="0" bIns="0"/>
          <a:lstStyle>
            <a:lvl1pPr marL="0" indent="0">
              <a:buNone/>
              <a:defRPr sz="1890" b="1">
                <a:latin typeface="+mj-lt"/>
              </a:defRPr>
            </a:lvl1pPr>
            <a:lvl2pPr marL="213831" indent="-191153">
              <a:buFont typeface="Arial"/>
              <a:buChar char="•"/>
              <a:defRPr sz="1800">
                <a:latin typeface="Georgia"/>
              </a:defRPr>
            </a:lvl2pPr>
            <a:lvl3pPr marL="414704" indent="-207352">
              <a:buFont typeface="Lucida Grande"/>
              <a:buChar char="-"/>
              <a:defRPr sz="1440" i="1">
                <a:latin typeface="Georgia"/>
                <a:cs typeface="Georgia"/>
              </a:defRPr>
            </a:lvl3pPr>
            <a:lvl4pPr marL="712771" indent="-174953">
              <a:buFont typeface="Arial"/>
              <a:buChar char="•"/>
              <a:defRPr sz="1260" baseline="0">
                <a:latin typeface="Georgia"/>
              </a:defRPr>
            </a:lvl4pPr>
            <a:lvl5pPr marL="978440" indent="-205732">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1" y="1135451"/>
            <a:ext cx="3988079" cy="3002475"/>
          </a:xfrm>
          <a:prstGeom prst="rect">
            <a:avLst/>
          </a:prstGeom>
        </p:spPr>
        <p:txBody>
          <a:bodyPr vert="horz" lIns="0" tIns="0" rIns="0" bIns="0"/>
          <a:lstStyle>
            <a:lvl1pPr marL="0" indent="0">
              <a:buNone/>
              <a:defRPr sz="1890" b="1">
                <a:latin typeface="+mj-lt"/>
              </a:defRPr>
            </a:lvl1pPr>
            <a:lvl2pPr marL="213831" indent="-191153">
              <a:buFont typeface="Arial"/>
              <a:buChar char="•"/>
              <a:defRPr sz="1800">
                <a:latin typeface="Georgia"/>
              </a:defRPr>
            </a:lvl2pPr>
            <a:lvl3pPr marL="414704" indent="-207352">
              <a:buFont typeface="Lucida Grande"/>
              <a:buChar char="-"/>
              <a:defRPr sz="1440" i="1">
                <a:latin typeface="Georgia"/>
                <a:cs typeface="Georgia"/>
              </a:defRPr>
            </a:lvl3pPr>
            <a:lvl4pPr marL="712771" indent="-174953">
              <a:buFont typeface="Arial"/>
              <a:buChar char="•"/>
              <a:defRPr sz="1260" baseline="0">
                <a:latin typeface="Georgia"/>
              </a:defRPr>
            </a:lvl4pPr>
            <a:lvl5pPr marL="978440" indent="-205732">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t>6.11.2023</a:t>
            </a:fld>
            <a:endParaRPr lang="fi-FI"/>
          </a:p>
        </p:txBody>
      </p:sp>
      <p:sp>
        <p:nvSpPr>
          <p:cNvPr id="8" name="Footer Placeholder 11"/>
          <p:cNvSpPr>
            <a:spLocks noGrp="1"/>
          </p:cNvSpPr>
          <p:nvPr>
            <p:ph type="ftr" sz="quarter" idx="20"/>
          </p:nvPr>
        </p:nvSpPr>
        <p:spPr/>
        <p:txBody>
          <a:bodyPr/>
          <a:lstStyle>
            <a:lvl1pPr>
              <a:defRPr/>
            </a:lvl1pPr>
          </a:lstStyle>
          <a:p>
            <a:pPr>
              <a:defRPr/>
            </a:pPr>
            <a:endParaRPr lang="fi-FI"/>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pPr>
                <a:defRPr/>
              </a:pPr>
              <a:t>‹#›</a:t>
            </a:fld>
            <a:endParaRPr lang="fi-FI"/>
          </a:p>
        </p:txBody>
      </p:sp>
      <p:cxnSp>
        <p:nvCxnSpPr>
          <p:cNvPr id="13" name="Straight Connector 4"/>
          <p:cNvCxnSpPr/>
          <p:nvPr userDrawn="1"/>
        </p:nvCxnSpPr>
        <p:spPr>
          <a:xfrm>
            <a:off x="468315" y="4385706"/>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4"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2" y="4241160"/>
            <a:ext cx="2227147" cy="861840"/>
          </a:xfrm>
          <a:prstGeom prst="rect">
            <a:avLst/>
          </a:prstGeom>
        </p:spPr>
      </p:pic>
    </p:spTree>
    <p:extLst>
      <p:ext uri="{BB962C8B-B14F-4D97-AF65-F5344CB8AC3E}">
        <p14:creationId xmlns:p14="http://schemas.microsoft.com/office/powerpoint/2010/main" val="36131429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403350" y="228601"/>
            <a:ext cx="7056438" cy="777479"/>
          </a:xfrm>
          <a:prstGeom prst="rect">
            <a:avLst/>
          </a:prstGeom>
        </p:spPr>
        <p:txBody>
          <a:bodyPr lIns="91436" tIns="45718" rIns="91436" bIns="45718"/>
          <a:lstStyle/>
          <a:p>
            <a:r>
              <a:rPr lang="fi-FI"/>
              <a:t>Click to edit Master title style</a:t>
            </a:r>
            <a:endParaRPr lang="en-US"/>
          </a:p>
        </p:txBody>
      </p:sp>
      <p:sp>
        <p:nvSpPr>
          <p:cNvPr id="3" name="Content Placeholder 2"/>
          <p:cNvSpPr>
            <a:spLocks noGrp="1"/>
          </p:cNvSpPr>
          <p:nvPr>
            <p:ph sz="half" idx="1"/>
          </p:nvPr>
        </p:nvSpPr>
        <p:spPr>
          <a:xfrm>
            <a:off x="1403353" y="1314450"/>
            <a:ext cx="3451225" cy="3363516"/>
          </a:xfrm>
          <a:prstGeom prst="rect">
            <a:avLst/>
          </a:prstGeom>
        </p:spPr>
        <p:txBody>
          <a:bodyPr lIns="91436" tIns="45718" rIns="91436" bIns="45718"/>
          <a:lstStyle>
            <a:lvl1pPr>
              <a:defRPr sz="2070"/>
            </a:lvl1pPr>
            <a:lvl2pPr>
              <a:defRPr sz="1800"/>
            </a:lvl2pPr>
            <a:lvl3pPr>
              <a:defRPr sz="1440"/>
            </a:lvl3pPr>
            <a:lvl4pPr>
              <a:defRPr sz="1350"/>
            </a:lvl4pPr>
            <a:lvl5pPr>
              <a:defRPr sz="1350"/>
            </a:lvl5pPr>
            <a:lvl6pPr>
              <a:defRPr sz="1350"/>
            </a:lvl6pPr>
            <a:lvl7pPr>
              <a:defRPr sz="1350"/>
            </a:lvl7pPr>
            <a:lvl8pPr>
              <a:defRPr sz="1350"/>
            </a:lvl8pPr>
            <a:lvl9pPr>
              <a:defRPr sz="1350"/>
            </a:lvl9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4" name="Content Placeholder 3"/>
          <p:cNvSpPr>
            <a:spLocks noGrp="1"/>
          </p:cNvSpPr>
          <p:nvPr>
            <p:ph sz="half" idx="2"/>
          </p:nvPr>
        </p:nvSpPr>
        <p:spPr>
          <a:xfrm>
            <a:off x="5006978" y="1314450"/>
            <a:ext cx="3452813" cy="3363516"/>
          </a:xfrm>
          <a:prstGeom prst="rect">
            <a:avLst/>
          </a:prstGeom>
        </p:spPr>
        <p:txBody>
          <a:bodyPr lIns="91436" tIns="45718" rIns="91436" bIns="45718"/>
          <a:lstStyle>
            <a:lvl1pPr>
              <a:defRPr sz="2070"/>
            </a:lvl1pPr>
            <a:lvl2pPr>
              <a:defRPr sz="1800"/>
            </a:lvl2pPr>
            <a:lvl3pPr>
              <a:defRPr sz="1440"/>
            </a:lvl3pPr>
            <a:lvl4pPr>
              <a:defRPr sz="1350"/>
            </a:lvl4pPr>
            <a:lvl5pPr>
              <a:defRPr sz="1350"/>
            </a:lvl5pPr>
            <a:lvl6pPr>
              <a:defRPr sz="1350"/>
            </a:lvl6pPr>
            <a:lvl7pPr>
              <a:defRPr sz="1350"/>
            </a:lvl7pPr>
            <a:lvl8pPr>
              <a:defRPr sz="1350"/>
            </a:lvl8pPr>
            <a:lvl9pPr>
              <a:defRPr sz="1350"/>
            </a:lvl9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5" name="Rectangle 6"/>
          <p:cNvSpPr>
            <a:spLocks noGrp="1" noChangeArrowheads="1"/>
          </p:cNvSpPr>
          <p:nvPr>
            <p:ph type="ftr" sz="quarter" idx="10"/>
          </p:nvPr>
        </p:nvSpPr>
        <p:spPr>
          <a:ln/>
        </p:spPr>
        <p:txBody>
          <a:bodyPr/>
          <a:lstStyle>
            <a:lvl1pPr>
              <a:defRPr/>
            </a:lvl1pPr>
          </a:lstStyle>
          <a:p>
            <a:pPr>
              <a:defRPr/>
            </a:pPr>
            <a:r>
              <a:rPr lang="en-GB"/>
              <a:t> - </a:t>
            </a:r>
          </a:p>
        </p:txBody>
      </p:sp>
      <p:sp>
        <p:nvSpPr>
          <p:cNvPr id="6" name="Rectangle 7"/>
          <p:cNvSpPr>
            <a:spLocks noGrp="1" noChangeArrowheads="1"/>
          </p:cNvSpPr>
          <p:nvPr>
            <p:ph type="sldNum" sz="quarter" idx="11"/>
          </p:nvPr>
        </p:nvSpPr>
        <p:spPr>
          <a:ln/>
        </p:spPr>
        <p:txBody>
          <a:bodyPr/>
          <a:lstStyle>
            <a:lvl1pPr>
              <a:defRPr/>
            </a:lvl1pPr>
          </a:lstStyle>
          <a:p>
            <a:fld id="{41751B66-6A8D-4994-8053-47E8D8E44503}" type="slidenum">
              <a:rPr lang="en-GB" altLang="en-US"/>
              <a:pPr/>
              <a:t>‹#›</a:t>
            </a:fld>
            <a:endParaRPr lang="en-GB" altLang="en-US"/>
          </a:p>
        </p:txBody>
      </p:sp>
    </p:spTree>
    <p:extLst>
      <p:ext uri="{BB962C8B-B14F-4D97-AF65-F5344CB8AC3E}">
        <p14:creationId xmlns:p14="http://schemas.microsoft.com/office/powerpoint/2010/main" val="355629451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31" y="174960"/>
            <a:ext cx="8492897" cy="952560"/>
          </a:xfrm>
          <a:prstGeom prst="rect">
            <a:avLst/>
          </a:prstGeom>
        </p:spPr>
        <p:txBody>
          <a:bodyPr lIns="0" tIns="0" rIns="0" bIns="0"/>
          <a:lstStyle>
            <a:lvl1pPr marL="0" indent="0">
              <a:lnSpc>
                <a:spcPts val="3239"/>
              </a:lnSpc>
              <a:buNone/>
              <a:defRPr sz="3239" b="1" baseline="0">
                <a:solidFill>
                  <a:schemeClr val="tx1"/>
                </a:solidFill>
                <a:latin typeface="+mj-lt"/>
              </a:defRPr>
            </a:lvl1pPr>
            <a:lvl2pPr marL="277675" indent="0">
              <a:buNone/>
              <a:defRPr sz="851"/>
            </a:lvl2pPr>
            <a:lvl3pPr marL="555350" indent="0">
              <a:buNone/>
              <a:defRPr sz="729"/>
            </a:lvl3pPr>
            <a:lvl4pPr marL="833025" indent="0">
              <a:buNone/>
              <a:defRPr sz="608"/>
            </a:lvl4pPr>
            <a:lvl5pPr marL="1110700" indent="0">
              <a:buNone/>
              <a:defRPr sz="608"/>
            </a:lvl5pPr>
            <a:lvl6pPr marL="1388375" indent="0">
              <a:buNone/>
              <a:defRPr sz="608"/>
            </a:lvl6pPr>
            <a:lvl7pPr marL="1666049" indent="0">
              <a:buNone/>
              <a:defRPr sz="608"/>
            </a:lvl7pPr>
            <a:lvl8pPr marL="1943725" indent="0">
              <a:buNone/>
              <a:defRPr sz="608"/>
            </a:lvl8pPr>
            <a:lvl9pPr marL="2221400" indent="0">
              <a:buNone/>
              <a:defRPr sz="608"/>
            </a:lvl9pPr>
          </a:lstStyle>
          <a:p>
            <a:pPr lvl="0"/>
            <a:r>
              <a:rPr lang="en-US" dirty="0"/>
              <a:t>Body slide title</a:t>
            </a:r>
          </a:p>
        </p:txBody>
      </p:sp>
      <p:sp>
        <p:nvSpPr>
          <p:cNvPr id="7" name="Text Placeholder 3"/>
          <p:cNvSpPr>
            <a:spLocks noGrp="1"/>
          </p:cNvSpPr>
          <p:nvPr>
            <p:ph type="body" sz="half" idx="11" hasCustomPrompt="1"/>
          </p:nvPr>
        </p:nvSpPr>
        <p:spPr>
          <a:xfrm>
            <a:off x="292330" y="1246367"/>
            <a:ext cx="8492897" cy="3127633"/>
          </a:xfrm>
          <a:prstGeom prst="rect">
            <a:avLst/>
          </a:prstGeom>
        </p:spPr>
        <p:txBody>
          <a:bodyPr lIns="0" tIns="0" rIns="0" bIns="0"/>
          <a:lstStyle>
            <a:lvl1pPr marL="0" marR="0" indent="0" algn="l" defTabSz="555350" rtl="0" eaLnBrk="1" fontAlgn="auto" latinLnBrk="0" hangingPunct="1">
              <a:lnSpc>
                <a:spcPts val="2105"/>
              </a:lnSpc>
              <a:spcBef>
                <a:spcPts val="608"/>
              </a:spcBef>
              <a:spcAft>
                <a:spcPts val="0"/>
              </a:spcAft>
              <a:buClrTx/>
              <a:buSzTx/>
              <a:buFont typeface="Arial" panose="020B0604020202020204" pitchFamily="34" charset="0"/>
              <a:buNone/>
              <a:tabLst/>
              <a:defRPr sz="1700" b="1" baseline="0">
                <a:solidFill>
                  <a:schemeClr val="tx1"/>
                </a:solidFill>
              </a:defRPr>
            </a:lvl1pPr>
            <a:lvl2pPr marL="509071" indent="-219827">
              <a:buFont typeface="Arial" panose="020B0604020202020204" pitchFamily="34" charset="0"/>
              <a:buChar char="•"/>
              <a:defRPr sz="1700"/>
            </a:lvl2pPr>
            <a:lvl3pPr marL="651766" indent="-142695">
              <a:buFont typeface="Arial" panose="020B0604020202020204" pitchFamily="34" charset="0"/>
              <a:buChar char="•"/>
              <a:defRPr sz="1296"/>
            </a:lvl3pPr>
            <a:lvl4pPr marL="833025" indent="0">
              <a:buNone/>
              <a:defRPr sz="608"/>
            </a:lvl4pPr>
            <a:lvl5pPr marL="1110700" indent="0">
              <a:buNone/>
              <a:defRPr sz="608"/>
            </a:lvl5pPr>
            <a:lvl6pPr marL="1388375" indent="0">
              <a:buNone/>
              <a:defRPr sz="608"/>
            </a:lvl6pPr>
            <a:lvl7pPr marL="1666049" indent="0">
              <a:buNone/>
              <a:defRPr sz="608"/>
            </a:lvl7pPr>
            <a:lvl8pPr marL="1943725" indent="0">
              <a:buNone/>
              <a:defRPr sz="608"/>
            </a:lvl8pPr>
            <a:lvl9pPr marL="2221400" indent="0">
              <a:buNone/>
              <a:defRPr sz="608"/>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pic>
        <p:nvPicPr>
          <p:cNvPr id="9" name="Kuva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0701" y="4610131"/>
            <a:ext cx="1722251" cy="317629"/>
          </a:xfrm>
          <a:prstGeom prst="rect">
            <a:avLst/>
          </a:prstGeom>
        </p:spPr>
      </p:pic>
    </p:spTree>
    <p:extLst>
      <p:ext uri="{BB962C8B-B14F-4D97-AF65-F5344CB8AC3E}">
        <p14:creationId xmlns:p14="http://schemas.microsoft.com/office/powerpoint/2010/main" val="3978778671"/>
      </p:ext>
    </p:extLst>
  </p:cSld>
  <p:clrMapOvr>
    <a:masterClrMapping/>
  </p:clrMapOvr>
  <p:extLst>
    <p:ext uri="{DCECCB84-F9BA-43D5-87BE-67443E8EF086}">
      <p15:sldGuideLst xmlns:p15="http://schemas.microsoft.com/office/powerpoint/2012/main">
        <p15:guide id="4" pos="5534">
          <p15:clr>
            <a:srgbClr val="FBAE40"/>
          </p15:clr>
        </p15:guide>
        <p15:guide id="5" orient="horz" pos="363">
          <p15:clr>
            <a:srgbClr val="FBAE40"/>
          </p15:clr>
        </p15:guide>
        <p15:guide id="6" pos="2795">
          <p15:clr>
            <a:srgbClr val="FBAE40"/>
          </p15:clr>
        </p15:guide>
        <p15:guide id="7" pos="2965">
          <p15:clr>
            <a:srgbClr val="FBAE40"/>
          </p15:clr>
        </p15:guide>
        <p15:guide id="8" orient="horz" pos="943">
          <p15:clr>
            <a:srgbClr val="FBAE40"/>
          </p15:clr>
        </p15:guide>
        <p15:guide id="9" orient="horz" pos="3229">
          <p15:clr>
            <a:srgbClr val="FBAE40"/>
          </p15:clr>
        </p15:guide>
        <p15:guide id="10" orient="horz" pos="3433">
          <p15:clr>
            <a:srgbClr val="FBAE40"/>
          </p15:clr>
        </p15:guide>
        <p15:guide id="11" pos="18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Body slide - 2 tables">
    <p:spTree>
      <p:nvGrpSpPr>
        <p:cNvPr id="1" name=""/>
        <p:cNvGrpSpPr/>
        <p:nvPr/>
      </p:nvGrpSpPr>
      <p:grpSpPr>
        <a:xfrm>
          <a:off x="0" y="0"/>
          <a:ext cx="0" cy="0"/>
          <a:chOff x="0" y="0"/>
          <a:chExt cx="0" cy="0"/>
        </a:xfrm>
      </p:grpSpPr>
      <p:sp>
        <p:nvSpPr>
          <p:cNvPr id="14" name="Table Placeholder 12">
            <a:extLst>
              <a:ext uri="{FF2B5EF4-FFF2-40B4-BE49-F238E27FC236}">
                <a16:creationId xmlns:a16="http://schemas.microsoft.com/office/drawing/2014/main" id="{BBBD8CFA-2274-400B-84ED-AD95B6C224E6}"/>
              </a:ext>
            </a:extLst>
          </p:cNvPr>
          <p:cNvSpPr>
            <a:spLocks noGrp="1"/>
          </p:cNvSpPr>
          <p:nvPr>
            <p:ph type="tbl" sz="quarter" idx="13" hasCustomPrompt="1"/>
          </p:nvPr>
        </p:nvSpPr>
        <p:spPr>
          <a:xfrm>
            <a:off x="287338" y="1198547"/>
            <a:ext cx="5486014" cy="1443772"/>
          </a:xfrm>
          <a:prstGeom prst="rect">
            <a:avLst/>
          </a:prstGeom>
        </p:spPr>
        <p:txBody>
          <a:bodyPr/>
          <a:lstStyle>
            <a:lvl1pPr marL="0" indent="0">
              <a:buNone/>
              <a:defRPr b="1">
                <a:solidFill>
                  <a:schemeClr val="bg1">
                    <a:lumMod val="85000"/>
                  </a:schemeClr>
                </a:solidFill>
              </a:defRPr>
            </a:lvl1pPr>
          </a:lstStyle>
          <a:p>
            <a:r>
              <a:rPr lang="fi-FI" dirty="0"/>
              <a:t>Click icon to add table</a:t>
            </a:r>
          </a:p>
        </p:txBody>
      </p:sp>
      <p:sp>
        <p:nvSpPr>
          <p:cNvPr id="13" name="Table Placeholder 12">
            <a:extLst>
              <a:ext uri="{FF2B5EF4-FFF2-40B4-BE49-F238E27FC236}">
                <a16:creationId xmlns:a16="http://schemas.microsoft.com/office/drawing/2014/main" id="{93B047F6-3228-402F-9203-526F72E0AFAD}"/>
              </a:ext>
            </a:extLst>
          </p:cNvPr>
          <p:cNvSpPr>
            <a:spLocks noGrp="1"/>
          </p:cNvSpPr>
          <p:nvPr>
            <p:ph type="tbl" sz="quarter" idx="12" hasCustomPrompt="1"/>
          </p:nvPr>
        </p:nvSpPr>
        <p:spPr>
          <a:xfrm>
            <a:off x="287338" y="2803849"/>
            <a:ext cx="5486014" cy="1480151"/>
          </a:xfrm>
          <a:prstGeom prst="rect">
            <a:avLst/>
          </a:prstGeom>
        </p:spPr>
        <p:txBody>
          <a:bodyPr/>
          <a:lstStyle>
            <a:lvl1pPr marL="0" indent="0">
              <a:buNone/>
              <a:defRPr b="1" baseline="0">
                <a:solidFill>
                  <a:schemeClr val="bg1">
                    <a:lumMod val="85000"/>
                  </a:schemeClr>
                </a:solidFill>
              </a:defRPr>
            </a:lvl1pPr>
          </a:lstStyle>
          <a:p>
            <a:r>
              <a:rPr lang="fi-FI" dirty="0"/>
              <a:t>Click icon to add table</a:t>
            </a:r>
          </a:p>
        </p:txBody>
      </p:sp>
      <p:sp>
        <p:nvSpPr>
          <p:cNvPr id="2" name="Suorakulmio 1"/>
          <p:cNvSpPr/>
          <p:nvPr userDrawn="1"/>
        </p:nvSpPr>
        <p:spPr>
          <a:xfrm>
            <a:off x="6288119" y="1198545"/>
            <a:ext cx="2167128" cy="31120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3" dirty="0"/>
          </a:p>
        </p:txBody>
      </p:sp>
      <p:sp>
        <p:nvSpPr>
          <p:cNvPr id="11" name="Text Placeholder 3"/>
          <p:cNvSpPr>
            <a:spLocks noGrp="1"/>
          </p:cNvSpPr>
          <p:nvPr>
            <p:ph type="body" sz="half" idx="10" hasCustomPrompt="1"/>
          </p:nvPr>
        </p:nvSpPr>
        <p:spPr>
          <a:xfrm>
            <a:off x="287338" y="27451"/>
            <a:ext cx="8167909" cy="1009564"/>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8" name="Text Placeholder 7">
            <a:extLst>
              <a:ext uri="{FF2B5EF4-FFF2-40B4-BE49-F238E27FC236}">
                <a16:creationId xmlns:a16="http://schemas.microsoft.com/office/drawing/2014/main" id="{B84722C4-26CA-4157-95A3-B7176EEF8B13}"/>
              </a:ext>
            </a:extLst>
          </p:cNvPr>
          <p:cNvSpPr>
            <a:spLocks noGrp="1"/>
          </p:cNvSpPr>
          <p:nvPr>
            <p:ph type="body" sz="quarter" idx="11" hasCustomPrompt="1"/>
          </p:nvPr>
        </p:nvSpPr>
        <p:spPr>
          <a:xfrm>
            <a:off x="6558279" y="1450909"/>
            <a:ext cx="1624668" cy="2623549"/>
          </a:xfrm>
          <a:prstGeom prst="rect">
            <a:avLst/>
          </a:prstGeom>
        </p:spPr>
        <p:txBody>
          <a:bodyPr lIns="0" tIns="0" rIns="0" bIns="0"/>
          <a:lstStyle>
            <a:lvl1pPr marL="0" indent="0">
              <a:lnSpc>
                <a:spcPct val="100000"/>
              </a:lnSpc>
              <a:buNone/>
              <a:defRPr lang="en-US" sz="1700" b="1" kern="1200" dirty="0" smtClean="0">
                <a:solidFill>
                  <a:schemeClr val="bg1"/>
                </a:solidFill>
                <a:latin typeface="+mn-lt"/>
                <a:ea typeface="Arial Hebrew Scholar" charset="-79"/>
                <a:cs typeface="Arial Hebrew Scholar" charset="-79"/>
              </a:defRPr>
            </a:lvl1pPr>
            <a:lvl2pPr>
              <a:defRPr lang="en-US" sz="1500" b="1" kern="1200" dirty="0" smtClean="0">
                <a:solidFill>
                  <a:schemeClr val="bg1"/>
                </a:solidFill>
                <a:latin typeface="+mn-lt"/>
                <a:ea typeface="Arial Hebrew Scholar" charset="-79"/>
                <a:cs typeface="Arial Hebrew Scholar" charset="-79"/>
              </a:defRPr>
            </a:lvl2pPr>
            <a:lvl3pPr>
              <a:defRPr lang="en-US" sz="1500" b="1" kern="1200" dirty="0" smtClean="0">
                <a:solidFill>
                  <a:schemeClr val="bg1"/>
                </a:solidFill>
                <a:latin typeface="+mn-lt"/>
                <a:ea typeface="Arial Hebrew Scholar" charset="-79"/>
                <a:cs typeface="Arial Hebrew Scholar" charset="-79"/>
              </a:defRPr>
            </a:lvl3pPr>
            <a:lvl4pPr>
              <a:defRPr lang="en-US" sz="1500" b="1" kern="1200" dirty="0" smtClean="0">
                <a:solidFill>
                  <a:schemeClr val="bg1"/>
                </a:solidFill>
                <a:latin typeface="+mn-lt"/>
                <a:ea typeface="Arial Hebrew Scholar" charset="-79"/>
                <a:cs typeface="Arial Hebrew Scholar" charset="-79"/>
              </a:defRPr>
            </a:lvl4pPr>
            <a:lvl5pPr>
              <a:defRPr lang="fi-FI" sz="1500" b="1" kern="1200" dirty="0">
                <a:solidFill>
                  <a:schemeClr val="bg1"/>
                </a:solidFill>
                <a:latin typeface="+mn-lt"/>
                <a:ea typeface="Arial Hebrew Scholar" charset="-79"/>
                <a:cs typeface="Arial Hebrew Scholar" charset="-79"/>
              </a:defRPr>
            </a:lvl5pPr>
          </a:lstStyle>
          <a:p>
            <a:pPr lvl="0"/>
            <a:r>
              <a:rPr lang="en-US" dirty="0"/>
              <a:t>Insert text here</a:t>
            </a:r>
          </a:p>
        </p:txBody>
      </p:sp>
      <p:sp>
        <p:nvSpPr>
          <p:cNvPr id="10" name="Slide Number Placeholder 5">
            <a:extLst>
              <a:ext uri="{FF2B5EF4-FFF2-40B4-BE49-F238E27FC236}">
                <a16:creationId xmlns:a16="http://schemas.microsoft.com/office/drawing/2014/main" id="{9ADAB2CE-4212-44E9-B137-C1C680FB619A}"/>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2" name="Date Placeholder 3">
            <a:extLst>
              <a:ext uri="{FF2B5EF4-FFF2-40B4-BE49-F238E27FC236}">
                <a16:creationId xmlns:a16="http://schemas.microsoft.com/office/drawing/2014/main" id="{F4E096FB-FCA1-4B5C-ACD6-0CEFB3F91793}"/>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5" name="Alatunnisteen paikkamerkki 1">
            <a:extLst>
              <a:ext uri="{FF2B5EF4-FFF2-40B4-BE49-F238E27FC236}">
                <a16:creationId xmlns:a16="http://schemas.microsoft.com/office/drawing/2014/main" id="{3C30B25E-7918-4E31-B8C8-B2EDDFA118E6}"/>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8" name="Kuva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3743304742"/>
      </p:ext>
    </p:extLst>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75B5C4-C9F4-4859-80E2-FD3BDA9A007F}" type="datetime1">
              <a:rPr lang="fi-FI" smtClean="0"/>
              <a:t>6.11.2023</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6460655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Sisältö">
    <p:spTree>
      <p:nvGrpSpPr>
        <p:cNvPr id="1" name=""/>
        <p:cNvGrpSpPr/>
        <p:nvPr/>
      </p:nvGrpSpPr>
      <p:grpSpPr>
        <a:xfrm>
          <a:off x="0" y="0"/>
          <a:ext cx="0" cy="0"/>
          <a:chOff x="0" y="0"/>
          <a:chExt cx="0" cy="0"/>
        </a:xfrm>
      </p:grpSpPr>
      <p:cxnSp>
        <p:nvCxnSpPr>
          <p:cNvPr id="4" name="Straight Connector 3"/>
          <p:cNvCxnSpPr/>
          <p:nvPr/>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5" name="Picture 5"/>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74628" y="4199336"/>
            <a:ext cx="2778125" cy="895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540004" y="285750"/>
            <a:ext cx="8085599" cy="896848"/>
          </a:xfrm>
          <a:prstGeom prst="rect">
            <a:avLst/>
          </a:prstGeom>
        </p:spPr>
        <p:txBody>
          <a:bodyPr lIns="0" tIns="0" rIns="0" bIns="0" anchor="t" anchorCtr="0">
            <a:noAutofit/>
          </a:bodyPr>
          <a:lstStyle>
            <a:lvl1pPr algn="l">
              <a:lnSpc>
                <a:spcPct val="85000"/>
              </a:lnSpc>
              <a:defRPr sz="2700" b="1" spc="-75">
                <a:solidFill>
                  <a:schemeClr val="accent1"/>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04" y="1264258"/>
            <a:ext cx="8085599" cy="2873668"/>
          </a:xfrm>
          <a:prstGeom prst="rect">
            <a:avLst/>
          </a:prstGeom>
        </p:spPr>
        <p:txBody>
          <a:bodyPr vert="horz" lIns="0" tIns="0" rIns="0" bIns="0"/>
          <a:lstStyle>
            <a:lvl1pPr marL="0" indent="0">
              <a:buNone/>
              <a:defRPr sz="1530" b="1">
                <a:latin typeface="+mj-lt"/>
              </a:defRPr>
            </a:lvl1pPr>
            <a:lvl2pPr marL="178186" indent="-159287">
              <a:buFont typeface="Arial"/>
              <a:buChar char="•"/>
              <a:defRPr sz="1440">
                <a:latin typeface="Georgia"/>
              </a:defRPr>
            </a:lvl2pPr>
            <a:lvl3pPr marL="345573" indent="-172787">
              <a:buFont typeface="Lucida Grande"/>
              <a:buChar char="-"/>
              <a:defRPr sz="1170" i="1">
                <a:latin typeface="Georgia"/>
                <a:cs typeface="Georgia"/>
              </a:defRPr>
            </a:lvl3pPr>
            <a:lvl4pPr marL="593953" indent="-145788">
              <a:buFont typeface="Arial"/>
              <a:buChar char="•"/>
              <a:defRPr sz="1080" baseline="0">
                <a:latin typeface="Georgia"/>
              </a:defRPr>
            </a:lvl4pPr>
            <a:lvl5pPr marL="815335" indent="-171437">
              <a:buFont typeface="Courier New"/>
              <a:buChar char="o"/>
              <a:defRPr sz="99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6" name="Date Placeholder 7"/>
          <p:cNvSpPr>
            <a:spLocks noGrp="1"/>
          </p:cNvSpPr>
          <p:nvPr>
            <p:ph type="dt" sz="half" idx="15"/>
          </p:nvPr>
        </p:nvSpPr>
        <p:spPr/>
        <p:txBody>
          <a:bodyPr/>
          <a:lstStyle>
            <a:lvl1pPr>
              <a:defRPr/>
            </a:lvl1pPr>
          </a:lstStyle>
          <a:p>
            <a:pPr defTabSz="411463" fontAlgn="base">
              <a:spcBef>
                <a:spcPct val="0"/>
              </a:spcBef>
              <a:spcAft>
                <a:spcPct val="0"/>
              </a:spcAft>
              <a:defRPr/>
            </a:pPr>
            <a:fld id="{63FF88FE-95CB-A641-8E65-FE27D4B17C1E}" type="datetime1">
              <a:rPr lang="en-US" smtClean="0">
                <a:solidFill>
                  <a:prstClr val="black">
                    <a:tint val="75000"/>
                  </a:prstClr>
                </a:solidFill>
                <a:ea typeface="ＭＳ Ｐゴシック" charset="0"/>
              </a:rPr>
              <a:pPr defTabSz="411463" fontAlgn="base">
                <a:spcBef>
                  <a:spcPct val="0"/>
                </a:spcBef>
                <a:spcAft>
                  <a:spcPct val="0"/>
                </a:spcAft>
                <a:defRPr/>
              </a:pPr>
              <a:t>6.11.2023</a:t>
            </a:fld>
            <a:endParaRPr lang="en-US">
              <a:solidFill>
                <a:prstClr val="black">
                  <a:tint val="75000"/>
                </a:prstClr>
              </a:solidFill>
              <a:ea typeface="ＭＳ Ｐゴシック" charset="0"/>
            </a:endParaRPr>
          </a:p>
        </p:txBody>
      </p:sp>
      <p:sp>
        <p:nvSpPr>
          <p:cNvPr id="7" name="Footer Placeholder 8"/>
          <p:cNvSpPr>
            <a:spLocks noGrp="1"/>
          </p:cNvSpPr>
          <p:nvPr>
            <p:ph type="ftr" sz="quarter" idx="16"/>
          </p:nvPr>
        </p:nvSpPr>
        <p:spPr/>
        <p:txBody>
          <a:bodyPr/>
          <a:lstStyle>
            <a:lvl1pPr>
              <a:defRPr/>
            </a:lvl1pPr>
          </a:lstStyle>
          <a:p>
            <a:pPr defTabSz="411463" fontAlgn="base">
              <a:spcBef>
                <a:spcPct val="0"/>
              </a:spcBef>
              <a:spcAft>
                <a:spcPct val="0"/>
              </a:spcAft>
              <a:defRPr/>
            </a:pPr>
            <a:endParaRPr lang="en-US">
              <a:solidFill>
                <a:prstClr val="black">
                  <a:tint val="75000"/>
                </a:prstClr>
              </a:solidFill>
              <a:ea typeface="ＭＳ Ｐゴシック" charset="0"/>
            </a:endParaRPr>
          </a:p>
        </p:txBody>
      </p:sp>
      <p:sp>
        <p:nvSpPr>
          <p:cNvPr id="8" name="Slide Number Placeholder 9"/>
          <p:cNvSpPr>
            <a:spLocks noGrp="1"/>
          </p:cNvSpPr>
          <p:nvPr>
            <p:ph type="sldNum" sz="quarter" idx="17"/>
          </p:nvPr>
        </p:nvSpPr>
        <p:spPr/>
        <p:txBody>
          <a:bodyPr/>
          <a:lstStyle>
            <a:lvl1pPr>
              <a:defRPr/>
            </a:lvl1pPr>
          </a:lstStyle>
          <a:p>
            <a:pPr defTabSz="411463" fontAlgn="base">
              <a:spcBef>
                <a:spcPct val="0"/>
              </a:spcBef>
              <a:spcAft>
                <a:spcPct val="0"/>
              </a:spcAft>
              <a:defRPr/>
            </a:pPr>
            <a:fld id="{A21D5861-1556-A548-A323-8FD817FF60B0}" type="slidenum">
              <a:rPr lang="en-US" smtClean="0">
                <a:solidFill>
                  <a:prstClr val="black">
                    <a:tint val="75000"/>
                  </a:prstClr>
                </a:solidFill>
                <a:ea typeface="ＭＳ Ｐゴシック" charset="0"/>
              </a:rPr>
              <a:pPr defTabSz="411463" fontAlgn="base">
                <a:spcBef>
                  <a:spcPct val="0"/>
                </a:spcBef>
                <a:spcAft>
                  <a:spcPct val="0"/>
                </a:spcAft>
                <a:defRPr/>
              </a:pPr>
              <a:t>‹#›</a:t>
            </a:fld>
            <a:endParaRPr lang="en-US">
              <a:solidFill>
                <a:prstClr val="black">
                  <a:tint val="75000"/>
                </a:prstClr>
              </a:solidFill>
              <a:ea typeface="ＭＳ Ｐゴシック" charset="0"/>
            </a:endParaRPr>
          </a:p>
        </p:txBody>
      </p:sp>
    </p:spTree>
    <p:extLst>
      <p:ext uri="{BB962C8B-B14F-4D97-AF65-F5344CB8AC3E}">
        <p14:creationId xmlns:p14="http://schemas.microsoft.com/office/powerpoint/2010/main" val="936226022"/>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Body slide - Black and red text - Chart">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66B642BD-45BB-4F77-82AA-AE37473CB2B3}"/>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1" name="Date Placeholder 3">
            <a:extLst>
              <a:ext uri="{FF2B5EF4-FFF2-40B4-BE49-F238E27FC236}">
                <a16:creationId xmlns:a16="http://schemas.microsoft.com/office/drawing/2014/main" id="{81652838-FE86-4ABD-9F9D-AFD4E96BB5D0}"/>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2" name="Alatunnisteen paikkamerkki 1">
            <a:extLst>
              <a:ext uri="{FF2B5EF4-FFF2-40B4-BE49-F238E27FC236}">
                <a16:creationId xmlns:a16="http://schemas.microsoft.com/office/drawing/2014/main" id="{0B96DB4D-EBEA-407A-A811-A01FA90FCD3C}"/>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6" name="Chart Placeholder 2">
            <a:extLst>
              <a:ext uri="{FF2B5EF4-FFF2-40B4-BE49-F238E27FC236}">
                <a16:creationId xmlns:a16="http://schemas.microsoft.com/office/drawing/2014/main" id="{09161BE7-F8D2-4ACD-83CC-1D9839ED404B}"/>
              </a:ext>
            </a:extLst>
          </p:cNvPr>
          <p:cNvSpPr>
            <a:spLocks noGrp="1"/>
          </p:cNvSpPr>
          <p:nvPr>
            <p:ph type="chart" sz="quarter" idx="12" hasCustomPrompt="1"/>
          </p:nvPr>
        </p:nvSpPr>
        <p:spPr>
          <a:xfrm>
            <a:off x="3654028" y="519112"/>
            <a:ext cx="5130403" cy="4153628"/>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b="1">
                <a:solidFill>
                  <a:schemeClr val="tx1">
                    <a:alpha val="17000"/>
                  </a:schemeClr>
                </a:solidFill>
              </a:defRPr>
            </a:lvl1pPr>
          </a:lstStyle>
          <a:p>
            <a:r>
              <a:rPr lang="fi-FI" dirty="0"/>
              <a:t>Click icon to add chart</a:t>
            </a:r>
          </a:p>
        </p:txBody>
      </p:sp>
      <p:sp>
        <p:nvSpPr>
          <p:cNvPr id="7" name="Text Placeholder 3">
            <a:extLst>
              <a:ext uri="{FF2B5EF4-FFF2-40B4-BE49-F238E27FC236}">
                <a16:creationId xmlns:a16="http://schemas.microsoft.com/office/drawing/2014/main" id="{9BF71F6C-31BF-8A4F-AA9D-13A108C26B84}"/>
              </a:ext>
            </a:extLst>
          </p:cNvPr>
          <p:cNvSpPr>
            <a:spLocks noGrp="1"/>
          </p:cNvSpPr>
          <p:nvPr>
            <p:ph type="body" sz="half" idx="2" hasCustomPrompt="1"/>
          </p:nvPr>
        </p:nvSpPr>
        <p:spPr>
          <a:xfrm>
            <a:off x="287339" y="2615909"/>
            <a:ext cx="3015455" cy="1668091"/>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8" name="Text Placeholder 3">
            <a:extLst>
              <a:ext uri="{FF2B5EF4-FFF2-40B4-BE49-F238E27FC236}">
                <a16:creationId xmlns:a16="http://schemas.microsoft.com/office/drawing/2014/main" id="{8818ADAA-0D73-2649-A90F-A489016A1095}"/>
              </a:ext>
            </a:extLst>
          </p:cNvPr>
          <p:cNvSpPr>
            <a:spLocks noGrp="1"/>
          </p:cNvSpPr>
          <p:nvPr>
            <p:ph type="body" sz="half" idx="10" hasCustomPrompt="1"/>
          </p:nvPr>
        </p:nvSpPr>
        <p:spPr>
          <a:xfrm>
            <a:off x="287339" y="394855"/>
            <a:ext cx="3015456" cy="1872227"/>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pic>
        <p:nvPicPr>
          <p:cNvPr id="15" name="Kuva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1" pos="2081" userDrawn="1">
          <p15:clr>
            <a:srgbClr val="FBAE40"/>
          </p15:clr>
        </p15:guide>
        <p15:guide id="2" pos="2302" userDrawn="1">
          <p15:clr>
            <a:srgbClr val="FBAE40"/>
          </p15:clr>
        </p15:guide>
        <p15:guide id="3" pos="553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Process slide - Red">
    <p:bg>
      <p:bgPr>
        <a:solidFill>
          <a:schemeClr val="tx2"/>
        </a:solidFill>
        <a:effectLst/>
      </p:bgPr>
    </p:bg>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4503" y="27708"/>
            <a:ext cx="8489928" cy="995897"/>
          </a:xfrm>
          <a:prstGeom prst="rect">
            <a:avLst/>
          </a:prstGeom>
        </p:spPr>
        <p:txBody>
          <a:bodyPr lIns="0" tIns="0" rIns="0" bIns="0"/>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6" name="Text Placeholder 5">
            <a:extLst>
              <a:ext uri="{FF2B5EF4-FFF2-40B4-BE49-F238E27FC236}">
                <a16:creationId xmlns:a16="http://schemas.microsoft.com/office/drawing/2014/main" id="{0836A9AB-7FD4-4A4D-8EF5-3255560CFBFE}"/>
              </a:ext>
            </a:extLst>
          </p:cNvPr>
          <p:cNvSpPr>
            <a:spLocks noGrp="1"/>
          </p:cNvSpPr>
          <p:nvPr>
            <p:ph type="body" sz="quarter" idx="11" hasCustomPrompt="1"/>
          </p:nvPr>
        </p:nvSpPr>
        <p:spPr>
          <a:xfrm>
            <a:off x="290831" y="2534491"/>
            <a:ext cx="1539000" cy="1753903"/>
          </a:xfrm>
          <a:prstGeom prst="rect">
            <a:avLst/>
          </a:prstGeom>
        </p:spPr>
        <p:txBody>
          <a:bodyPr lIns="0" tIns="0" rIns="0" bIns="0"/>
          <a:lstStyle>
            <a:lvl1pPr marL="81000" indent="-81000" algn="l" defTabSz="514436" rtl="0" eaLnBrk="1" latinLnBrk="0" hangingPunct="1">
              <a:lnSpc>
                <a:spcPct val="100000"/>
              </a:lnSpc>
              <a:buFont typeface="Arial" charset="0"/>
              <a:buChar char="•"/>
              <a:defRPr sz="1400" b="1">
                <a:solidFill>
                  <a:schemeClr val="bg1"/>
                </a:solidFill>
              </a:defRPr>
            </a:lvl1pPr>
            <a:lvl2pPr marL="0" indent="0">
              <a:lnSpc>
                <a:spcPts val="1500"/>
              </a:lnSpc>
              <a:buNone/>
              <a:defRPr lang="en-US" sz="1350" b="1" kern="1200" dirty="0" smtClean="0">
                <a:solidFill>
                  <a:schemeClr val="bg1"/>
                </a:solidFill>
                <a:latin typeface="+mn-lt"/>
                <a:ea typeface="Arial" charset="0"/>
                <a:cs typeface="Arial" charset="0"/>
              </a:defRPr>
            </a:lvl2pPr>
            <a:lvl3pPr>
              <a:buClr>
                <a:schemeClr val="bg1"/>
              </a:buClr>
              <a:defRPr sz="788">
                <a:solidFill>
                  <a:schemeClr val="bg1"/>
                </a:solidFill>
              </a:defRPr>
            </a:lvl3pPr>
          </a:lstStyle>
          <a:p>
            <a:pPr marL="81000" lvl="0" indent="-81000" algn="l" defTabSz="514436" rtl="0" eaLnBrk="1" latinLnBrk="0" hangingPunct="1">
              <a:lnSpc>
                <a:spcPts val="975"/>
              </a:lnSpc>
              <a:buFont typeface="Arial" charset="0"/>
              <a:buChar char="•"/>
            </a:pPr>
            <a:r>
              <a:rPr lang="fi-FI" dirty="0"/>
              <a:t>Add text</a:t>
            </a:r>
          </a:p>
        </p:txBody>
      </p:sp>
      <p:sp>
        <p:nvSpPr>
          <p:cNvPr id="18" name="Text Placeholder 5">
            <a:extLst>
              <a:ext uri="{FF2B5EF4-FFF2-40B4-BE49-F238E27FC236}">
                <a16:creationId xmlns:a16="http://schemas.microsoft.com/office/drawing/2014/main" id="{89987C57-966C-4855-9310-5E356BB3CB9E}"/>
              </a:ext>
            </a:extLst>
          </p:cNvPr>
          <p:cNvSpPr>
            <a:spLocks noGrp="1"/>
          </p:cNvSpPr>
          <p:nvPr>
            <p:ph type="body" sz="quarter" idx="12" hasCustomPrompt="1"/>
          </p:nvPr>
        </p:nvSpPr>
        <p:spPr>
          <a:xfrm>
            <a:off x="203997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4" name="Text Placeholder 23">
            <a:extLst>
              <a:ext uri="{FF2B5EF4-FFF2-40B4-BE49-F238E27FC236}">
                <a16:creationId xmlns:a16="http://schemas.microsoft.com/office/drawing/2014/main" id="{EAC2BD28-BA40-4C62-9684-204677B491A2}"/>
              </a:ext>
            </a:extLst>
          </p:cNvPr>
          <p:cNvSpPr>
            <a:spLocks noGrp="1"/>
          </p:cNvSpPr>
          <p:nvPr>
            <p:ph type="body" sz="quarter" idx="16" hasCustomPrompt="1"/>
          </p:nvPr>
        </p:nvSpPr>
        <p:spPr>
          <a:xfrm>
            <a:off x="460020"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4</a:t>
            </a:r>
          </a:p>
        </p:txBody>
      </p:sp>
      <p:sp>
        <p:nvSpPr>
          <p:cNvPr id="26" name="Text Placeholder 23">
            <a:extLst>
              <a:ext uri="{FF2B5EF4-FFF2-40B4-BE49-F238E27FC236}">
                <a16:creationId xmlns:a16="http://schemas.microsoft.com/office/drawing/2014/main" id="{0E8425B5-2F4C-4E05-8123-3A8B01FC8702}"/>
              </a:ext>
            </a:extLst>
          </p:cNvPr>
          <p:cNvSpPr>
            <a:spLocks noGrp="1"/>
          </p:cNvSpPr>
          <p:nvPr>
            <p:ph type="body" sz="quarter" idx="17" hasCustomPrompt="1"/>
          </p:nvPr>
        </p:nvSpPr>
        <p:spPr>
          <a:xfrm>
            <a:off x="2209168"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5</a:t>
            </a:r>
          </a:p>
        </p:txBody>
      </p:sp>
      <p:sp>
        <p:nvSpPr>
          <p:cNvPr id="27" name="Text Placeholder 23">
            <a:extLst>
              <a:ext uri="{FF2B5EF4-FFF2-40B4-BE49-F238E27FC236}">
                <a16:creationId xmlns:a16="http://schemas.microsoft.com/office/drawing/2014/main" id="{DC20D224-7563-4C76-AD81-513A7C8829B2}"/>
              </a:ext>
            </a:extLst>
          </p:cNvPr>
          <p:cNvSpPr>
            <a:spLocks noGrp="1"/>
          </p:cNvSpPr>
          <p:nvPr>
            <p:ph type="body" sz="quarter" idx="18" hasCustomPrompt="1"/>
          </p:nvPr>
        </p:nvSpPr>
        <p:spPr>
          <a:xfrm>
            <a:off x="3953649"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6</a:t>
            </a:r>
          </a:p>
        </p:txBody>
      </p:sp>
      <p:sp>
        <p:nvSpPr>
          <p:cNvPr id="28" name="Text Placeholder 23">
            <a:extLst>
              <a:ext uri="{FF2B5EF4-FFF2-40B4-BE49-F238E27FC236}">
                <a16:creationId xmlns:a16="http://schemas.microsoft.com/office/drawing/2014/main" id="{E06BCED4-D727-4040-AD5B-6450A58ED4DF}"/>
              </a:ext>
            </a:extLst>
          </p:cNvPr>
          <p:cNvSpPr>
            <a:spLocks noGrp="1"/>
          </p:cNvSpPr>
          <p:nvPr>
            <p:ph type="body" sz="quarter" idx="19" hasCustomPrompt="1"/>
          </p:nvPr>
        </p:nvSpPr>
        <p:spPr>
          <a:xfrm>
            <a:off x="5684135"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7</a:t>
            </a:r>
          </a:p>
        </p:txBody>
      </p:sp>
      <p:sp>
        <p:nvSpPr>
          <p:cNvPr id="29" name="Text Placeholder 23">
            <a:extLst>
              <a:ext uri="{FF2B5EF4-FFF2-40B4-BE49-F238E27FC236}">
                <a16:creationId xmlns:a16="http://schemas.microsoft.com/office/drawing/2014/main" id="{294EAA4E-E8D4-4CC5-BDD1-70053B25FE63}"/>
              </a:ext>
            </a:extLst>
          </p:cNvPr>
          <p:cNvSpPr>
            <a:spLocks noGrp="1"/>
          </p:cNvSpPr>
          <p:nvPr>
            <p:ph type="body" sz="quarter" idx="20" hasCustomPrompt="1"/>
          </p:nvPr>
        </p:nvSpPr>
        <p:spPr>
          <a:xfrm>
            <a:off x="7414621"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8</a:t>
            </a:r>
          </a:p>
        </p:txBody>
      </p:sp>
      <p:sp>
        <p:nvSpPr>
          <p:cNvPr id="17" name="Text Placeholder 5">
            <a:extLst>
              <a:ext uri="{FF2B5EF4-FFF2-40B4-BE49-F238E27FC236}">
                <a16:creationId xmlns:a16="http://schemas.microsoft.com/office/drawing/2014/main" id="{A827BBD5-9E69-4D6A-ACDE-EC26CFE2F6DA}"/>
              </a:ext>
            </a:extLst>
          </p:cNvPr>
          <p:cNvSpPr>
            <a:spLocks noGrp="1"/>
          </p:cNvSpPr>
          <p:nvPr>
            <p:ph type="body" sz="quarter" idx="23" hasCustomPrompt="1"/>
          </p:nvPr>
        </p:nvSpPr>
        <p:spPr>
          <a:xfrm>
            <a:off x="3771501"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2" name="Text Placeholder 5">
            <a:extLst>
              <a:ext uri="{FF2B5EF4-FFF2-40B4-BE49-F238E27FC236}">
                <a16:creationId xmlns:a16="http://schemas.microsoft.com/office/drawing/2014/main" id="{1BA48B8B-BD2C-4A39-82AF-63EB5DF45DE4}"/>
              </a:ext>
            </a:extLst>
          </p:cNvPr>
          <p:cNvSpPr>
            <a:spLocks noGrp="1"/>
          </p:cNvSpPr>
          <p:nvPr>
            <p:ph type="body" sz="quarter" idx="24" hasCustomPrompt="1"/>
          </p:nvPr>
        </p:nvSpPr>
        <p:spPr>
          <a:xfrm>
            <a:off x="5515995"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3" name="Text Placeholder 5">
            <a:extLst>
              <a:ext uri="{FF2B5EF4-FFF2-40B4-BE49-F238E27FC236}">
                <a16:creationId xmlns:a16="http://schemas.microsoft.com/office/drawing/2014/main" id="{FDACDC4A-3163-4169-8C73-15CC127E50C8}"/>
              </a:ext>
            </a:extLst>
          </p:cNvPr>
          <p:cNvSpPr>
            <a:spLocks noGrp="1"/>
          </p:cNvSpPr>
          <p:nvPr>
            <p:ph type="body" sz="quarter" idx="25" hasCustomPrompt="1"/>
          </p:nvPr>
        </p:nvSpPr>
        <p:spPr>
          <a:xfrm>
            <a:off x="724751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 name="Päivämäärän paikkamerkki 1">
            <a:extLst>
              <a:ext uri="{FF2B5EF4-FFF2-40B4-BE49-F238E27FC236}">
                <a16:creationId xmlns:a16="http://schemas.microsoft.com/office/drawing/2014/main" id="{17A6B884-331F-40FA-8908-119224136FDB}"/>
              </a:ext>
            </a:extLst>
          </p:cNvPr>
          <p:cNvSpPr>
            <a:spLocks noGrp="1"/>
          </p:cNvSpPr>
          <p:nvPr>
            <p:ph type="dt" sz="half" idx="26"/>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A749CABA-9FF3-45EA-9953-7B719CB699D9}"/>
              </a:ext>
            </a:extLst>
          </p:cNvPr>
          <p:cNvSpPr>
            <a:spLocks noGrp="1"/>
          </p:cNvSpPr>
          <p:nvPr>
            <p:ph type="ftr" sz="quarter" idx="27"/>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FF271C0B-E7D3-474B-A483-3CBA7656076F}"/>
              </a:ext>
            </a:extLst>
          </p:cNvPr>
          <p:cNvSpPr>
            <a:spLocks noGrp="1"/>
          </p:cNvSpPr>
          <p:nvPr>
            <p:ph type="sldNum" sz="quarter" idx="28"/>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20" name="Kuva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 Process slide - White">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D9F47391-4AC0-4F7E-BFA1-6D69FD78437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6" name="Date Placeholder 3">
            <a:extLst>
              <a:ext uri="{FF2B5EF4-FFF2-40B4-BE49-F238E27FC236}">
                <a16:creationId xmlns:a16="http://schemas.microsoft.com/office/drawing/2014/main" id="{FEF0705C-E100-4768-B5FA-237B27E15CFD}"/>
              </a:ext>
            </a:extLst>
          </p:cNvPr>
          <p:cNvSpPr>
            <a:spLocks noGrp="1"/>
          </p:cNvSpPr>
          <p:nvPr>
            <p:ph type="dt" sz="half" idx="25"/>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7" name="Alatunnisteen paikkamerkki 1">
            <a:extLst>
              <a:ext uri="{FF2B5EF4-FFF2-40B4-BE49-F238E27FC236}">
                <a16:creationId xmlns:a16="http://schemas.microsoft.com/office/drawing/2014/main" id="{84C2D171-9BD9-4BE0-A001-56E7273902C0}"/>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11" name="Text Placeholder 3"/>
          <p:cNvSpPr>
            <a:spLocks noGrp="1"/>
          </p:cNvSpPr>
          <p:nvPr>
            <p:ph type="body" sz="half" idx="10" hasCustomPrompt="1"/>
          </p:nvPr>
        </p:nvSpPr>
        <p:spPr>
          <a:xfrm>
            <a:off x="287338" y="28264"/>
            <a:ext cx="8497093" cy="1136681"/>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24" name="Text Placeholder 23">
            <a:extLst>
              <a:ext uri="{FF2B5EF4-FFF2-40B4-BE49-F238E27FC236}">
                <a16:creationId xmlns:a16="http://schemas.microsoft.com/office/drawing/2014/main" id="{EAC2BD28-BA40-4C62-9684-204677B491A2}"/>
              </a:ext>
            </a:extLst>
          </p:cNvPr>
          <p:cNvSpPr>
            <a:spLocks noGrp="1" noChangeAspect="1"/>
          </p:cNvSpPr>
          <p:nvPr>
            <p:ph type="body" sz="quarter" idx="16" hasCustomPrompt="1"/>
          </p:nvPr>
        </p:nvSpPr>
        <p:spPr>
          <a:xfrm>
            <a:off x="63175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1</a:t>
            </a:r>
          </a:p>
        </p:txBody>
      </p:sp>
      <p:sp>
        <p:nvSpPr>
          <p:cNvPr id="26" name="Text Placeholder 23">
            <a:extLst>
              <a:ext uri="{FF2B5EF4-FFF2-40B4-BE49-F238E27FC236}">
                <a16:creationId xmlns:a16="http://schemas.microsoft.com/office/drawing/2014/main" id="{0E8425B5-2F4C-4E05-8123-3A8B01FC8702}"/>
              </a:ext>
            </a:extLst>
          </p:cNvPr>
          <p:cNvSpPr>
            <a:spLocks noGrp="1" noChangeAspect="1"/>
          </p:cNvSpPr>
          <p:nvPr>
            <p:ph type="body" sz="quarter" idx="17" hasCustomPrompt="1"/>
          </p:nvPr>
        </p:nvSpPr>
        <p:spPr>
          <a:xfrm>
            <a:off x="2385879"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a:t>
            </a:r>
          </a:p>
        </p:txBody>
      </p:sp>
      <p:sp>
        <p:nvSpPr>
          <p:cNvPr id="27" name="Text Placeholder 23">
            <a:extLst>
              <a:ext uri="{FF2B5EF4-FFF2-40B4-BE49-F238E27FC236}">
                <a16:creationId xmlns:a16="http://schemas.microsoft.com/office/drawing/2014/main" id="{DC20D224-7563-4C76-AD81-513A7C8829B2}"/>
              </a:ext>
            </a:extLst>
          </p:cNvPr>
          <p:cNvSpPr>
            <a:spLocks noGrp="1" noChangeAspect="1"/>
          </p:cNvSpPr>
          <p:nvPr>
            <p:ph type="body" sz="quarter" idx="18" hasCustomPrompt="1"/>
          </p:nvPr>
        </p:nvSpPr>
        <p:spPr>
          <a:xfrm>
            <a:off x="412600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3</a:t>
            </a:r>
          </a:p>
        </p:txBody>
      </p:sp>
      <p:sp>
        <p:nvSpPr>
          <p:cNvPr id="28" name="Text Placeholder 23">
            <a:extLst>
              <a:ext uri="{FF2B5EF4-FFF2-40B4-BE49-F238E27FC236}">
                <a16:creationId xmlns:a16="http://schemas.microsoft.com/office/drawing/2014/main" id="{E06BCED4-D727-4040-AD5B-6450A58ED4DF}"/>
              </a:ext>
            </a:extLst>
          </p:cNvPr>
          <p:cNvSpPr>
            <a:spLocks noGrp="1" noChangeAspect="1"/>
          </p:cNvSpPr>
          <p:nvPr>
            <p:ph type="body" sz="quarter" idx="19" hasCustomPrompt="1"/>
          </p:nvPr>
        </p:nvSpPr>
        <p:spPr>
          <a:xfrm>
            <a:off x="5856800"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4</a:t>
            </a:r>
          </a:p>
        </p:txBody>
      </p:sp>
      <p:sp>
        <p:nvSpPr>
          <p:cNvPr id="29" name="Text Placeholder 23">
            <a:extLst>
              <a:ext uri="{FF2B5EF4-FFF2-40B4-BE49-F238E27FC236}">
                <a16:creationId xmlns:a16="http://schemas.microsoft.com/office/drawing/2014/main" id="{294EAA4E-E8D4-4CC5-BDD1-70053B25FE63}"/>
              </a:ext>
            </a:extLst>
          </p:cNvPr>
          <p:cNvSpPr>
            <a:spLocks noGrp="1" noChangeAspect="1"/>
          </p:cNvSpPr>
          <p:nvPr>
            <p:ph type="body" sz="quarter" idx="20" hasCustomPrompt="1"/>
          </p:nvPr>
        </p:nvSpPr>
        <p:spPr>
          <a:xfrm>
            <a:off x="7582931"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5</a:t>
            </a:r>
          </a:p>
        </p:txBody>
      </p:sp>
      <p:sp>
        <p:nvSpPr>
          <p:cNvPr id="33" name="Text Placeholder 3">
            <a:extLst>
              <a:ext uri="{FF2B5EF4-FFF2-40B4-BE49-F238E27FC236}">
                <a16:creationId xmlns:a16="http://schemas.microsoft.com/office/drawing/2014/main" id="{8B20109F-4A5D-AF40-A937-1636D1D64A39}"/>
              </a:ext>
            </a:extLst>
          </p:cNvPr>
          <p:cNvSpPr>
            <a:spLocks noGrp="1"/>
          </p:cNvSpPr>
          <p:nvPr>
            <p:ph type="body" sz="half" idx="2" hasCustomPrompt="1"/>
          </p:nvPr>
        </p:nvSpPr>
        <p:spPr>
          <a:xfrm>
            <a:off x="294254" y="2304305"/>
            <a:ext cx="1539000" cy="1979695"/>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1</a:t>
            </a:r>
          </a:p>
        </p:txBody>
      </p:sp>
      <p:sp>
        <p:nvSpPr>
          <p:cNvPr id="34" name="Text Placeholder 3">
            <a:extLst>
              <a:ext uri="{FF2B5EF4-FFF2-40B4-BE49-F238E27FC236}">
                <a16:creationId xmlns:a16="http://schemas.microsoft.com/office/drawing/2014/main" id="{B1A38691-037D-394F-800A-B98CC5204D3A}"/>
              </a:ext>
            </a:extLst>
          </p:cNvPr>
          <p:cNvSpPr>
            <a:spLocks noGrp="1"/>
          </p:cNvSpPr>
          <p:nvPr>
            <p:ph type="body" sz="half" idx="21" hasCustomPrompt="1"/>
          </p:nvPr>
        </p:nvSpPr>
        <p:spPr>
          <a:xfrm>
            <a:off x="2048379" y="2318301"/>
            <a:ext cx="1539000" cy="196570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2</a:t>
            </a:r>
          </a:p>
        </p:txBody>
      </p:sp>
      <p:sp>
        <p:nvSpPr>
          <p:cNvPr id="35" name="Text Placeholder 3">
            <a:extLst>
              <a:ext uri="{FF2B5EF4-FFF2-40B4-BE49-F238E27FC236}">
                <a16:creationId xmlns:a16="http://schemas.microsoft.com/office/drawing/2014/main" id="{591022EE-194A-0147-A4C1-5527DCEE10B9}"/>
              </a:ext>
            </a:extLst>
          </p:cNvPr>
          <p:cNvSpPr>
            <a:spLocks noGrp="1"/>
          </p:cNvSpPr>
          <p:nvPr>
            <p:ph type="body" sz="half" idx="22" hasCustomPrompt="1"/>
          </p:nvPr>
        </p:nvSpPr>
        <p:spPr>
          <a:xfrm>
            <a:off x="3788504" y="2318300"/>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3</a:t>
            </a:r>
          </a:p>
        </p:txBody>
      </p:sp>
      <p:sp>
        <p:nvSpPr>
          <p:cNvPr id="36" name="Text Placeholder 3">
            <a:extLst>
              <a:ext uri="{FF2B5EF4-FFF2-40B4-BE49-F238E27FC236}">
                <a16:creationId xmlns:a16="http://schemas.microsoft.com/office/drawing/2014/main" id="{59974140-1C49-A14E-96F4-B74CDFC7AA87}"/>
              </a:ext>
            </a:extLst>
          </p:cNvPr>
          <p:cNvSpPr>
            <a:spLocks noGrp="1"/>
          </p:cNvSpPr>
          <p:nvPr>
            <p:ph type="body" sz="half" idx="23" hasCustomPrompt="1"/>
          </p:nvPr>
        </p:nvSpPr>
        <p:spPr>
          <a:xfrm>
            <a:off x="5519300" y="2318299"/>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sp>
        <p:nvSpPr>
          <p:cNvPr id="37" name="Text Placeholder 3">
            <a:extLst>
              <a:ext uri="{FF2B5EF4-FFF2-40B4-BE49-F238E27FC236}">
                <a16:creationId xmlns:a16="http://schemas.microsoft.com/office/drawing/2014/main" id="{5A54D1A0-56C3-904B-A447-7E1980F40DB9}"/>
              </a:ext>
            </a:extLst>
          </p:cNvPr>
          <p:cNvSpPr>
            <a:spLocks noGrp="1"/>
          </p:cNvSpPr>
          <p:nvPr>
            <p:ph type="body" sz="half" idx="24" hasCustomPrompt="1"/>
          </p:nvPr>
        </p:nvSpPr>
        <p:spPr>
          <a:xfrm>
            <a:off x="7245431" y="2318299"/>
            <a:ext cx="1539000" cy="1965704"/>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pic>
        <p:nvPicPr>
          <p:cNvPr id="19" name="Kuva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4012048773"/>
      </p:ext>
    </p:extLst>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 Closing slide - Red - Social media icons">
    <p:spTree>
      <p:nvGrpSpPr>
        <p:cNvPr id="1" name=""/>
        <p:cNvGrpSpPr/>
        <p:nvPr/>
      </p:nvGrpSpPr>
      <p:grpSpPr>
        <a:xfrm>
          <a:off x="0" y="0"/>
          <a:ext cx="0" cy="0"/>
          <a:chOff x="0" y="0"/>
          <a:chExt cx="0" cy="0"/>
        </a:xfrm>
      </p:grpSpPr>
      <p:sp>
        <p:nvSpPr>
          <p:cNvPr id="5" name="Rectangle 4"/>
          <p:cNvSpPr/>
          <p:nvPr userDrawn="1"/>
        </p:nvSpPr>
        <p:spPr>
          <a:xfrm>
            <a:off x="-16450" y="0"/>
            <a:ext cx="9160449"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20" dirty="0"/>
          </a:p>
        </p:txBody>
      </p:sp>
      <p:sp>
        <p:nvSpPr>
          <p:cNvPr id="12" name="Otsikko 1">
            <a:hlinkClick r:id="rId2"/>
          </p:cNvPr>
          <p:cNvSpPr txBox="1">
            <a:spLocks/>
          </p:cNvSpPr>
          <p:nvPr userDrawn="1"/>
        </p:nvSpPr>
        <p:spPr>
          <a:xfrm>
            <a:off x="3717365" y="3568351"/>
            <a:ext cx="1709289" cy="364352"/>
          </a:xfrm>
          <a:prstGeom prst="rect">
            <a:avLst/>
          </a:prstGeom>
        </p:spPr>
        <p:txBody>
          <a:bodyPr lIns="0" tIns="0" rIns="0" bIns="0" anchor="t" anchorCtr="0">
            <a:noAutofit/>
          </a:bodyPr>
          <a:lstStyle>
            <a:lvl1pPr algn="l" defTabSz="457200" rtl="0" eaLnBrk="0" fontAlgn="base" hangingPunct="0">
              <a:lnSpc>
                <a:spcPct val="85000"/>
              </a:lnSpc>
              <a:spcBef>
                <a:spcPct val="0"/>
              </a:spcBef>
              <a:spcAft>
                <a:spcPct val="0"/>
              </a:spcAft>
              <a:defRPr sz="3600" b="1" kern="1200" spc="-100">
                <a:solidFill>
                  <a:srgbClr val="FFFFFF"/>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algn="ctr"/>
            <a:r>
              <a:rPr lang="fi-FI" sz="1800" spc="0" baseline="0" dirty="0">
                <a:latin typeface="Arial"/>
                <a:cs typeface="Arial"/>
              </a:rPr>
              <a:t>aalto.fi</a:t>
            </a:r>
          </a:p>
        </p:txBody>
      </p:sp>
      <p:grpSp>
        <p:nvGrpSpPr>
          <p:cNvPr id="6" name="Group 5"/>
          <p:cNvGrpSpPr/>
          <p:nvPr userDrawn="1"/>
        </p:nvGrpSpPr>
        <p:grpSpPr>
          <a:xfrm>
            <a:off x="3094339" y="2868216"/>
            <a:ext cx="2955323" cy="353760"/>
            <a:chOff x="4484925" y="3824288"/>
            <a:chExt cx="3940431" cy="471680"/>
          </a:xfrm>
        </p:grpSpPr>
        <p:pic>
          <p:nvPicPr>
            <p:cNvPr id="7" name="Picture 6" descr="FB.png">
              <a:hlinkClick r:id="rId3"/>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4925" y="3824416"/>
              <a:ext cx="471553" cy="471552"/>
            </a:xfrm>
            <a:prstGeom prst="rect">
              <a:avLst/>
            </a:prstGeom>
          </p:spPr>
        </p:pic>
        <p:pic>
          <p:nvPicPr>
            <p:cNvPr id="8" name="Picture 7" descr="IG.png">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64502" y="3824416"/>
              <a:ext cx="471553" cy="471552"/>
            </a:xfrm>
            <a:prstGeom prst="rect">
              <a:avLst/>
            </a:prstGeom>
          </p:spPr>
        </p:pic>
        <p:pic>
          <p:nvPicPr>
            <p:cNvPr id="9" name="Picture 8" descr="Twitter.png">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844079" y="3824416"/>
              <a:ext cx="471553" cy="471552"/>
            </a:xfrm>
            <a:prstGeom prst="rect">
              <a:avLst/>
            </a:prstGeom>
          </p:spPr>
        </p:pic>
        <p:pic>
          <p:nvPicPr>
            <p:cNvPr id="10" name="Picture 9" descr="Youtube.png">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523656" y="3824416"/>
              <a:ext cx="471553" cy="471552"/>
            </a:xfrm>
            <a:prstGeom prst="rect">
              <a:avLst/>
            </a:prstGeom>
          </p:spPr>
        </p:pic>
        <p:pic>
          <p:nvPicPr>
            <p:cNvPr id="11" name="Picture 10" descr="SC.png">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203233" y="3824416"/>
              <a:ext cx="471553" cy="471552"/>
            </a:xfrm>
            <a:prstGeom prst="rect">
              <a:avLst/>
            </a:prstGeom>
          </p:spPr>
        </p:pic>
        <p:pic>
          <p:nvPicPr>
            <p:cNvPr id="3" name="Picture 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882812" y="3824288"/>
              <a:ext cx="542544" cy="457200"/>
            </a:xfrm>
            <a:prstGeom prst="rect">
              <a:avLst/>
            </a:prstGeom>
          </p:spPr>
        </p:pic>
      </p:grpSp>
      <p:sp>
        <p:nvSpPr>
          <p:cNvPr id="16" name="Tekstin paikkamerkki 2">
            <a:extLst>
              <a:ext uri="{FF2B5EF4-FFF2-40B4-BE49-F238E27FC236}">
                <a16:creationId xmlns:a16="http://schemas.microsoft.com/office/drawing/2014/main" id="{B67CF44B-9D5D-46DC-B676-986416FB8384}"/>
              </a:ext>
            </a:extLst>
          </p:cNvPr>
          <p:cNvSpPr>
            <a:spLocks noGrp="1"/>
          </p:cNvSpPr>
          <p:nvPr>
            <p:ph type="body" sz="quarter" idx="10" hasCustomPrompt="1"/>
          </p:nvPr>
        </p:nvSpPr>
        <p:spPr>
          <a:xfrm>
            <a:off x="1576388" y="1364641"/>
            <a:ext cx="5995987" cy="1306097"/>
          </a:xfrm>
          <a:prstGeom prst="rect">
            <a:avLst/>
          </a:prstGeom>
        </p:spPr>
        <p:txBody>
          <a:bodyPr anchor="b" anchorCtr="0"/>
          <a:lstStyle>
            <a:lvl1pPr marL="0" indent="0" algn="ctr">
              <a:lnSpc>
                <a:spcPct val="100000"/>
              </a:lnSpc>
              <a:buNone/>
              <a:defRPr sz="4000" b="1">
                <a:solidFill>
                  <a:srgbClr val="FFFFFF"/>
                </a:solidFill>
                <a:latin typeface="+mj-lt"/>
              </a:defRPr>
            </a:lvl1pPr>
            <a:lvl2pPr marL="342900" indent="0">
              <a:buNone/>
              <a:defRPr/>
            </a:lvl2pPr>
          </a:lstStyle>
          <a:p>
            <a:pPr lvl="0"/>
            <a:r>
              <a:rPr lang="fi-FI" dirty="0"/>
              <a:t>Add text</a:t>
            </a:r>
          </a:p>
        </p:txBody>
      </p:sp>
      <p:pic>
        <p:nvPicPr>
          <p:cNvPr id="17" name="Kuva 1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637427772"/>
      </p:ext>
    </p:extLst>
  </p:cSld>
  <p:clrMapOvr>
    <a:masterClrMapping/>
  </p:clrMapOvr>
  <p:extLst>
    <p:ext uri="{DCECCB84-F9BA-43D5-87BE-67443E8EF086}">
      <p15:sldGuideLst xmlns:p15="http://schemas.microsoft.com/office/powerpoint/2012/main">
        <p15:guide id="1" orient="horz" pos="1807" userDrawn="1">
          <p15:clr>
            <a:srgbClr val="FBAE40"/>
          </p15:clr>
        </p15:guide>
        <p15:guide id="2" orient="horz" pos="2028"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33917" r="16133"/>
          <a:stretch/>
        </p:blipFill>
        <p:spPr>
          <a:xfrm>
            <a:off x="4576713" y="0"/>
            <a:ext cx="4567287" cy="5143500"/>
          </a:xfrm>
          <a:prstGeom prst="rect">
            <a:avLst/>
          </a:prstGeom>
        </p:spPr>
      </p:pic>
      <p:pic>
        <p:nvPicPr>
          <p:cNvPr id="17" name="Kuva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135197475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20670" r="20132"/>
          <a:stretch/>
        </p:blipFill>
        <p:spPr>
          <a:xfrm>
            <a:off x="4572000"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7"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8"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38088571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3" name="Kuva 2"/>
          <p:cNvPicPr>
            <a:picLocks noChangeAspect="1"/>
          </p:cNvPicPr>
          <p:nvPr userDrawn="1"/>
        </p:nvPicPr>
        <p:blipFill rotWithShape="1">
          <a:blip r:embed="rId2">
            <a:extLst>
              <a:ext uri="{28A0092B-C50C-407E-A947-70E740481C1C}">
                <a14:useLocalDpi xmlns:a14="http://schemas.microsoft.com/office/drawing/2010/main" val="0"/>
              </a:ext>
            </a:extLst>
          </a:blip>
          <a:srcRect l="8677" t="22626" r="52630"/>
          <a:stretch/>
        </p:blipFill>
        <p:spPr>
          <a:xfrm>
            <a:off x="4576712"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3"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7"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6" name="Kuva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653852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81298"/>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sp>
        <p:nvSpPr>
          <p:cNvPr id="14" name="Picture Placeholder 2"/>
          <p:cNvSpPr>
            <a:spLocks noGrp="1"/>
          </p:cNvSpPr>
          <p:nvPr>
            <p:ph type="pic" idx="13" hasCustomPrompt="1"/>
          </p:nvPr>
        </p:nvSpPr>
        <p:spPr>
          <a:xfrm>
            <a:off x="4564419" y="0"/>
            <a:ext cx="4579582"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i="0"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p>
          <a:p>
            <a:r>
              <a:rPr lang="fi-FI" dirty="0"/>
              <a:t>Fit the image to frame </a:t>
            </a:r>
            <a:br>
              <a:rPr lang="fi-FI" dirty="0"/>
            </a:br>
            <a:r>
              <a:rPr lang="fi-FI" dirty="0"/>
              <a:t>by choosing: </a:t>
            </a:r>
            <a:br>
              <a:rPr lang="fi-FI" dirty="0"/>
            </a:br>
            <a:r>
              <a:rPr lang="fi-FI" dirty="0"/>
              <a:t>crop&gt;fit / rajaa&gt;sovita</a:t>
            </a:r>
            <a:endParaRPr lang="en-US" dirty="0"/>
          </a:p>
        </p:txBody>
      </p:sp>
      <p:pic>
        <p:nvPicPr>
          <p:cNvPr id="17" name="Kuva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758286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2" name="Kuva 11"/>
          <p:cNvPicPr>
            <a:picLocks noChangeAspect="1"/>
          </p:cNvPicPr>
          <p:nvPr userDrawn="1"/>
        </p:nvPicPr>
        <p:blipFill rotWithShape="1">
          <a:blip r:embed="rId2">
            <a:extLst>
              <a:ext uri="{28A0092B-C50C-407E-A947-70E740481C1C}">
                <a14:useLocalDpi xmlns:a14="http://schemas.microsoft.com/office/drawing/2010/main" val="0"/>
              </a:ext>
            </a:extLst>
          </a:blip>
          <a:srcRect l="31644" r="19861"/>
          <a:stretch/>
        </p:blipFill>
        <p:spPr>
          <a:xfrm>
            <a:off x="4715165" y="0"/>
            <a:ext cx="4428835"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907931115"/>
      </p:ext>
    </p:extLst>
  </p:cSld>
  <p:clrMapOvr>
    <a:masterClrMapping/>
  </p:clrMapOvr>
  <p:extLst>
    <p:ext uri="{DCECCB84-F9BA-43D5-87BE-67443E8EF086}">
      <p15:sldGuideLst xmlns:p15="http://schemas.microsoft.com/office/powerpoint/2012/main">
        <p15:guide id="1" pos="297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rotWithShape="1">
          <a:blip r:embed="rId2">
            <a:extLst>
              <a:ext uri="{28A0092B-C50C-407E-A947-70E740481C1C}">
                <a14:useLocalDpi xmlns:a14="http://schemas.microsoft.com/office/drawing/2010/main" val="0"/>
              </a:ext>
            </a:extLst>
          </a:blip>
          <a:srcRect l="33485" r="9199"/>
          <a:stretch/>
        </p:blipFill>
        <p:spPr>
          <a:xfrm>
            <a:off x="4722829" y="0"/>
            <a:ext cx="4421171"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970361234"/>
      </p:ext>
    </p:extLst>
  </p:cSld>
  <p:clrMapOvr>
    <a:masterClrMapping/>
  </p:clrMapOvr>
  <p:extLst>
    <p:ext uri="{DCECCB84-F9BA-43D5-87BE-67443E8EF086}">
      <p15:sldGuideLst xmlns:p15="http://schemas.microsoft.com/office/powerpoint/2012/main">
        <p15:guide id="1" pos="2971"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consequ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3" name="Kuva 12"/>
          <p:cNvPicPr>
            <a:picLocks noChangeAspect="1"/>
          </p:cNvPicPr>
          <p:nvPr userDrawn="1"/>
        </p:nvPicPr>
        <p:blipFill rotWithShape="1">
          <a:blip r:embed="rId2">
            <a:extLst>
              <a:ext uri="{28A0092B-C50C-407E-A947-70E740481C1C}">
                <a14:useLocalDpi xmlns:a14="http://schemas.microsoft.com/office/drawing/2010/main" val="0"/>
              </a:ext>
            </a:extLst>
          </a:blip>
          <a:srcRect l="17808" r="17631"/>
          <a:stretch/>
        </p:blipFill>
        <p:spPr>
          <a:xfrm>
            <a:off x="4713402" y="0"/>
            <a:ext cx="4430598"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46323421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4230" y="2301720"/>
            <a:ext cx="7072852" cy="1944216"/>
          </a:xfrm>
        </p:spPr>
        <p:txBody>
          <a:bodyPr/>
          <a:lstStyle>
            <a:lvl1pPr marL="0" indent="0" algn="l">
              <a:buNone/>
              <a:defRPr sz="3299">
                <a:solidFill>
                  <a:schemeClr val="tx1"/>
                </a:solidFill>
              </a:defRPr>
            </a:lvl1pPr>
            <a:lvl2pPr marL="342809" indent="0" algn="ctr">
              <a:buNone/>
              <a:defRPr>
                <a:solidFill>
                  <a:schemeClr val="tx1">
                    <a:tint val="75000"/>
                  </a:schemeClr>
                </a:solidFill>
              </a:defRPr>
            </a:lvl2pPr>
            <a:lvl3pPr marL="685617" indent="0" algn="ctr">
              <a:buNone/>
              <a:defRPr>
                <a:solidFill>
                  <a:schemeClr val="tx1">
                    <a:tint val="75000"/>
                  </a:schemeClr>
                </a:solidFill>
              </a:defRPr>
            </a:lvl3pPr>
            <a:lvl4pPr marL="1028426" indent="0" algn="ctr">
              <a:buNone/>
              <a:defRPr>
                <a:solidFill>
                  <a:schemeClr val="tx1">
                    <a:tint val="75000"/>
                  </a:schemeClr>
                </a:solidFill>
              </a:defRPr>
            </a:lvl4pPr>
            <a:lvl5pPr marL="1371234" indent="0" algn="ctr">
              <a:buNone/>
              <a:defRPr>
                <a:solidFill>
                  <a:schemeClr val="tx1">
                    <a:tint val="75000"/>
                  </a:schemeClr>
                </a:solidFill>
              </a:defRPr>
            </a:lvl5pPr>
            <a:lvl6pPr marL="1714043" indent="0" algn="ctr">
              <a:buNone/>
              <a:defRPr>
                <a:solidFill>
                  <a:schemeClr val="tx1">
                    <a:tint val="75000"/>
                  </a:schemeClr>
                </a:solidFill>
              </a:defRPr>
            </a:lvl6pPr>
            <a:lvl7pPr marL="2056851" indent="0" algn="ctr">
              <a:buNone/>
              <a:defRPr>
                <a:solidFill>
                  <a:schemeClr val="tx1">
                    <a:tint val="75000"/>
                  </a:schemeClr>
                </a:solidFill>
              </a:defRPr>
            </a:lvl7pPr>
            <a:lvl8pPr marL="2399660" indent="0" algn="ctr">
              <a:buNone/>
              <a:defRPr>
                <a:solidFill>
                  <a:schemeClr val="tx1">
                    <a:tint val="75000"/>
                  </a:schemeClr>
                </a:solidFill>
              </a:defRPr>
            </a:lvl8pPr>
            <a:lvl9pPr marL="2742468" indent="0" algn="ctr">
              <a:buNone/>
              <a:defRPr>
                <a:solidFill>
                  <a:schemeClr val="tx1">
                    <a:tint val="75000"/>
                  </a:schemeClr>
                </a:solidFill>
              </a:defRPr>
            </a:lvl9pPr>
          </a:lstStyle>
          <a:p>
            <a:r>
              <a:rPr lang="en-US" dirty="0"/>
              <a:t>Click to add presentation subtitle</a:t>
            </a:r>
          </a:p>
        </p:txBody>
      </p:sp>
      <p:sp>
        <p:nvSpPr>
          <p:cNvPr id="11" name="Title 1"/>
          <p:cNvSpPr>
            <a:spLocks noGrp="1"/>
          </p:cNvSpPr>
          <p:nvPr>
            <p:ph type="title" hasCustomPrompt="1"/>
          </p:nvPr>
        </p:nvSpPr>
        <p:spPr>
          <a:xfrm>
            <a:off x="0" y="573881"/>
            <a:ext cx="6924580" cy="602326"/>
          </a:xfrm>
        </p:spPr>
        <p:txBody>
          <a:bodyPr wrap="none"/>
          <a:lstStyle>
            <a:lvl1pPr>
              <a:defRPr baseline="0"/>
            </a:lvl1pPr>
          </a:lstStyle>
          <a:p>
            <a:r>
              <a:rPr lang="en-US" dirty="0"/>
              <a:t>Click to add presentation title</a:t>
            </a:r>
          </a:p>
        </p:txBody>
      </p:sp>
      <p:sp>
        <p:nvSpPr>
          <p:cNvPr id="2" name="Date Placeholder 1"/>
          <p:cNvSpPr>
            <a:spLocks noGrp="1"/>
          </p:cNvSpPr>
          <p:nvPr>
            <p:ph type="dt" sz="half" idx="10"/>
          </p:nvPr>
        </p:nvSpPr>
        <p:spPr/>
        <p:txBody>
          <a:bodyPr/>
          <a:lstStyle>
            <a:lvl1pPr>
              <a:defRPr>
                <a:noFill/>
              </a:defRPr>
            </a:lvl1pPr>
          </a:lstStyle>
          <a:p>
            <a:fld id="{2BE901F9-7290-474C-84D9-D2AF27877403}" type="datetime1">
              <a:rPr lang="fi-FI" smtClean="0"/>
              <a:t>6.11.2023</a:t>
            </a:fld>
            <a:endParaRPr lang="en-US" dirty="0"/>
          </a:p>
        </p:txBody>
      </p:sp>
      <p:sp>
        <p:nvSpPr>
          <p:cNvPr id="4" name="Footer Placeholder 3"/>
          <p:cNvSpPr>
            <a:spLocks noGrp="1"/>
          </p:cNvSpPr>
          <p:nvPr>
            <p:ph type="ftr" sz="quarter" idx="11"/>
          </p:nvPr>
        </p:nvSpPr>
        <p:spPr/>
        <p:txBody>
          <a:bodyPr/>
          <a:lstStyle/>
          <a:p>
            <a:r>
              <a:rPr lang="en-US"/>
              <a:t>© Aalto University Executive Education</a:t>
            </a:r>
            <a:endParaRPr lang="en-US" dirty="0"/>
          </a:p>
        </p:txBody>
      </p:sp>
      <p:sp>
        <p:nvSpPr>
          <p:cNvPr id="5" name="Slide Number Placeholder 4"/>
          <p:cNvSpPr>
            <a:spLocks noGrp="1"/>
          </p:cNvSpPr>
          <p:nvPr>
            <p:ph type="sldNum" sz="quarter" idx="12"/>
          </p:nvPr>
        </p:nvSpPr>
        <p:spPr/>
        <p:txBody>
          <a:bodyPr/>
          <a:lstStyle>
            <a:lvl1pPr>
              <a:defRPr>
                <a:no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138523673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idx="1" hasCustomPrompt="1"/>
          </p:nvPr>
        </p:nvSpPr>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BBED7B8-6E10-436C-840F-8E9F711A0369}"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135435096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2D335028-5C11-45D8-9C49-9C21ECA166FC}" type="datetime1">
              <a:rPr lang="fi-FI" smtClean="0"/>
              <a:t>6.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6"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345065678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Section Header 2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9CED520D-8421-4CF6-AF1D-0C747F0DA6FC}" type="datetime1">
              <a:rPr lang="fi-FI" smtClean="0"/>
              <a:t>6.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83116165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Section Header 3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B8709EDD-CFFC-4EFE-A246-61EE6663AA23}" type="datetime1">
              <a:rPr lang="fi-FI" smtClean="0"/>
              <a:t>6.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281257742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Section Header 4t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4D5D504E-EDA1-4FB2-9CCE-0AD2A7B2CDC2}" type="datetime1">
              <a:rPr lang="fi-FI" smtClean="0"/>
              <a:t>6.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6"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275445532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reserve="1">
  <p:cSld name="Introductio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282"/>
            <a:ext cx="7487081" cy="2538413"/>
          </a:xfrm>
          <a:solidFill>
            <a:srgbClr val="B1059D"/>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sp>
        <p:nvSpPr>
          <p:cNvPr id="7" name="Date Placeholder 6"/>
          <p:cNvSpPr>
            <a:spLocks noGrp="1"/>
          </p:cNvSpPr>
          <p:nvPr>
            <p:ph type="dt" sz="half" idx="10"/>
          </p:nvPr>
        </p:nvSpPr>
        <p:spPr/>
        <p:txBody>
          <a:bodyPr/>
          <a:lstStyle>
            <a:lvl1pPr>
              <a:defRPr>
                <a:solidFill>
                  <a:schemeClr val="bg1"/>
                </a:solidFill>
              </a:defRPr>
            </a:lvl1pPr>
          </a:lstStyle>
          <a:p>
            <a:fld id="{5F1BDA99-5F31-43AE-BDD2-CFE4F36082F2}" type="datetime1">
              <a:rPr lang="fi-FI" smtClean="0"/>
              <a:t>6.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7" name="Group 16"/>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8"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9"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0"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92166490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6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241467"/>
            <a:ext cx="8492897" cy="304946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 name="Päivämäärän paikkamerkki 1">
            <a:extLst>
              <a:ext uri="{FF2B5EF4-FFF2-40B4-BE49-F238E27FC236}">
                <a16:creationId xmlns:a16="http://schemas.microsoft.com/office/drawing/2014/main" id="{4C366827-B13F-41D2-9BB1-86D6952FE74F}"/>
              </a:ext>
            </a:extLst>
          </p:cNvPr>
          <p:cNvSpPr>
            <a:spLocks noGrp="1"/>
          </p:cNvSpPr>
          <p:nvPr>
            <p:ph type="dt" sz="half" idx="12"/>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B081CECA-2419-49BC-A865-E26F838DFBF9}"/>
              </a:ext>
            </a:extLst>
          </p:cNvPr>
          <p:cNvSpPr>
            <a:spLocks noGrp="1"/>
          </p:cNvSpPr>
          <p:nvPr>
            <p:ph type="ftr" sz="quarter" idx="13"/>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75CA6814-F1E3-4289-929D-E2AEACCAF6C2}"/>
              </a:ext>
            </a:extLst>
          </p:cNvPr>
          <p:cNvSpPr>
            <a:spLocks noGrp="1"/>
          </p:cNvSpPr>
          <p:nvPr>
            <p:ph type="sldNum" sz="quarter" idx="14"/>
          </p:nvPr>
        </p:nvSpPr>
        <p:spPr/>
        <p:txBody>
          <a:bodyPr/>
          <a:lstStyle/>
          <a:p>
            <a:fld id="{28F7F04C-F568-F649-A2AE-EA61C66B69B4}" type="slidenum">
              <a:rPr lang="en-US" smtClean="0"/>
              <a:pPr/>
              <a:t>‹#›</a:t>
            </a:fld>
            <a:endParaRPr lang="en-US" dirty="0"/>
          </a:p>
        </p:txBody>
      </p:sp>
      <p:pic>
        <p:nvPicPr>
          <p:cNvPr id="8" name="Kuva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497419491"/>
      </p:ext>
    </p:extLst>
  </p:cSld>
  <p:clrMapOvr>
    <a:masterClrMapping/>
  </p:clrMapOvr>
  <p:extLst>
    <p:ext uri="{DCECCB84-F9BA-43D5-87BE-67443E8EF086}">
      <p15:sldGuideLst xmlns:p15="http://schemas.microsoft.com/office/powerpoint/2012/main">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guide id="8" orient="horz" pos="84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 preserve="1">
  <p:cSld name="Introduction CYA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00B0CA"/>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00B0CA"/>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3CD59280-13FD-49DF-885F-8A3B48E3246F}" type="datetime1">
              <a:rPr lang="fi-FI" smtClean="0"/>
              <a:t>6.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12418849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reserve="1">
  <p:cSld name="Introduction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FF7900"/>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FF7900"/>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BFC846AA-585E-4E2B-956E-249E469F82E7}" type="datetime1">
              <a:rPr lang="fi-FI" smtClean="0"/>
              <a:t>6.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37122738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Introduction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69BE28"/>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69BE28"/>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874C9300-8D31-40BF-9AA5-957D6CB64534}" type="datetime1">
              <a:rPr lang="fi-FI" smtClean="0"/>
              <a:t>6.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119116385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sz="half" idx="1" hasCustomPrompt="1"/>
          </p:nvPr>
        </p:nvSpPr>
        <p:spPr>
          <a:xfrm>
            <a:off x="414230" y="1869282"/>
            <a:ext cx="4049786" cy="2538413"/>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79983" y="1869282"/>
            <a:ext cx="4049787" cy="2538413"/>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F842D18A-B818-4014-96A3-9460F9384D50}" type="datetime1">
              <a:rPr lang="fi-FI" smtClean="0"/>
              <a:t>6.11.2023</a:t>
            </a:fld>
            <a:endParaRPr lang="en-US"/>
          </a:p>
        </p:txBody>
      </p:sp>
      <p:sp>
        <p:nvSpPr>
          <p:cNvPr id="6" name="Footer Placeholder 5"/>
          <p:cNvSpPr>
            <a:spLocks noGrp="1"/>
          </p:cNvSpPr>
          <p:nvPr>
            <p:ph type="ftr" sz="quarter" idx="11"/>
          </p:nvPr>
        </p:nvSpPr>
        <p:spPr/>
        <p:txBody>
          <a:body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40463712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14230" y="1545431"/>
            <a:ext cx="4049786" cy="323850"/>
          </a:xfrm>
        </p:spPr>
        <p:txBody>
          <a:bodyPr anchor="b"/>
          <a:lstStyle>
            <a:lvl1pPr marL="0" indent="0">
              <a:buNone/>
              <a:defRPr sz="1350" b="0">
                <a:solidFill>
                  <a:schemeClr val="accent2"/>
                </a:solidFill>
              </a:defRPr>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en-US" dirty="0"/>
              <a:t>Click to add text</a:t>
            </a:r>
          </a:p>
        </p:txBody>
      </p:sp>
      <p:sp>
        <p:nvSpPr>
          <p:cNvPr id="4" name="Content Placeholder 3"/>
          <p:cNvSpPr>
            <a:spLocks noGrp="1"/>
          </p:cNvSpPr>
          <p:nvPr>
            <p:ph sz="half" idx="2" hasCustomPrompt="1"/>
          </p:nvPr>
        </p:nvSpPr>
        <p:spPr>
          <a:xfrm>
            <a:off x="414230" y="1869282"/>
            <a:ext cx="4049786" cy="2538413"/>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679983" y="1545431"/>
            <a:ext cx="4049787" cy="323850"/>
          </a:xfrm>
        </p:spPr>
        <p:txBody>
          <a:bodyPr anchor="b"/>
          <a:lstStyle>
            <a:lvl1pPr marL="0" indent="0">
              <a:buNone/>
              <a:defRPr sz="1350" b="0">
                <a:solidFill>
                  <a:schemeClr val="accent2"/>
                </a:solidFill>
              </a:defRPr>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en-US" dirty="0"/>
              <a:t>Click to add text</a:t>
            </a:r>
          </a:p>
        </p:txBody>
      </p:sp>
      <p:sp>
        <p:nvSpPr>
          <p:cNvPr id="6" name="Content Placeholder 5"/>
          <p:cNvSpPr>
            <a:spLocks noGrp="1"/>
          </p:cNvSpPr>
          <p:nvPr>
            <p:ph sz="quarter" idx="4" hasCustomPrompt="1"/>
          </p:nvPr>
        </p:nvSpPr>
        <p:spPr>
          <a:xfrm>
            <a:off x="4679983" y="1869282"/>
            <a:ext cx="4049787" cy="2538413"/>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84BA04C4-8537-40D1-9461-53B174481FF5}" type="datetime1">
              <a:rPr lang="fi-FI" smtClean="0"/>
              <a:t>6.11.2023</a:t>
            </a:fld>
            <a:endParaRPr lang="en-US"/>
          </a:p>
        </p:txBody>
      </p:sp>
      <p:sp>
        <p:nvSpPr>
          <p:cNvPr id="8" name="Footer Placeholder 7"/>
          <p:cNvSpPr>
            <a:spLocks noGrp="1"/>
          </p:cNvSpPr>
          <p:nvPr>
            <p:ph type="ftr" sz="quarter" idx="11"/>
          </p:nvPr>
        </p:nvSpPr>
        <p:spPr/>
        <p:txBody>
          <a:bodyPr/>
          <a:lstStyle/>
          <a:p>
            <a:r>
              <a:rPr lang="en-US"/>
              <a:t>© Aalto University Executive Education</a:t>
            </a:r>
          </a:p>
        </p:txBody>
      </p:sp>
      <p:sp>
        <p:nvSpPr>
          <p:cNvPr id="9" name="Slide Number Placeholder 8"/>
          <p:cNvSpPr>
            <a:spLocks noGrp="1"/>
          </p:cNvSpPr>
          <p:nvPr>
            <p:ph type="sldNum" sz="quarter" idx="12"/>
          </p:nvPr>
        </p:nvSpPr>
        <p:spPr/>
        <p:txBody>
          <a:bodyPr/>
          <a:lstStyle/>
          <a:p>
            <a:fld id="{FCCA222D-FCF7-48C1-A274-EBDDEF75DC66}" type="slidenum">
              <a:rPr lang="en-US" smtClean="0"/>
              <a:t>‹#›</a:t>
            </a:fld>
            <a:endParaRPr lang="en-US"/>
          </a:p>
        </p:txBody>
      </p:sp>
      <p:sp>
        <p:nvSpPr>
          <p:cNvPr id="10" name="Title 1"/>
          <p:cNvSpPr>
            <a:spLocks noGrp="1"/>
          </p:cNvSpPr>
          <p:nvPr>
            <p:ph type="title" hasCustomPrompt="1"/>
          </p:nvPr>
        </p:nvSpPr>
        <p:spPr>
          <a:xfrm>
            <a:off x="1" y="573882"/>
            <a:ext cx="8729770" cy="456902"/>
          </a:xfrm>
          <a:solidFill>
            <a:schemeClr val="accent2"/>
          </a:solidFill>
        </p:spPr>
        <p:txBody>
          <a:bodyPr/>
          <a:lstStyle>
            <a:lvl1pPr>
              <a:defRPr sz="2249"/>
            </a:lvl1pPr>
          </a:lstStyle>
          <a:p>
            <a:r>
              <a:rPr lang="en-US" dirty="0"/>
              <a:t>Click to add title</a:t>
            </a:r>
          </a:p>
        </p:txBody>
      </p:sp>
    </p:spTree>
    <p:extLst>
      <p:ext uri="{BB962C8B-B14F-4D97-AF65-F5344CB8AC3E}">
        <p14:creationId xmlns:p14="http://schemas.microsoft.com/office/powerpoint/2010/main" val="59181246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reserve="1">
  <p:cSld name="Small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3" name="Content Placeholder 2"/>
          <p:cNvSpPr>
            <a:spLocks noGrp="1"/>
          </p:cNvSpPr>
          <p:nvPr>
            <p:ph idx="1" hasCustomPrompt="1"/>
          </p:nvPr>
        </p:nvSpPr>
        <p:spPr>
          <a:xfrm>
            <a:off x="414230" y="1545432"/>
            <a:ext cx="8315541"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C2D0442-C4A3-4453-9BE2-10F92029009F}"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424058942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Date Placeholder 2"/>
          <p:cNvSpPr>
            <a:spLocks noGrp="1"/>
          </p:cNvSpPr>
          <p:nvPr>
            <p:ph type="dt" sz="half" idx="10"/>
          </p:nvPr>
        </p:nvSpPr>
        <p:spPr/>
        <p:txBody>
          <a:bodyPr/>
          <a:lstStyle/>
          <a:p>
            <a:fld id="{672666DA-8E81-4CE6-9981-96AB2942B629}" type="datetime1">
              <a:rPr lang="fi-FI" smtClean="0"/>
              <a:t>6.11.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21310438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9F29C8DB-8864-495E-945C-E8E237C3EE93}" type="datetime1">
              <a:rPr lang="fi-FI" smtClean="0"/>
              <a:t>6.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3" y="1869281"/>
            <a:ext cx="4049787" cy="253841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07923508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300"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CE226531-C9F9-483A-B5FE-CD598EBE2D3B}" type="datetime1">
              <a:rPr lang="fi-FI" smtClean="0"/>
              <a:t>6.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3" y="1869281"/>
            <a:ext cx="5453577" cy="2538413"/>
          </a:xfrm>
        </p:spPr>
        <p:txBody>
          <a:bodyPr/>
          <a:lstStyle>
            <a:lvl1pPr marL="0" indent="0">
              <a:buFontTx/>
              <a:buNone/>
              <a:defRPr b="1">
                <a:solidFill>
                  <a:schemeClr val="accent2"/>
                </a:solidFill>
              </a:defRPr>
            </a:lvl1pPr>
            <a:lvl2pPr marL="199972" indent="-199972">
              <a:buFont typeface="Arial" panose="020B0604020202020204" pitchFamily="34" charset="0"/>
              <a:buChar char="•"/>
              <a:defRPr sz="1500"/>
            </a:lvl2pPr>
            <a:lvl3pPr marL="404705" indent="-204733">
              <a:buFont typeface="Arial" panose="020B0604020202020204" pitchFamily="34" charset="0"/>
              <a:buChar char="–"/>
              <a:defRPr sz="1350"/>
            </a:lvl3pPr>
            <a:lvl4pPr marL="604676" indent="-199972">
              <a:buFont typeface="Arial" panose="020B0604020202020204" pitchFamily="34" charset="0"/>
              <a:buChar char="•"/>
              <a:defRPr sz="1200"/>
            </a:lvl4pPr>
            <a:lvl5pPr marL="803458" indent="-198782">
              <a:buFont typeface="Arial" panose="020B0604020202020204" pitchFamily="34" charset="0"/>
              <a:buChar char="–"/>
              <a:defRPr/>
            </a:lvl5pPr>
            <a:lvl6pPr marL="1009381" indent="-205924">
              <a:defRPr/>
            </a:lvl6pPr>
            <a:lvl7pPr marL="1209352" indent="-199972">
              <a:defRPr/>
            </a:lvl7pPr>
            <a:lvl8pPr marL="1408134" indent="-198782">
              <a:defRPr/>
            </a:lvl8pPr>
            <a:lvl9pPr marL="1614057" indent="-205924">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396223168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EF7DB285-309F-45E1-955B-34715DA4B4CD}" type="datetime1">
              <a:rPr lang="fi-FI" smtClean="0"/>
              <a:t>6.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3" y="1545431"/>
            <a:ext cx="4049787"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128581918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Body slide with Subheadlin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1"/>
            <a:ext cx="8492897" cy="733140"/>
          </a:xfrm>
          <a:prstGeom prst="rect">
            <a:avLst/>
          </a:prstGeom>
        </p:spPr>
        <p:txBody>
          <a:bodyPr lIns="0" tIns="0" rIns="0" bIns="0"/>
          <a:lstStyle>
            <a:lvl1pPr marL="0" indent="0">
              <a:lnSpc>
                <a:spcPct val="100000"/>
              </a:lnSpc>
              <a:buNone/>
              <a:defRPr sz="36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2024418"/>
            <a:ext cx="8492897" cy="225958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7" name="Text Placeholder 3"/>
          <p:cNvSpPr>
            <a:spLocks noGrp="1"/>
          </p:cNvSpPr>
          <p:nvPr>
            <p:ph type="body" sz="half" idx="12" hasCustomPrompt="1"/>
          </p:nvPr>
        </p:nvSpPr>
        <p:spPr>
          <a:xfrm>
            <a:off x="292328" y="1199905"/>
            <a:ext cx="8492897" cy="648851"/>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sz="28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a:p>
            <a:pPr lvl="0"/>
            <a:endParaRPr lang="en-US" dirty="0"/>
          </a:p>
        </p:txBody>
      </p:sp>
      <p:sp>
        <p:nvSpPr>
          <p:cNvPr id="2" name="Päivämäärän paikkamerkki 1">
            <a:extLst>
              <a:ext uri="{FF2B5EF4-FFF2-40B4-BE49-F238E27FC236}">
                <a16:creationId xmlns:a16="http://schemas.microsoft.com/office/drawing/2014/main" id="{15F98E76-565B-438E-BE24-AF36CE784A61}"/>
              </a:ext>
            </a:extLst>
          </p:cNvPr>
          <p:cNvSpPr>
            <a:spLocks noGrp="1"/>
          </p:cNvSpPr>
          <p:nvPr>
            <p:ph type="dt" sz="half" idx="13"/>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0477500B-A8BC-45B6-BA85-A082FC8528F3}"/>
              </a:ext>
            </a:extLst>
          </p:cNvPr>
          <p:cNvSpPr>
            <a:spLocks noGrp="1"/>
          </p:cNvSpPr>
          <p:nvPr>
            <p:ph type="ftr" sz="quarter" idx="14"/>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4A736A4D-A5BC-4E4F-9FD0-C4BC6EEC989C}"/>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164578354"/>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300"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22642C14-3DE9-4F64-B21D-7CB7D984F8BA}" type="datetime1">
              <a:rPr lang="fi-FI" smtClean="0"/>
              <a:t>6.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3" y="1545431"/>
            <a:ext cx="5453577" cy="2862263"/>
          </a:xfrm>
        </p:spPr>
        <p:txBody>
          <a:bodyPr/>
          <a:lstStyle>
            <a:lvl1pPr marL="0" indent="0">
              <a:buFontTx/>
              <a:buNone/>
              <a:defRPr b="1">
                <a:solidFill>
                  <a:schemeClr val="accent2"/>
                </a:solidFill>
              </a:defRPr>
            </a:lvl1pPr>
            <a:lvl2pPr marL="199972" indent="-199972">
              <a:buFont typeface="Arial" panose="020B0604020202020204" pitchFamily="34" charset="0"/>
              <a:buChar char="•"/>
              <a:defRPr sz="1500"/>
            </a:lvl2pPr>
            <a:lvl3pPr marL="404705" indent="-204733">
              <a:buFont typeface="Arial" panose="020B0604020202020204" pitchFamily="34" charset="0"/>
              <a:buChar char="–"/>
              <a:defRPr sz="1350"/>
            </a:lvl3pPr>
            <a:lvl4pPr marL="604676" indent="-199972">
              <a:buFont typeface="Arial" panose="020B0604020202020204" pitchFamily="34" charset="0"/>
              <a:buChar char="•"/>
              <a:defRPr sz="1200"/>
            </a:lvl4pPr>
            <a:lvl5pPr marL="803458" indent="-198782">
              <a:buFont typeface="Arial" panose="020B0604020202020204" pitchFamily="34" charset="0"/>
              <a:buChar char="–"/>
              <a:defRPr/>
            </a:lvl5pPr>
            <a:lvl6pPr marL="1009381" indent="-205924">
              <a:defRPr/>
            </a:lvl6pPr>
            <a:lvl7pPr marL="1209352" indent="-199972">
              <a:defRPr/>
            </a:lvl7pPr>
            <a:lvl8pPr marL="1408134" indent="-198782">
              <a:defRPr/>
            </a:lvl8pPr>
            <a:lvl9pPr marL="1614057" indent="-205924">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123862724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ent with Pictur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52DEB47-5D9B-4A82-8E12-5DD09DF8F359}" type="datetime1">
              <a:rPr lang="fi-FI" smtClean="0"/>
              <a:t>6.11.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
        <p:nvSpPr>
          <p:cNvPr id="6"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9" name="Picture Placeholder 2"/>
          <p:cNvSpPr>
            <a:spLocks noGrp="1"/>
          </p:cNvSpPr>
          <p:nvPr>
            <p:ph type="pic" idx="13"/>
          </p:nvPr>
        </p:nvSpPr>
        <p:spPr>
          <a:xfrm>
            <a:off x="7109621" y="1545433"/>
            <a:ext cx="2034379" cy="2862326"/>
          </a:xfrm>
          <a:solidFill>
            <a:schemeClr val="bg2">
              <a:lumMod val="20000"/>
              <a:lumOff val="80000"/>
            </a:schemeClr>
          </a:solidFill>
        </p:spPr>
        <p:txBody>
          <a:bodyPr/>
          <a:lstStyle>
            <a:lvl1pPr marL="0" indent="0">
              <a:buNone/>
              <a:defRPr sz="1050"/>
            </a:lvl1pPr>
            <a:lvl2pPr marL="342809" indent="0">
              <a:buNone/>
              <a:defRPr sz="2099"/>
            </a:lvl2pPr>
            <a:lvl3pPr marL="685617" indent="0">
              <a:buNone/>
              <a:defRPr sz="1800"/>
            </a:lvl3pPr>
            <a:lvl4pPr marL="1028426" indent="0">
              <a:buNone/>
              <a:defRPr sz="1500"/>
            </a:lvl4pPr>
            <a:lvl5pPr marL="1371234" indent="0">
              <a:buNone/>
              <a:defRPr sz="1500"/>
            </a:lvl5pPr>
            <a:lvl6pPr marL="1714043" indent="0">
              <a:buNone/>
              <a:defRPr sz="1500"/>
            </a:lvl6pPr>
            <a:lvl7pPr marL="2056851" indent="0">
              <a:buNone/>
              <a:defRPr sz="1500"/>
            </a:lvl7pPr>
            <a:lvl8pPr marL="2399660" indent="0">
              <a:buNone/>
              <a:defRPr sz="1500"/>
            </a:lvl8pPr>
            <a:lvl9pPr marL="2742468" indent="0">
              <a:buNone/>
              <a:defRPr sz="1500"/>
            </a:lvl9pPr>
          </a:lstStyle>
          <a:p>
            <a:r>
              <a:rPr lang="en-US"/>
              <a:t>Click icon to add picture</a:t>
            </a:r>
          </a:p>
        </p:txBody>
      </p:sp>
      <p:sp>
        <p:nvSpPr>
          <p:cNvPr id="13" name="Content Placeholder 12"/>
          <p:cNvSpPr>
            <a:spLocks noGrp="1"/>
          </p:cNvSpPr>
          <p:nvPr>
            <p:ph sz="quarter" idx="14" hasCustomPrompt="1"/>
          </p:nvPr>
        </p:nvSpPr>
        <p:spPr>
          <a:xfrm>
            <a:off x="414230" y="1545431"/>
            <a:ext cx="6479423"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249028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ase">
    <p:spTree>
      <p:nvGrpSpPr>
        <p:cNvPr id="1" name=""/>
        <p:cNvGrpSpPr/>
        <p:nvPr/>
      </p:nvGrpSpPr>
      <p:grpSpPr>
        <a:xfrm>
          <a:off x="0" y="0"/>
          <a:ext cx="0" cy="0"/>
          <a:chOff x="0" y="0"/>
          <a:chExt cx="0" cy="0"/>
        </a:xfrm>
      </p:grpSpPr>
      <p:sp>
        <p:nvSpPr>
          <p:cNvPr id="9" name="Text Placeholder 8"/>
          <p:cNvSpPr>
            <a:spLocks noGrp="1"/>
          </p:cNvSpPr>
          <p:nvPr>
            <p:ph type="body" sz="quarter" idx="14" hasCustomPrompt="1"/>
          </p:nvPr>
        </p:nvSpPr>
        <p:spPr>
          <a:xfrm>
            <a:off x="4572000" y="2571750"/>
            <a:ext cx="4572000" cy="2571750"/>
          </a:xfrm>
          <a:solidFill>
            <a:schemeClr val="accent2"/>
          </a:solidFill>
        </p:spPr>
        <p:txBody>
          <a:bodyPr lIns="396000" tIns="360000" rIns="396000" bIns="360000"/>
          <a:lstStyle>
            <a:lvl1pPr marL="0" indent="0">
              <a:buNone/>
              <a:defRPr sz="2099" b="1">
                <a:solidFill>
                  <a:schemeClr val="bg1"/>
                </a:solidFill>
              </a:defRPr>
            </a:lvl1pPr>
            <a:lvl2pPr marL="0" indent="0">
              <a:buNone/>
              <a:defRPr sz="1050">
                <a:solidFill>
                  <a:schemeClr val="bg1"/>
                </a:solidFill>
              </a:defRPr>
            </a:lvl2pPr>
            <a:lvl3pPr marL="199972" indent="-199972">
              <a:defRPr sz="900">
                <a:solidFill>
                  <a:schemeClr val="bg1"/>
                </a:solidFill>
              </a:defRPr>
            </a:lvl3pPr>
            <a:lvl4pPr marL="604676" indent="-199972">
              <a:defRPr>
                <a:solidFill>
                  <a:schemeClr val="bg1"/>
                </a:solidFill>
              </a:defRPr>
            </a:lvl4pPr>
            <a:lvl5pPr marL="803458" indent="-198782">
              <a:defRPr>
                <a:solidFill>
                  <a:schemeClr val="bg1"/>
                </a:solidFill>
              </a:defRPr>
            </a:lvl5pPr>
          </a:lstStyle>
          <a:p>
            <a:pPr lvl="0"/>
            <a:r>
              <a:rPr lang="en-US" dirty="0"/>
              <a:t>Click to add text</a:t>
            </a:r>
          </a:p>
          <a:p>
            <a:pPr lvl="1"/>
            <a:r>
              <a:rPr lang="en-US" dirty="0"/>
              <a:t>Second level</a:t>
            </a:r>
          </a:p>
          <a:p>
            <a:pPr lvl="2"/>
            <a:r>
              <a:rPr lang="en-US" dirty="0"/>
              <a:t>Third level</a:t>
            </a:r>
          </a:p>
        </p:txBody>
      </p:sp>
      <p:sp>
        <p:nvSpPr>
          <p:cNvPr id="13" name="Picture Placeholder 12"/>
          <p:cNvSpPr>
            <a:spLocks noGrp="1"/>
          </p:cNvSpPr>
          <p:nvPr>
            <p:ph type="pic" sz="quarter" idx="15"/>
          </p:nvPr>
        </p:nvSpPr>
        <p:spPr>
          <a:xfrm>
            <a:off x="4572000" y="0"/>
            <a:ext cx="4572000" cy="2571750"/>
          </a:xfrm>
          <a:solidFill>
            <a:schemeClr val="bg2">
              <a:lumMod val="20000"/>
              <a:lumOff val="80000"/>
            </a:schemeClr>
          </a:solidFill>
        </p:spPr>
        <p:txBody>
          <a:bodyPr/>
          <a:lstStyle>
            <a:lvl1pPr marL="0" indent="0">
              <a:buNone/>
              <a:defRPr sz="1050"/>
            </a:lvl1pPr>
          </a:lstStyle>
          <a:p>
            <a:r>
              <a:rPr lang="en-US"/>
              <a:t>Click icon to add picture</a:t>
            </a:r>
            <a:endParaRPr lang="fi-FI" dirty="0"/>
          </a:p>
        </p:txBody>
      </p:sp>
      <p:sp>
        <p:nvSpPr>
          <p:cNvPr id="2" name="Title 1"/>
          <p:cNvSpPr>
            <a:spLocks noGrp="1"/>
          </p:cNvSpPr>
          <p:nvPr>
            <p:ph type="title" hasCustomPrompt="1"/>
          </p:nvPr>
        </p:nvSpPr>
        <p:spPr>
          <a:xfrm>
            <a:off x="0" y="573882"/>
            <a:ext cx="4464013" cy="456902"/>
          </a:xfrm>
        </p:spPr>
        <p:txBody>
          <a:bodyPr/>
          <a:lstStyle>
            <a:lvl1pPr>
              <a:defRPr sz="2249" baseline="0"/>
            </a:lvl1pPr>
          </a:lstStyle>
          <a:p>
            <a:r>
              <a:rPr lang="en-US" dirty="0"/>
              <a:t>Click to add title</a:t>
            </a:r>
          </a:p>
        </p:txBody>
      </p:sp>
      <p:sp>
        <p:nvSpPr>
          <p:cNvPr id="3" name="Content Placeholder 2"/>
          <p:cNvSpPr>
            <a:spLocks noGrp="1"/>
          </p:cNvSpPr>
          <p:nvPr>
            <p:ph idx="1" hasCustomPrompt="1"/>
          </p:nvPr>
        </p:nvSpPr>
        <p:spPr>
          <a:xfrm>
            <a:off x="414229" y="1168003"/>
            <a:ext cx="4049786" cy="1079702"/>
          </a:xfrm>
        </p:spPr>
        <p:txBody>
          <a:bodyPr/>
          <a:lstStyle>
            <a:lvl1pPr>
              <a:defRPr sz="1050" b="1"/>
            </a:lvl1pPr>
            <a:lvl2pPr>
              <a:defRPr sz="900"/>
            </a:lvl2pPr>
            <a:lvl3pPr>
              <a:defRPr sz="825"/>
            </a:lvl3pPr>
            <a:lvl4pPr>
              <a:defRPr sz="787"/>
            </a:lvl4pPr>
            <a:lvl5pPr>
              <a:defRPr sz="787"/>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solidFill>
                  <a:srgbClr val="B3B2B2"/>
                </a:solidFill>
              </a:defRPr>
            </a:lvl1pPr>
          </a:lstStyle>
          <a:p>
            <a:fld id="{689A7EC0-9CAF-476F-AFA2-09BEF61B6716}" type="datetime1">
              <a:rPr lang="fi-FI" smtClean="0"/>
              <a:t>6.11.2023</a:t>
            </a:fld>
            <a:endParaRPr lang="en-US"/>
          </a:p>
        </p:txBody>
      </p:sp>
      <p:sp>
        <p:nvSpPr>
          <p:cNvPr id="5" name="Footer Placeholder 4"/>
          <p:cNvSpPr>
            <a:spLocks noGrp="1"/>
          </p:cNvSpPr>
          <p:nvPr>
            <p:ph type="ftr" sz="quarter" idx="11"/>
          </p:nvPr>
        </p:nvSpPr>
        <p:spPr/>
        <p:txBody>
          <a:bodyPr/>
          <a:lstStyle>
            <a:lvl1pPr>
              <a:defRPr>
                <a:noFill/>
              </a:defRPr>
            </a:lvl1pPr>
          </a:lstStyle>
          <a:p>
            <a:r>
              <a:rPr lang="en-US"/>
              <a:t>© Aalto University Executive Educ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a:p>
        </p:txBody>
      </p:sp>
      <p:sp>
        <p:nvSpPr>
          <p:cNvPr id="7" name="Content Placeholder 2"/>
          <p:cNvSpPr>
            <a:spLocks noGrp="1"/>
          </p:cNvSpPr>
          <p:nvPr>
            <p:ph idx="13" hasCustomPrompt="1"/>
          </p:nvPr>
        </p:nvSpPr>
        <p:spPr>
          <a:xfrm>
            <a:off x="414230" y="2355720"/>
            <a:ext cx="4049758" cy="2051975"/>
          </a:xfrm>
        </p:spPr>
        <p:txBody>
          <a:bodyPr/>
          <a:lstStyle>
            <a:lvl1pPr marL="199972" indent="-199972">
              <a:buFont typeface="+mj-lt"/>
              <a:buAutoNum type="arabicPeriod"/>
              <a:defRPr sz="1200" b="1">
                <a:solidFill>
                  <a:schemeClr val="accent2"/>
                </a:solidFill>
              </a:defRPr>
            </a:lvl1pPr>
            <a:lvl2pPr marL="0" indent="0">
              <a:buNone/>
              <a:defRPr sz="1050"/>
            </a:lvl2pPr>
            <a:lvl3pPr marL="199972" indent="-199972">
              <a:defRPr sz="900"/>
            </a:lvl3pPr>
            <a:lvl4pPr marL="404705" indent="-204733">
              <a:defRPr sz="825"/>
            </a:lvl4pPr>
            <a:lvl5pPr marL="604676" indent="-199972">
              <a:defRPr sz="825"/>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721071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2739F984-E3A1-4480-8440-14CE1826A798}"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7"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3"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4" name="Text Placeholder 8"/>
          <p:cNvSpPr>
            <a:spLocks noGrp="1"/>
          </p:cNvSpPr>
          <p:nvPr>
            <p:ph type="body" sz="quarter" idx="19" hasCustomPrompt="1"/>
          </p:nvPr>
        </p:nvSpPr>
        <p:spPr>
          <a:xfrm>
            <a:off x="252347" y="2787254"/>
            <a:ext cx="145813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5" name="Text Placeholder 8"/>
          <p:cNvSpPr>
            <a:spLocks noGrp="1"/>
          </p:cNvSpPr>
          <p:nvPr>
            <p:ph type="body" sz="quarter" idx="20" hasCustomPrompt="1"/>
          </p:nvPr>
        </p:nvSpPr>
        <p:spPr>
          <a:xfrm>
            <a:off x="1710483" y="2787254"/>
            <a:ext cx="1403381"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6" name="Text Placeholder 8"/>
          <p:cNvSpPr>
            <a:spLocks noGrp="1"/>
          </p:cNvSpPr>
          <p:nvPr>
            <p:ph type="body" sz="quarter" idx="21" hasCustomPrompt="1"/>
          </p:nvPr>
        </p:nvSpPr>
        <p:spPr>
          <a:xfrm>
            <a:off x="3113864" y="2787254"/>
            <a:ext cx="145813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7" name="Text Placeholder 8"/>
          <p:cNvSpPr>
            <a:spLocks noGrp="1"/>
          </p:cNvSpPr>
          <p:nvPr>
            <p:ph type="body" sz="quarter" idx="22" hasCustomPrompt="1"/>
          </p:nvPr>
        </p:nvSpPr>
        <p:spPr>
          <a:xfrm>
            <a:off x="4572001" y="2787254"/>
            <a:ext cx="1458136"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8" name="Text Placeholder 8"/>
          <p:cNvSpPr>
            <a:spLocks noGrp="1"/>
          </p:cNvSpPr>
          <p:nvPr>
            <p:ph type="body" sz="quarter" idx="23" hasCustomPrompt="1"/>
          </p:nvPr>
        </p:nvSpPr>
        <p:spPr>
          <a:xfrm>
            <a:off x="7487081" y="2787254"/>
            <a:ext cx="1404572"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9" name="Text Placeholder 8"/>
          <p:cNvSpPr>
            <a:spLocks noGrp="1"/>
          </p:cNvSpPr>
          <p:nvPr>
            <p:ph type="body" sz="quarter" idx="24" hasCustomPrompt="1"/>
          </p:nvPr>
        </p:nvSpPr>
        <p:spPr>
          <a:xfrm>
            <a:off x="6030136" y="2787254"/>
            <a:ext cx="145694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85594934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9563F5D9-D960-494D-97FB-91F70DCEAA0D}"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7"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3"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98436020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Proces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7D29171-FC86-4412-B9C2-159F0A152F34}"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16" name="Text Placeholder 11"/>
          <p:cNvSpPr>
            <a:spLocks noGrp="1"/>
          </p:cNvSpPr>
          <p:nvPr>
            <p:ph type="body" sz="quarter" idx="13" hasCustomPrompt="1"/>
          </p:nvPr>
        </p:nvSpPr>
        <p:spPr>
          <a:xfrm>
            <a:off x="522492"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7" name="Text Placeholder 11"/>
          <p:cNvSpPr>
            <a:spLocks noGrp="1"/>
          </p:cNvSpPr>
          <p:nvPr>
            <p:ph type="body" sz="quarter" idx="14" hasCustomPrompt="1"/>
          </p:nvPr>
        </p:nvSpPr>
        <p:spPr>
          <a:xfrm>
            <a:off x="25746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8" name="Text Placeholder 11"/>
          <p:cNvSpPr>
            <a:spLocks noGrp="1"/>
          </p:cNvSpPr>
          <p:nvPr>
            <p:ph type="body" sz="quarter" idx="15" hasCustomPrompt="1"/>
          </p:nvPr>
        </p:nvSpPr>
        <p:spPr>
          <a:xfrm>
            <a:off x="4625993"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9" name="Text Placeholder 11"/>
          <p:cNvSpPr>
            <a:spLocks noGrp="1"/>
          </p:cNvSpPr>
          <p:nvPr>
            <p:ph type="body" sz="quarter" idx="16" hasCustomPrompt="1"/>
          </p:nvPr>
        </p:nvSpPr>
        <p:spPr>
          <a:xfrm>
            <a:off x="66781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194892672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9" name="Freeform 6"/>
          <p:cNvSpPr>
            <a:spLocks noEditPoints="1"/>
          </p:cNvSpPr>
          <p:nvPr userDrawn="1"/>
        </p:nvSpPr>
        <p:spPr bwMode="auto">
          <a:xfrm>
            <a:off x="900447" y="789502"/>
            <a:ext cx="7343106" cy="3897404"/>
          </a:xfrm>
          <a:custGeom>
            <a:avLst/>
            <a:gdLst>
              <a:gd name="T0" fmla="*/ 5457 w 6532"/>
              <a:gd name="T1" fmla="*/ 2143 h 3466"/>
              <a:gd name="T2" fmla="*/ 5174 w 6532"/>
              <a:gd name="T3" fmla="*/ 2900 h 3466"/>
              <a:gd name="T4" fmla="*/ 5719 w 6532"/>
              <a:gd name="T5" fmla="*/ 3005 h 3466"/>
              <a:gd name="T6" fmla="*/ 5580 w 6532"/>
              <a:gd name="T7" fmla="*/ 2474 h 3466"/>
              <a:gd name="T8" fmla="*/ 5149 w 6532"/>
              <a:gd name="T9" fmla="*/ 2615 h 3466"/>
              <a:gd name="T10" fmla="*/ 6127 w 6532"/>
              <a:gd name="T11" fmla="*/ 3171 h 3466"/>
              <a:gd name="T12" fmla="*/ 6271 w 6532"/>
              <a:gd name="T13" fmla="*/ 3002 h 3466"/>
              <a:gd name="T14" fmla="*/ 5156 w 6532"/>
              <a:gd name="T15" fmla="*/ 2268 h 3466"/>
              <a:gd name="T16" fmla="*/ 4931 w 6532"/>
              <a:gd name="T17" fmla="*/ 2174 h 3466"/>
              <a:gd name="T18" fmla="*/ 5219 w 6532"/>
              <a:gd name="T19" fmla="*/ 1897 h 3466"/>
              <a:gd name="T20" fmla="*/ 1676 w 6532"/>
              <a:gd name="T21" fmla="*/ 1643 h 3466"/>
              <a:gd name="T22" fmla="*/ 5516 w 6532"/>
              <a:gd name="T23" fmla="*/ 1301 h 3466"/>
              <a:gd name="T24" fmla="*/ 5655 w 6532"/>
              <a:gd name="T25" fmla="*/ 839 h 3466"/>
              <a:gd name="T26" fmla="*/ 3083 w 6532"/>
              <a:gd name="T27" fmla="*/ 842 h 3466"/>
              <a:gd name="T28" fmla="*/ 2705 w 6532"/>
              <a:gd name="T29" fmla="*/ 478 h 3466"/>
              <a:gd name="T30" fmla="*/ 2383 w 6532"/>
              <a:gd name="T31" fmla="*/ 2356 h 3466"/>
              <a:gd name="T32" fmla="*/ 1925 w 6532"/>
              <a:gd name="T33" fmla="*/ 1878 h 3466"/>
              <a:gd name="T34" fmla="*/ 1375 w 6532"/>
              <a:gd name="T35" fmla="*/ 1671 h 3466"/>
              <a:gd name="T36" fmla="*/ 1593 w 6532"/>
              <a:gd name="T37" fmla="*/ 1514 h 3466"/>
              <a:gd name="T38" fmla="*/ 1838 w 6532"/>
              <a:gd name="T39" fmla="*/ 1020 h 3466"/>
              <a:gd name="T40" fmla="*/ 1936 w 6532"/>
              <a:gd name="T41" fmla="*/ 877 h 3466"/>
              <a:gd name="T42" fmla="*/ 1790 w 6532"/>
              <a:gd name="T43" fmla="*/ 562 h 3466"/>
              <a:gd name="T44" fmla="*/ 1334 w 6532"/>
              <a:gd name="T45" fmla="*/ 617 h 3466"/>
              <a:gd name="T46" fmla="*/ 1472 w 6532"/>
              <a:gd name="T47" fmla="*/ 375 h 3466"/>
              <a:gd name="T48" fmla="*/ 1166 w 6532"/>
              <a:gd name="T49" fmla="*/ 344 h 3466"/>
              <a:gd name="T50" fmla="*/ 671 w 6532"/>
              <a:gd name="T51" fmla="*/ 272 h 3466"/>
              <a:gd name="T52" fmla="*/ 107 w 6532"/>
              <a:gd name="T53" fmla="*/ 380 h 3466"/>
              <a:gd name="T54" fmla="*/ 160 w 6532"/>
              <a:gd name="T55" fmla="*/ 693 h 3466"/>
              <a:gd name="T56" fmla="*/ 467 w 6532"/>
              <a:gd name="T57" fmla="*/ 589 h 3466"/>
              <a:gd name="T58" fmla="*/ 733 w 6532"/>
              <a:gd name="T59" fmla="*/ 828 h 3466"/>
              <a:gd name="T60" fmla="*/ 1013 w 6532"/>
              <a:gd name="T61" fmla="*/ 1495 h 3466"/>
              <a:gd name="T62" fmla="*/ 1427 w 6532"/>
              <a:gd name="T63" fmla="*/ 1791 h 3466"/>
              <a:gd name="T64" fmla="*/ 1681 w 6532"/>
              <a:gd name="T65" fmla="*/ 2415 h 3466"/>
              <a:gd name="T66" fmla="*/ 1706 w 6532"/>
              <a:gd name="T67" fmla="*/ 3322 h 3466"/>
              <a:gd name="T68" fmla="*/ 1836 w 6532"/>
              <a:gd name="T69" fmla="*/ 3450 h 3466"/>
              <a:gd name="T70" fmla="*/ 1998 w 6532"/>
              <a:gd name="T71" fmla="*/ 2861 h 3466"/>
              <a:gd name="T72" fmla="*/ 3210 w 6532"/>
              <a:gd name="T73" fmla="*/ 1064 h 3466"/>
              <a:gd name="T74" fmla="*/ 3459 w 6532"/>
              <a:gd name="T75" fmla="*/ 1211 h 3466"/>
              <a:gd name="T76" fmla="*/ 3626 w 6532"/>
              <a:gd name="T77" fmla="*/ 1370 h 3466"/>
              <a:gd name="T78" fmla="*/ 2824 w 6532"/>
              <a:gd name="T79" fmla="*/ 1477 h 3466"/>
              <a:gd name="T80" fmla="*/ 3231 w 6532"/>
              <a:gd name="T81" fmla="*/ 2006 h 3466"/>
              <a:gd name="T82" fmla="*/ 3617 w 6532"/>
              <a:gd name="T83" fmla="*/ 2815 h 3466"/>
              <a:gd name="T84" fmla="*/ 3937 w 6532"/>
              <a:gd name="T85" fmla="*/ 1836 h 3466"/>
              <a:gd name="T86" fmla="*/ 3941 w 6532"/>
              <a:gd name="T87" fmla="*/ 1781 h 3466"/>
              <a:gd name="T88" fmla="*/ 4194 w 6532"/>
              <a:gd name="T89" fmla="*/ 1523 h 3466"/>
              <a:gd name="T90" fmla="*/ 4700 w 6532"/>
              <a:gd name="T91" fmla="*/ 1613 h 3466"/>
              <a:gd name="T92" fmla="*/ 4982 w 6532"/>
              <a:gd name="T93" fmla="*/ 1900 h 3466"/>
              <a:gd name="T94" fmla="*/ 5263 w 6532"/>
              <a:gd name="T95" fmla="*/ 1326 h 3466"/>
              <a:gd name="T96" fmla="*/ 5442 w 6532"/>
              <a:gd name="T97" fmla="*/ 1098 h 3466"/>
              <a:gd name="T98" fmla="*/ 5788 w 6532"/>
              <a:gd name="T99" fmla="*/ 631 h 3466"/>
              <a:gd name="T100" fmla="*/ 5959 w 6532"/>
              <a:gd name="T101" fmla="*/ 847 h 3466"/>
              <a:gd name="T102" fmla="*/ 6395 w 6532"/>
              <a:gd name="T103" fmla="*/ 431 h 3466"/>
              <a:gd name="T104" fmla="*/ 5970 w 6532"/>
              <a:gd name="T105" fmla="*/ 252 h 3466"/>
              <a:gd name="T106" fmla="*/ 5456 w 6532"/>
              <a:gd name="T107" fmla="*/ 251 h 3466"/>
              <a:gd name="T108" fmla="*/ 5023 w 6532"/>
              <a:gd name="T109" fmla="*/ 173 h 3466"/>
              <a:gd name="T110" fmla="*/ 4575 w 6532"/>
              <a:gd name="T111" fmla="*/ 206 h 3466"/>
              <a:gd name="T112" fmla="*/ 4436 w 6532"/>
              <a:gd name="T113" fmla="*/ 341 h 3466"/>
              <a:gd name="T114" fmla="*/ 4078 w 6532"/>
              <a:gd name="T115" fmla="*/ 343 h 3466"/>
              <a:gd name="T116" fmla="*/ 3819 w 6532"/>
              <a:gd name="T117" fmla="*/ 368 h 3466"/>
              <a:gd name="T118" fmla="*/ 3402 w 6532"/>
              <a:gd name="T119" fmla="*/ 304 h 3466"/>
              <a:gd name="T120" fmla="*/ 3175 w 6532"/>
              <a:gd name="T121" fmla="*/ 652 h 3466"/>
              <a:gd name="T122" fmla="*/ 3496 w 6532"/>
              <a:gd name="T123" fmla="*/ 577 h 3466"/>
              <a:gd name="T124" fmla="*/ 3255 w 6532"/>
              <a:gd name="T125" fmla="*/ 669 h 3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32" h="3466">
                <a:moveTo>
                  <a:pt x="5155" y="2007"/>
                </a:moveTo>
                <a:lnTo>
                  <a:pt x="5152" y="2005"/>
                </a:lnTo>
                <a:lnTo>
                  <a:pt x="5150" y="2005"/>
                </a:lnTo>
                <a:lnTo>
                  <a:pt x="5147" y="2010"/>
                </a:lnTo>
                <a:lnTo>
                  <a:pt x="5141" y="2021"/>
                </a:lnTo>
                <a:lnTo>
                  <a:pt x="5136" y="2031"/>
                </a:lnTo>
                <a:lnTo>
                  <a:pt x="5133" y="2036"/>
                </a:lnTo>
                <a:lnTo>
                  <a:pt x="5132" y="2036"/>
                </a:lnTo>
                <a:lnTo>
                  <a:pt x="5130" y="2037"/>
                </a:lnTo>
                <a:lnTo>
                  <a:pt x="5125" y="2036"/>
                </a:lnTo>
                <a:lnTo>
                  <a:pt x="5121" y="2036"/>
                </a:lnTo>
                <a:lnTo>
                  <a:pt x="5117" y="2036"/>
                </a:lnTo>
                <a:lnTo>
                  <a:pt x="5113" y="2037"/>
                </a:lnTo>
                <a:lnTo>
                  <a:pt x="5110" y="2038"/>
                </a:lnTo>
                <a:lnTo>
                  <a:pt x="5107" y="2039"/>
                </a:lnTo>
                <a:lnTo>
                  <a:pt x="5105" y="2041"/>
                </a:lnTo>
                <a:lnTo>
                  <a:pt x="5102" y="2045"/>
                </a:lnTo>
                <a:lnTo>
                  <a:pt x="5100" y="2050"/>
                </a:lnTo>
                <a:lnTo>
                  <a:pt x="5099" y="2055"/>
                </a:lnTo>
                <a:lnTo>
                  <a:pt x="5098" y="2060"/>
                </a:lnTo>
                <a:lnTo>
                  <a:pt x="5098" y="2065"/>
                </a:lnTo>
                <a:lnTo>
                  <a:pt x="5097" y="2069"/>
                </a:lnTo>
                <a:lnTo>
                  <a:pt x="5083" y="2062"/>
                </a:lnTo>
                <a:lnTo>
                  <a:pt x="5069" y="2055"/>
                </a:lnTo>
                <a:lnTo>
                  <a:pt x="5058" y="2073"/>
                </a:lnTo>
                <a:lnTo>
                  <a:pt x="5055" y="2079"/>
                </a:lnTo>
                <a:lnTo>
                  <a:pt x="5054" y="2081"/>
                </a:lnTo>
                <a:lnTo>
                  <a:pt x="5053" y="2084"/>
                </a:lnTo>
                <a:lnTo>
                  <a:pt x="5053" y="2086"/>
                </a:lnTo>
                <a:lnTo>
                  <a:pt x="5054" y="2089"/>
                </a:lnTo>
                <a:lnTo>
                  <a:pt x="5055" y="2096"/>
                </a:lnTo>
                <a:lnTo>
                  <a:pt x="5060" y="2120"/>
                </a:lnTo>
                <a:lnTo>
                  <a:pt x="5062" y="2121"/>
                </a:lnTo>
                <a:lnTo>
                  <a:pt x="5063" y="2121"/>
                </a:lnTo>
                <a:lnTo>
                  <a:pt x="5063" y="2123"/>
                </a:lnTo>
                <a:lnTo>
                  <a:pt x="5063" y="2124"/>
                </a:lnTo>
                <a:lnTo>
                  <a:pt x="5062" y="2127"/>
                </a:lnTo>
                <a:lnTo>
                  <a:pt x="5060" y="2129"/>
                </a:lnTo>
                <a:lnTo>
                  <a:pt x="5063" y="2128"/>
                </a:lnTo>
                <a:lnTo>
                  <a:pt x="5064" y="2128"/>
                </a:lnTo>
                <a:lnTo>
                  <a:pt x="5067" y="2127"/>
                </a:lnTo>
                <a:lnTo>
                  <a:pt x="5072" y="2123"/>
                </a:lnTo>
                <a:lnTo>
                  <a:pt x="5077" y="2143"/>
                </a:lnTo>
                <a:lnTo>
                  <a:pt x="5083" y="2165"/>
                </a:lnTo>
                <a:lnTo>
                  <a:pt x="5090" y="2166"/>
                </a:lnTo>
                <a:lnTo>
                  <a:pt x="5097" y="2166"/>
                </a:lnTo>
                <a:lnTo>
                  <a:pt x="5103" y="2166"/>
                </a:lnTo>
                <a:lnTo>
                  <a:pt x="5106" y="2166"/>
                </a:lnTo>
                <a:lnTo>
                  <a:pt x="5108" y="2165"/>
                </a:lnTo>
                <a:lnTo>
                  <a:pt x="5111" y="2165"/>
                </a:lnTo>
                <a:lnTo>
                  <a:pt x="5111" y="2174"/>
                </a:lnTo>
                <a:lnTo>
                  <a:pt x="5119" y="2175"/>
                </a:lnTo>
                <a:lnTo>
                  <a:pt x="5125" y="2176"/>
                </a:lnTo>
                <a:lnTo>
                  <a:pt x="5131" y="2171"/>
                </a:lnTo>
                <a:lnTo>
                  <a:pt x="5135" y="2170"/>
                </a:lnTo>
                <a:lnTo>
                  <a:pt x="5143" y="2170"/>
                </a:lnTo>
                <a:lnTo>
                  <a:pt x="5153" y="2171"/>
                </a:lnTo>
                <a:lnTo>
                  <a:pt x="5162" y="2176"/>
                </a:lnTo>
                <a:lnTo>
                  <a:pt x="5160" y="2177"/>
                </a:lnTo>
                <a:lnTo>
                  <a:pt x="5160" y="2178"/>
                </a:lnTo>
                <a:lnTo>
                  <a:pt x="5161" y="2180"/>
                </a:lnTo>
                <a:lnTo>
                  <a:pt x="5164" y="2182"/>
                </a:lnTo>
                <a:lnTo>
                  <a:pt x="5170" y="2178"/>
                </a:lnTo>
                <a:lnTo>
                  <a:pt x="5173" y="2175"/>
                </a:lnTo>
                <a:lnTo>
                  <a:pt x="5176" y="2174"/>
                </a:lnTo>
                <a:lnTo>
                  <a:pt x="5177" y="2174"/>
                </a:lnTo>
                <a:lnTo>
                  <a:pt x="5180" y="2174"/>
                </a:lnTo>
                <a:lnTo>
                  <a:pt x="5182" y="2174"/>
                </a:lnTo>
                <a:lnTo>
                  <a:pt x="5184" y="2174"/>
                </a:lnTo>
                <a:lnTo>
                  <a:pt x="5185" y="2172"/>
                </a:lnTo>
                <a:lnTo>
                  <a:pt x="5186" y="2171"/>
                </a:lnTo>
                <a:lnTo>
                  <a:pt x="5187" y="2167"/>
                </a:lnTo>
                <a:lnTo>
                  <a:pt x="5188" y="2163"/>
                </a:lnTo>
                <a:lnTo>
                  <a:pt x="5190" y="2160"/>
                </a:lnTo>
                <a:lnTo>
                  <a:pt x="5192" y="2156"/>
                </a:lnTo>
                <a:lnTo>
                  <a:pt x="5195" y="2151"/>
                </a:lnTo>
                <a:lnTo>
                  <a:pt x="5200" y="2151"/>
                </a:lnTo>
                <a:lnTo>
                  <a:pt x="5204" y="2151"/>
                </a:lnTo>
                <a:lnTo>
                  <a:pt x="5201" y="2142"/>
                </a:lnTo>
                <a:lnTo>
                  <a:pt x="5198" y="2134"/>
                </a:lnTo>
                <a:lnTo>
                  <a:pt x="5202" y="2131"/>
                </a:lnTo>
                <a:lnTo>
                  <a:pt x="5204" y="2129"/>
                </a:lnTo>
                <a:lnTo>
                  <a:pt x="5209" y="2126"/>
                </a:lnTo>
                <a:lnTo>
                  <a:pt x="5210" y="2120"/>
                </a:lnTo>
                <a:lnTo>
                  <a:pt x="5210" y="2109"/>
                </a:lnTo>
                <a:lnTo>
                  <a:pt x="5209" y="2099"/>
                </a:lnTo>
                <a:lnTo>
                  <a:pt x="5209" y="2092"/>
                </a:lnTo>
                <a:lnTo>
                  <a:pt x="5212" y="2090"/>
                </a:lnTo>
                <a:lnTo>
                  <a:pt x="5215" y="2087"/>
                </a:lnTo>
                <a:lnTo>
                  <a:pt x="5218" y="2085"/>
                </a:lnTo>
                <a:lnTo>
                  <a:pt x="5221" y="2084"/>
                </a:lnTo>
                <a:lnTo>
                  <a:pt x="5223" y="2083"/>
                </a:lnTo>
                <a:lnTo>
                  <a:pt x="5226" y="2084"/>
                </a:lnTo>
                <a:lnTo>
                  <a:pt x="5229" y="2084"/>
                </a:lnTo>
                <a:lnTo>
                  <a:pt x="5232" y="2084"/>
                </a:lnTo>
                <a:lnTo>
                  <a:pt x="5231" y="2083"/>
                </a:lnTo>
                <a:lnTo>
                  <a:pt x="5231" y="2082"/>
                </a:lnTo>
                <a:lnTo>
                  <a:pt x="5231" y="2079"/>
                </a:lnTo>
                <a:lnTo>
                  <a:pt x="5230" y="2077"/>
                </a:lnTo>
                <a:lnTo>
                  <a:pt x="5230" y="2076"/>
                </a:lnTo>
                <a:lnTo>
                  <a:pt x="5229" y="2075"/>
                </a:lnTo>
                <a:lnTo>
                  <a:pt x="5225" y="2073"/>
                </a:lnTo>
                <a:lnTo>
                  <a:pt x="5221" y="2072"/>
                </a:lnTo>
                <a:lnTo>
                  <a:pt x="5219" y="2071"/>
                </a:lnTo>
                <a:lnTo>
                  <a:pt x="5217" y="2070"/>
                </a:lnTo>
                <a:lnTo>
                  <a:pt x="5216" y="2068"/>
                </a:lnTo>
                <a:lnTo>
                  <a:pt x="5215" y="2067"/>
                </a:lnTo>
                <a:lnTo>
                  <a:pt x="5214" y="2064"/>
                </a:lnTo>
                <a:lnTo>
                  <a:pt x="5214" y="2061"/>
                </a:lnTo>
                <a:lnTo>
                  <a:pt x="5214" y="2056"/>
                </a:lnTo>
                <a:lnTo>
                  <a:pt x="5215" y="2050"/>
                </a:lnTo>
                <a:lnTo>
                  <a:pt x="5215" y="2047"/>
                </a:lnTo>
                <a:lnTo>
                  <a:pt x="5215" y="2044"/>
                </a:lnTo>
                <a:lnTo>
                  <a:pt x="5213" y="2041"/>
                </a:lnTo>
                <a:lnTo>
                  <a:pt x="5211" y="2038"/>
                </a:lnTo>
                <a:lnTo>
                  <a:pt x="5208" y="2035"/>
                </a:lnTo>
                <a:lnTo>
                  <a:pt x="5207" y="2033"/>
                </a:lnTo>
                <a:lnTo>
                  <a:pt x="5206" y="2030"/>
                </a:lnTo>
                <a:lnTo>
                  <a:pt x="5207" y="2027"/>
                </a:lnTo>
                <a:lnTo>
                  <a:pt x="5208" y="2024"/>
                </a:lnTo>
                <a:lnTo>
                  <a:pt x="5209" y="2024"/>
                </a:lnTo>
                <a:lnTo>
                  <a:pt x="5210" y="2024"/>
                </a:lnTo>
                <a:lnTo>
                  <a:pt x="5210" y="2023"/>
                </a:lnTo>
                <a:lnTo>
                  <a:pt x="5209" y="2022"/>
                </a:lnTo>
                <a:lnTo>
                  <a:pt x="5209" y="2021"/>
                </a:lnTo>
                <a:lnTo>
                  <a:pt x="5210" y="2021"/>
                </a:lnTo>
                <a:lnTo>
                  <a:pt x="5212" y="2022"/>
                </a:lnTo>
                <a:lnTo>
                  <a:pt x="5209" y="2015"/>
                </a:lnTo>
                <a:lnTo>
                  <a:pt x="5207" y="2010"/>
                </a:lnTo>
                <a:lnTo>
                  <a:pt x="5214" y="2010"/>
                </a:lnTo>
                <a:lnTo>
                  <a:pt x="5218" y="2009"/>
                </a:lnTo>
                <a:lnTo>
                  <a:pt x="5221" y="2008"/>
                </a:lnTo>
                <a:lnTo>
                  <a:pt x="5222" y="2006"/>
                </a:lnTo>
                <a:lnTo>
                  <a:pt x="5223" y="2005"/>
                </a:lnTo>
                <a:lnTo>
                  <a:pt x="5225" y="2002"/>
                </a:lnTo>
                <a:lnTo>
                  <a:pt x="5225" y="2000"/>
                </a:lnTo>
                <a:lnTo>
                  <a:pt x="5225" y="1997"/>
                </a:lnTo>
                <a:lnTo>
                  <a:pt x="5223" y="1993"/>
                </a:lnTo>
                <a:lnTo>
                  <a:pt x="5223" y="1992"/>
                </a:lnTo>
                <a:lnTo>
                  <a:pt x="5223" y="1991"/>
                </a:lnTo>
                <a:lnTo>
                  <a:pt x="5225" y="1991"/>
                </a:lnTo>
                <a:lnTo>
                  <a:pt x="5227" y="1992"/>
                </a:lnTo>
                <a:lnTo>
                  <a:pt x="5229" y="1993"/>
                </a:lnTo>
                <a:lnTo>
                  <a:pt x="5230" y="1994"/>
                </a:lnTo>
                <a:lnTo>
                  <a:pt x="5232" y="1994"/>
                </a:lnTo>
                <a:lnTo>
                  <a:pt x="5237" y="1988"/>
                </a:lnTo>
                <a:lnTo>
                  <a:pt x="5240" y="1988"/>
                </a:lnTo>
                <a:lnTo>
                  <a:pt x="5238" y="1985"/>
                </a:lnTo>
                <a:lnTo>
                  <a:pt x="5236" y="1981"/>
                </a:lnTo>
                <a:lnTo>
                  <a:pt x="5234" y="1977"/>
                </a:lnTo>
                <a:lnTo>
                  <a:pt x="5232" y="1974"/>
                </a:lnTo>
                <a:lnTo>
                  <a:pt x="5228" y="1972"/>
                </a:lnTo>
                <a:lnTo>
                  <a:pt x="5224" y="1971"/>
                </a:lnTo>
                <a:lnTo>
                  <a:pt x="5221" y="1970"/>
                </a:lnTo>
                <a:lnTo>
                  <a:pt x="5219" y="1969"/>
                </a:lnTo>
                <a:lnTo>
                  <a:pt x="5218" y="1968"/>
                </a:lnTo>
                <a:lnTo>
                  <a:pt x="5217" y="1967"/>
                </a:lnTo>
                <a:lnTo>
                  <a:pt x="5217" y="1966"/>
                </a:lnTo>
                <a:lnTo>
                  <a:pt x="5217" y="1964"/>
                </a:lnTo>
                <a:lnTo>
                  <a:pt x="5218" y="1963"/>
                </a:lnTo>
                <a:lnTo>
                  <a:pt x="5221" y="1960"/>
                </a:lnTo>
                <a:lnTo>
                  <a:pt x="5214" y="1954"/>
                </a:lnTo>
                <a:lnTo>
                  <a:pt x="5209" y="1951"/>
                </a:lnTo>
                <a:lnTo>
                  <a:pt x="5207" y="1949"/>
                </a:lnTo>
                <a:lnTo>
                  <a:pt x="5204" y="1948"/>
                </a:lnTo>
                <a:lnTo>
                  <a:pt x="5195" y="1946"/>
                </a:lnTo>
                <a:lnTo>
                  <a:pt x="5195" y="1948"/>
                </a:lnTo>
                <a:lnTo>
                  <a:pt x="5195" y="1951"/>
                </a:lnTo>
                <a:lnTo>
                  <a:pt x="5196" y="1954"/>
                </a:lnTo>
                <a:lnTo>
                  <a:pt x="5195" y="1957"/>
                </a:lnTo>
                <a:lnTo>
                  <a:pt x="5190" y="1960"/>
                </a:lnTo>
                <a:lnTo>
                  <a:pt x="5183" y="1969"/>
                </a:lnTo>
                <a:lnTo>
                  <a:pt x="5179" y="1976"/>
                </a:lnTo>
                <a:lnTo>
                  <a:pt x="5178" y="1980"/>
                </a:lnTo>
                <a:lnTo>
                  <a:pt x="5178" y="1984"/>
                </a:lnTo>
                <a:lnTo>
                  <a:pt x="5178" y="1988"/>
                </a:lnTo>
                <a:lnTo>
                  <a:pt x="5178" y="1994"/>
                </a:lnTo>
                <a:lnTo>
                  <a:pt x="5175" y="1995"/>
                </a:lnTo>
                <a:lnTo>
                  <a:pt x="5171" y="1995"/>
                </a:lnTo>
                <a:lnTo>
                  <a:pt x="5168" y="1995"/>
                </a:lnTo>
                <a:lnTo>
                  <a:pt x="5164" y="1996"/>
                </a:lnTo>
                <a:lnTo>
                  <a:pt x="5164" y="1997"/>
                </a:lnTo>
                <a:lnTo>
                  <a:pt x="5163" y="1998"/>
                </a:lnTo>
                <a:lnTo>
                  <a:pt x="5163" y="2001"/>
                </a:lnTo>
                <a:lnTo>
                  <a:pt x="5162" y="2003"/>
                </a:lnTo>
                <a:lnTo>
                  <a:pt x="5162" y="2005"/>
                </a:lnTo>
                <a:lnTo>
                  <a:pt x="5161" y="2005"/>
                </a:lnTo>
                <a:lnTo>
                  <a:pt x="5160" y="2005"/>
                </a:lnTo>
                <a:lnTo>
                  <a:pt x="5159" y="2005"/>
                </a:lnTo>
                <a:lnTo>
                  <a:pt x="5157" y="2004"/>
                </a:lnTo>
                <a:lnTo>
                  <a:pt x="5157" y="2005"/>
                </a:lnTo>
                <a:lnTo>
                  <a:pt x="5156" y="2005"/>
                </a:lnTo>
                <a:lnTo>
                  <a:pt x="5155" y="2007"/>
                </a:lnTo>
                <a:close/>
                <a:moveTo>
                  <a:pt x="5628" y="2167"/>
                </a:moveTo>
                <a:lnTo>
                  <a:pt x="5627" y="2166"/>
                </a:lnTo>
                <a:lnTo>
                  <a:pt x="5627" y="2164"/>
                </a:lnTo>
                <a:lnTo>
                  <a:pt x="5627" y="2163"/>
                </a:lnTo>
                <a:lnTo>
                  <a:pt x="5626" y="2162"/>
                </a:lnTo>
                <a:lnTo>
                  <a:pt x="5623" y="2162"/>
                </a:lnTo>
                <a:lnTo>
                  <a:pt x="5621" y="2162"/>
                </a:lnTo>
                <a:lnTo>
                  <a:pt x="5616" y="2162"/>
                </a:lnTo>
                <a:lnTo>
                  <a:pt x="5611" y="2163"/>
                </a:lnTo>
                <a:lnTo>
                  <a:pt x="5608" y="2163"/>
                </a:lnTo>
                <a:lnTo>
                  <a:pt x="5606" y="2162"/>
                </a:lnTo>
                <a:lnTo>
                  <a:pt x="5602" y="2161"/>
                </a:lnTo>
                <a:lnTo>
                  <a:pt x="5598" y="2158"/>
                </a:lnTo>
                <a:lnTo>
                  <a:pt x="5590" y="2151"/>
                </a:lnTo>
                <a:lnTo>
                  <a:pt x="5585" y="2148"/>
                </a:lnTo>
                <a:lnTo>
                  <a:pt x="5580" y="2146"/>
                </a:lnTo>
                <a:lnTo>
                  <a:pt x="5575" y="2145"/>
                </a:lnTo>
                <a:lnTo>
                  <a:pt x="5572" y="2145"/>
                </a:lnTo>
                <a:lnTo>
                  <a:pt x="5569" y="2145"/>
                </a:lnTo>
                <a:lnTo>
                  <a:pt x="5568" y="2146"/>
                </a:lnTo>
                <a:lnTo>
                  <a:pt x="5567" y="2147"/>
                </a:lnTo>
                <a:lnTo>
                  <a:pt x="5566" y="2151"/>
                </a:lnTo>
                <a:lnTo>
                  <a:pt x="5565" y="2154"/>
                </a:lnTo>
                <a:lnTo>
                  <a:pt x="5564" y="2157"/>
                </a:lnTo>
                <a:lnTo>
                  <a:pt x="5562" y="2158"/>
                </a:lnTo>
                <a:lnTo>
                  <a:pt x="5560" y="2159"/>
                </a:lnTo>
                <a:lnTo>
                  <a:pt x="5556" y="2159"/>
                </a:lnTo>
                <a:lnTo>
                  <a:pt x="5553" y="2160"/>
                </a:lnTo>
                <a:lnTo>
                  <a:pt x="5551" y="2161"/>
                </a:lnTo>
                <a:lnTo>
                  <a:pt x="5550" y="2162"/>
                </a:lnTo>
                <a:lnTo>
                  <a:pt x="5548" y="2165"/>
                </a:lnTo>
                <a:lnTo>
                  <a:pt x="5547" y="2170"/>
                </a:lnTo>
                <a:lnTo>
                  <a:pt x="5546" y="2174"/>
                </a:lnTo>
                <a:lnTo>
                  <a:pt x="5544" y="2176"/>
                </a:lnTo>
                <a:lnTo>
                  <a:pt x="5542" y="2177"/>
                </a:lnTo>
                <a:lnTo>
                  <a:pt x="5540" y="2178"/>
                </a:lnTo>
                <a:lnTo>
                  <a:pt x="5536" y="2178"/>
                </a:lnTo>
                <a:lnTo>
                  <a:pt x="5532" y="2178"/>
                </a:lnTo>
                <a:lnTo>
                  <a:pt x="5530" y="2178"/>
                </a:lnTo>
                <a:lnTo>
                  <a:pt x="5527" y="2179"/>
                </a:lnTo>
                <a:lnTo>
                  <a:pt x="5525" y="2175"/>
                </a:lnTo>
                <a:lnTo>
                  <a:pt x="5524" y="2171"/>
                </a:lnTo>
                <a:lnTo>
                  <a:pt x="5522" y="2162"/>
                </a:lnTo>
                <a:lnTo>
                  <a:pt x="5518" y="2165"/>
                </a:lnTo>
                <a:lnTo>
                  <a:pt x="5515" y="2166"/>
                </a:lnTo>
                <a:lnTo>
                  <a:pt x="5514" y="2166"/>
                </a:lnTo>
                <a:lnTo>
                  <a:pt x="5513" y="2165"/>
                </a:lnTo>
                <a:lnTo>
                  <a:pt x="5512" y="2161"/>
                </a:lnTo>
                <a:lnTo>
                  <a:pt x="5512" y="2156"/>
                </a:lnTo>
                <a:lnTo>
                  <a:pt x="5512" y="2151"/>
                </a:lnTo>
                <a:lnTo>
                  <a:pt x="5512" y="2146"/>
                </a:lnTo>
                <a:lnTo>
                  <a:pt x="5513" y="2135"/>
                </a:lnTo>
                <a:lnTo>
                  <a:pt x="5513" y="2126"/>
                </a:lnTo>
                <a:lnTo>
                  <a:pt x="5507" y="2123"/>
                </a:lnTo>
                <a:lnTo>
                  <a:pt x="5502" y="2120"/>
                </a:lnTo>
                <a:lnTo>
                  <a:pt x="5497" y="2122"/>
                </a:lnTo>
                <a:lnTo>
                  <a:pt x="5493" y="2123"/>
                </a:lnTo>
                <a:lnTo>
                  <a:pt x="5490" y="2122"/>
                </a:lnTo>
                <a:lnTo>
                  <a:pt x="5486" y="2119"/>
                </a:lnTo>
                <a:lnTo>
                  <a:pt x="5484" y="2118"/>
                </a:lnTo>
                <a:lnTo>
                  <a:pt x="5482" y="2118"/>
                </a:lnTo>
                <a:lnTo>
                  <a:pt x="5479" y="2117"/>
                </a:lnTo>
                <a:lnTo>
                  <a:pt x="5477" y="2117"/>
                </a:lnTo>
                <a:lnTo>
                  <a:pt x="5476" y="2118"/>
                </a:lnTo>
                <a:lnTo>
                  <a:pt x="5475" y="2119"/>
                </a:lnTo>
                <a:lnTo>
                  <a:pt x="5473" y="2122"/>
                </a:lnTo>
                <a:lnTo>
                  <a:pt x="5471" y="2126"/>
                </a:lnTo>
                <a:lnTo>
                  <a:pt x="5468" y="2126"/>
                </a:lnTo>
                <a:lnTo>
                  <a:pt x="5464" y="2126"/>
                </a:lnTo>
                <a:lnTo>
                  <a:pt x="5460" y="2125"/>
                </a:lnTo>
                <a:lnTo>
                  <a:pt x="5458" y="2125"/>
                </a:lnTo>
                <a:lnTo>
                  <a:pt x="5457" y="2126"/>
                </a:lnTo>
                <a:lnTo>
                  <a:pt x="5457" y="2137"/>
                </a:lnTo>
                <a:lnTo>
                  <a:pt x="5457" y="2143"/>
                </a:lnTo>
                <a:lnTo>
                  <a:pt x="5464" y="2142"/>
                </a:lnTo>
                <a:lnTo>
                  <a:pt x="5468" y="2142"/>
                </a:lnTo>
                <a:lnTo>
                  <a:pt x="5470" y="2142"/>
                </a:lnTo>
                <a:lnTo>
                  <a:pt x="5471" y="2143"/>
                </a:lnTo>
                <a:lnTo>
                  <a:pt x="5472" y="2144"/>
                </a:lnTo>
                <a:lnTo>
                  <a:pt x="5473" y="2145"/>
                </a:lnTo>
                <a:lnTo>
                  <a:pt x="5473" y="2147"/>
                </a:lnTo>
                <a:lnTo>
                  <a:pt x="5473" y="2150"/>
                </a:lnTo>
                <a:lnTo>
                  <a:pt x="5474" y="2154"/>
                </a:lnTo>
                <a:lnTo>
                  <a:pt x="5482" y="2154"/>
                </a:lnTo>
                <a:lnTo>
                  <a:pt x="5491" y="2154"/>
                </a:lnTo>
                <a:lnTo>
                  <a:pt x="5498" y="2154"/>
                </a:lnTo>
                <a:lnTo>
                  <a:pt x="5502" y="2154"/>
                </a:lnTo>
                <a:lnTo>
                  <a:pt x="5504" y="2155"/>
                </a:lnTo>
                <a:lnTo>
                  <a:pt x="5504" y="2156"/>
                </a:lnTo>
                <a:lnTo>
                  <a:pt x="5504" y="2157"/>
                </a:lnTo>
                <a:lnTo>
                  <a:pt x="5504" y="2159"/>
                </a:lnTo>
                <a:lnTo>
                  <a:pt x="5503" y="2160"/>
                </a:lnTo>
                <a:lnTo>
                  <a:pt x="5503" y="2161"/>
                </a:lnTo>
                <a:lnTo>
                  <a:pt x="5502" y="2162"/>
                </a:lnTo>
                <a:lnTo>
                  <a:pt x="5487" y="2164"/>
                </a:lnTo>
                <a:lnTo>
                  <a:pt x="5471" y="2165"/>
                </a:lnTo>
                <a:lnTo>
                  <a:pt x="5480" y="2166"/>
                </a:lnTo>
                <a:lnTo>
                  <a:pt x="5487" y="2167"/>
                </a:lnTo>
                <a:lnTo>
                  <a:pt x="5491" y="2168"/>
                </a:lnTo>
                <a:lnTo>
                  <a:pt x="5493" y="2168"/>
                </a:lnTo>
                <a:lnTo>
                  <a:pt x="5493" y="2169"/>
                </a:lnTo>
                <a:lnTo>
                  <a:pt x="5492" y="2169"/>
                </a:lnTo>
                <a:lnTo>
                  <a:pt x="5487" y="2170"/>
                </a:lnTo>
                <a:lnTo>
                  <a:pt x="5480" y="2171"/>
                </a:lnTo>
                <a:lnTo>
                  <a:pt x="5475" y="2170"/>
                </a:lnTo>
                <a:lnTo>
                  <a:pt x="5474" y="2170"/>
                </a:lnTo>
                <a:lnTo>
                  <a:pt x="5475" y="2169"/>
                </a:lnTo>
                <a:lnTo>
                  <a:pt x="5479" y="2168"/>
                </a:lnTo>
                <a:lnTo>
                  <a:pt x="5483" y="2174"/>
                </a:lnTo>
                <a:lnTo>
                  <a:pt x="5486" y="2180"/>
                </a:lnTo>
                <a:lnTo>
                  <a:pt x="5493" y="2190"/>
                </a:lnTo>
                <a:lnTo>
                  <a:pt x="5495" y="2185"/>
                </a:lnTo>
                <a:lnTo>
                  <a:pt x="5497" y="2183"/>
                </a:lnTo>
                <a:lnTo>
                  <a:pt x="5499" y="2182"/>
                </a:lnTo>
                <a:lnTo>
                  <a:pt x="5498" y="2181"/>
                </a:lnTo>
                <a:lnTo>
                  <a:pt x="5500" y="2181"/>
                </a:lnTo>
                <a:lnTo>
                  <a:pt x="5502" y="2181"/>
                </a:lnTo>
                <a:lnTo>
                  <a:pt x="5504" y="2182"/>
                </a:lnTo>
                <a:lnTo>
                  <a:pt x="5505" y="2183"/>
                </a:lnTo>
                <a:lnTo>
                  <a:pt x="5506" y="2184"/>
                </a:lnTo>
                <a:lnTo>
                  <a:pt x="5505" y="2185"/>
                </a:lnTo>
                <a:lnTo>
                  <a:pt x="5508" y="2186"/>
                </a:lnTo>
                <a:lnTo>
                  <a:pt x="5512" y="2187"/>
                </a:lnTo>
                <a:lnTo>
                  <a:pt x="5516" y="2189"/>
                </a:lnTo>
                <a:lnTo>
                  <a:pt x="5519" y="2190"/>
                </a:lnTo>
                <a:lnTo>
                  <a:pt x="5519" y="2191"/>
                </a:lnTo>
                <a:lnTo>
                  <a:pt x="5520" y="2192"/>
                </a:lnTo>
                <a:lnTo>
                  <a:pt x="5520" y="2193"/>
                </a:lnTo>
                <a:lnTo>
                  <a:pt x="5520" y="2196"/>
                </a:lnTo>
                <a:lnTo>
                  <a:pt x="5520" y="2199"/>
                </a:lnTo>
                <a:lnTo>
                  <a:pt x="5520" y="2201"/>
                </a:lnTo>
                <a:lnTo>
                  <a:pt x="5522" y="2202"/>
                </a:lnTo>
                <a:lnTo>
                  <a:pt x="5526" y="2204"/>
                </a:lnTo>
                <a:lnTo>
                  <a:pt x="5531" y="2205"/>
                </a:lnTo>
                <a:lnTo>
                  <a:pt x="5540" y="2206"/>
                </a:lnTo>
                <a:lnTo>
                  <a:pt x="5545" y="2206"/>
                </a:lnTo>
                <a:lnTo>
                  <a:pt x="5550" y="2207"/>
                </a:lnTo>
                <a:lnTo>
                  <a:pt x="5554" y="2208"/>
                </a:lnTo>
                <a:lnTo>
                  <a:pt x="5558" y="2210"/>
                </a:lnTo>
                <a:lnTo>
                  <a:pt x="5559" y="2211"/>
                </a:lnTo>
                <a:lnTo>
                  <a:pt x="5559" y="2212"/>
                </a:lnTo>
                <a:lnTo>
                  <a:pt x="5559" y="2216"/>
                </a:lnTo>
                <a:lnTo>
                  <a:pt x="5560" y="2219"/>
                </a:lnTo>
                <a:lnTo>
                  <a:pt x="5561" y="2221"/>
                </a:lnTo>
                <a:lnTo>
                  <a:pt x="5562" y="2222"/>
                </a:lnTo>
                <a:lnTo>
                  <a:pt x="5563" y="2222"/>
                </a:lnTo>
                <a:lnTo>
                  <a:pt x="5563" y="2221"/>
                </a:lnTo>
                <a:lnTo>
                  <a:pt x="5564" y="2219"/>
                </a:lnTo>
                <a:lnTo>
                  <a:pt x="5565" y="2219"/>
                </a:lnTo>
                <a:lnTo>
                  <a:pt x="5567" y="2219"/>
                </a:lnTo>
                <a:lnTo>
                  <a:pt x="5572" y="2221"/>
                </a:lnTo>
                <a:lnTo>
                  <a:pt x="5577" y="2223"/>
                </a:lnTo>
                <a:lnTo>
                  <a:pt x="5581" y="2224"/>
                </a:lnTo>
                <a:lnTo>
                  <a:pt x="5584" y="2239"/>
                </a:lnTo>
                <a:lnTo>
                  <a:pt x="5589" y="2254"/>
                </a:lnTo>
                <a:lnTo>
                  <a:pt x="5592" y="2269"/>
                </a:lnTo>
                <a:lnTo>
                  <a:pt x="5595" y="2283"/>
                </a:lnTo>
                <a:lnTo>
                  <a:pt x="5592" y="2284"/>
                </a:lnTo>
                <a:lnTo>
                  <a:pt x="5589" y="2283"/>
                </a:lnTo>
                <a:lnTo>
                  <a:pt x="5586" y="2283"/>
                </a:lnTo>
                <a:lnTo>
                  <a:pt x="5583" y="2283"/>
                </a:lnTo>
                <a:lnTo>
                  <a:pt x="5582" y="2284"/>
                </a:lnTo>
                <a:lnTo>
                  <a:pt x="5581" y="2286"/>
                </a:lnTo>
                <a:lnTo>
                  <a:pt x="5578" y="2290"/>
                </a:lnTo>
                <a:lnTo>
                  <a:pt x="5572" y="2297"/>
                </a:lnTo>
                <a:lnTo>
                  <a:pt x="5577" y="2296"/>
                </a:lnTo>
                <a:lnTo>
                  <a:pt x="5581" y="2296"/>
                </a:lnTo>
                <a:lnTo>
                  <a:pt x="5592" y="2295"/>
                </a:lnTo>
                <a:lnTo>
                  <a:pt x="5592" y="2289"/>
                </a:lnTo>
                <a:lnTo>
                  <a:pt x="5598" y="2289"/>
                </a:lnTo>
                <a:lnTo>
                  <a:pt x="5605" y="2290"/>
                </a:lnTo>
                <a:lnTo>
                  <a:pt x="5612" y="2291"/>
                </a:lnTo>
                <a:lnTo>
                  <a:pt x="5617" y="2292"/>
                </a:lnTo>
                <a:lnTo>
                  <a:pt x="5623" y="2304"/>
                </a:lnTo>
                <a:lnTo>
                  <a:pt x="5628" y="2314"/>
                </a:lnTo>
                <a:lnTo>
                  <a:pt x="5643" y="2313"/>
                </a:lnTo>
                <a:lnTo>
                  <a:pt x="5659" y="2312"/>
                </a:lnTo>
                <a:lnTo>
                  <a:pt x="5666" y="2311"/>
                </a:lnTo>
                <a:lnTo>
                  <a:pt x="5669" y="2310"/>
                </a:lnTo>
                <a:lnTo>
                  <a:pt x="5672" y="2309"/>
                </a:lnTo>
                <a:lnTo>
                  <a:pt x="5674" y="2307"/>
                </a:lnTo>
                <a:lnTo>
                  <a:pt x="5676" y="2305"/>
                </a:lnTo>
                <a:lnTo>
                  <a:pt x="5678" y="2303"/>
                </a:lnTo>
                <a:lnTo>
                  <a:pt x="5679" y="2300"/>
                </a:lnTo>
                <a:lnTo>
                  <a:pt x="5679" y="2298"/>
                </a:lnTo>
                <a:lnTo>
                  <a:pt x="5679" y="2297"/>
                </a:lnTo>
                <a:lnTo>
                  <a:pt x="5679" y="2293"/>
                </a:lnTo>
                <a:lnTo>
                  <a:pt x="5679" y="2290"/>
                </a:lnTo>
                <a:lnTo>
                  <a:pt x="5679" y="2288"/>
                </a:lnTo>
                <a:lnTo>
                  <a:pt x="5679" y="2286"/>
                </a:lnTo>
                <a:lnTo>
                  <a:pt x="5691" y="2287"/>
                </a:lnTo>
                <a:lnTo>
                  <a:pt x="5698" y="2288"/>
                </a:lnTo>
                <a:lnTo>
                  <a:pt x="5706" y="2289"/>
                </a:lnTo>
                <a:lnTo>
                  <a:pt x="5713" y="2290"/>
                </a:lnTo>
                <a:lnTo>
                  <a:pt x="5721" y="2293"/>
                </a:lnTo>
                <a:lnTo>
                  <a:pt x="5726" y="2296"/>
                </a:lnTo>
                <a:lnTo>
                  <a:pt x="5729" y="2298"/>
                </a:lnTo>
                <a:lnTo>
                  <a:pt x="5731" y="2300"/>
                </a:lnTo>
                <a:lnTo>
                  <a:pt x="5731" y="2301"/>
                </a:lnTo>
                <a:lnTo>
                  <a:pt x="5732" y="2302"/>
                </a:lnTo>
                <a:lnTo>
                  <a:pt x="5732" y="2304"/>
                </a:lnTo>
                <a:lnTo>
                  <a:pt x="5733" y="2309"/>
                </a:lnTo>
                <a:lnTo>
                  <a:pt x="5734" y="2314"/>
                </a:lnTo>
                <a:lnTo>
                  <a:pt x="5735" y="2316"/>
                </a:lnTo>
                <a:lnTo>
                  <a:pt x="5736" y="2317"/>
                </a:lnTo>
                <a:lnTo>
                  <a:pt x="5737" y="2318"/>
                </a:lnTo>
                <a:lnTo>
                  <a:pt x="5739" y="2318"/>
                </a:lnTo>
                <a:lnTo>
                  <a:pt x="5742" y="2318"/>
                </a:lnTo>
                <a:lnTo>
                  <a:pt x="5745" y="2319"/>
                </a:lnTo>
                <a:lnTo>
                  <a:pt x="5748" y="2320"/>
                </a:lnTo>
                <a:lnTo>
                  <a:pt x="5756" y="2337"/>
                </a:lnTo>
                <a:lnTo>
                  <a:pt x="5761" y="2339"/>
                </a:lnTo>
                <a:lnTo>
                  <a:pt x="5766" y="2341"/>
                </a:lnTo>
                <a:lnTo>
                  <a:pt x="5779" y="2343"/>
                </a:lnTo>
                <a:lnTo>
                  <a:pt x="5792" y="2345"/>
                </a:lnTo>
                <a:lnTo>
                  <a:pt x="5799" y="2347"/>
                </a:lnTo>
                <a:lnTo>
                  <a:pt x="5804" y="2348"/>
                </a:lnTo>
                <a:lnTo>
                  <a:pt x="5804" y="2344"/>
                </a:lnTo>
                <a:lnTo>
                  <a:pt x="5804" y="2340"/>
                </a:lnTo>
                <a:lnTo>
                  <a:pt x="5800" y="2338"/>
                </a:lnTo>
                <a:lnTo>
                  <a:pt x="5798" y="2337"/>
                </a:lnTo>
                <a:lnTo>
                  <a:pt x="5795" y="2336"/>
                </a:lnTo>
                <a:lnTo>
                  <a:pt x="5793" y="2334"/>
                </a:lnTo>
                <a:lnTo>
                  <a:pt x="5795" y="2331"/>
                </a:lnTo>
                <a:lnTo>
                  <a:pt x="5796" y="2330"/>
                </a:lnTo>
                <a:lnTo>
                  <a:pt x="5796" y="2329"/>
                </a:lnTo>
                <a:lnTo>
                  <a:pt x="5795" y="2328"/>
                </a:lnTo>
                <a:lnTo>
                  <a:pt x="5794" y="2327"/>
                </a:lnTo>
                <a:lnTo>
                  <a:pt x="5792" y="2327"/>
                </a:lnTo>
                <a:lnTo>
                  <a:pt x="5789" y="2327"/>
                </a:lnTo>
                <a:lnTo>
                  <a:pt x="5785" y="2327"/>
                </a:lnTo>
                <a:lnTo>
                  <a:pt x="5783" y="2326"/>
                </a:lnTo>
                <a:lnTo>
                  <a:pt x="5781" y="2326"/>
                </a:lnTo>
                <a:lnTo>
                  <a:pt x="5780" y="2324"/>
                </a:lnTo>
                <a:lnTo>
                  <a:pt x="5780" y="2323"/>
                </a:lnTo>
                <a:lnTo>
                  <a:pt x="5780" y="2321"/>
                </a:lnTo>
                <a:lnTo>
                  <a:pt x="5780" y="2319"/>
                </a:lnTo>
                <a:lnTo>
                  <a:pt x="5781" y="2316"/>
                </a:lnTo>
                <a:lnTo>
                  <a:pt x="5781" y="2314"/>
                </a:lnTo>
                <a:lnTo>
                  <a:pt x="5780" y="2314"/>
                </a:lnTo>
                <a:lnTo>
                  <a:pt x="5779" y="2313"/>
                </a:lnTo>
                <a:lnTo>
                  <a:pt x="5776" y="2313"/>
                </a:lnTo>
                <a:lnTo>
                  <a:pt x="5773" y="2313"/>
                </a:lnTo>
                <a:lnTo>
                  <a:pt x="5770" y="2311"/>
                </a:lnTo>
                <a:lnTo>
                  <a:pt x="5769" y="2311"/>
                </a:lnTo>
                <a:lnTo>
                  <a:pt x="5768" y="2310"/>
                </a:lnTo>
                <a:lnTo>
                  <a:pt x="5768" y="2307"/>
                </a:lnTo>
                <a:lnTo>
                  <a:pt x="5767" y="2305"/>
                </a:lnTo>
                <a:lnTo>
                  <a:pt x="5767" y="2302"/>
                </a:lnTo>
                <a:lnTo>
                  <a:pt x="5766" y="2297"/>
                </a:lnTo>
                <a:lnTo>
                  <a:pt x="5766" y="2294"/>
                </a:lnTo>
                <a:lnTo>
                  <a:pt x="5764" y="2292"/>
                </a:lnTo>
                <a:lnTo>
                  <a:pt x="5764" y="2291"/>
                </a:lnTo>
                <a:lnTo>
                  <a:pt x="5762" y="2291"/>
                </a:lnTo>
                <a:lnTo>
                  <a:pt x="5759" y="2290"/>
                </a:lnTo>
                <a:lnTo>
                  <a:pt x="5756" y="2290"/>
                </a:lnTo>
                <a:lnTo>
                  <a:pt x="5753" y="2289"/>
                </a:lnTo>
                <a:lnTo>
                  <a:pt x="5751" y="2287"/>
                </a:lnTo>
                <a:lnTo>
                  <a:pt x="5750" y="2284"/>
                </a:lnTo>
                <a:lnTo>
                  <a:pt x="5749" y="2281"/>
                </a:lnTo>
                <a:lnTo>
                  <a:pt x="5748" y="2277"/>
                </a:lnTo>
                <a:lnTo>
                  <a:pt x="5745" y="2264"/>
                </a:lnTo>
                <a:lnTo>
                  <a:pt x="5751" y="2261"/>
                </a:lnTo>
                <a:lnTo>
                  <a:pt x="5759" y="2258"/>
                </a:lnTo>
                <a:lnTo>
                  <a:pt x="5756" y="2241"/>
                </a:lnTo>
                <a:lnTo>
                  <a:pt x="5754" y="2241"/>
                </a:lnTo>
                <a:lnTo>
                  <a:pt x="5752" y="2241"/>
                </a:lnTo>
                <a:lnTo>
                  <a:pt x="5749" y="2241"/>
                </a:lnTo>
                <a:lnTo>
                  <a:pt x="5745" y="2242"/>
                </a:lnTo>
                <a:lnTo>
                  <a:pt x="5744" y="2242"/>
                </a:lnTo>
                <a:lnTo>
                  <a:pt x="5742" y="2241"/>
                </a:lnTo>
                <a:lnTo>
                  <a:pt x="5741" y="2240"/>
                </a:lnTo>
                <a:lnTo>
                  <a:pt x="5740" y="2239"/>
                </a:lnTo>
                <a:lnTo>
                  <a:pt x="5739" y="2236"/>
                </a:lnTo>
                <a:lnTo>
                  <a:pt x="5738" y="2232"/>
                </a:lnTo>
                <a:lnTo>
                  <a:pt x="5736" y="2230"/>
                </a:lnTo>
                <a:lnTo>
                  <a:pt x="5734" y="2229"/>
                </a:lnTo>
                <a:lnTo>
                  <a:pt x="5732" y="2229"/>
                </a:lnTo>
                <a:lnTo>
                  <a:pt x="5728" y="2229"/>
                </a:lnTo>
                <a:lnTo>
                  <a:pt x="5723" y="2229"/>
                </a:lnTo>
                <a:lnTo>
                  <a:pt x="5721" y="2228"/>
                </a:lnTo>
                <a:lnTo>
                  <a:pt x="5719" y="2227"/>
                </a:lnTo>
                <a:lnTo>
                  <a:pt x="5719" y="2225"/>
                </a:lnTo>
                <a:lnTo>
                  <a:pt x="5719" y="2222"/>
                </a:lnTo>
                <a:lnTo>
                  <a:pt x="5719" y="2218"/>
                </a:lnTo>
                <a:lnTo>
                  <a:pt x="5719" y="2216"/>
                </a:lnTo>
                <a:lnTo>
                  <a:pt x="5713" y="2209"/>
                </a:lnTo>
                <a:lnTo>
                  <a:pt x="5707" y="2202"/>
                </a:lnTo>
                <a:lnTo>
                  <a:pt x="5705" y="2201"/>
                </a:lnTo>
                <a:lnTo>
                  <a:pt x="5703" y="2201"/>
                </a:lnTo>
                <a:lnTo>
                  <a:pt x="5701" y="2202"/>
                </a:lnTo>
                <a:lnTo>
                  <a:pt x="5699" y="2202"/>
                </a:lnTo>
                <a:lnTo>
                  <a:pt x="5697" y="2200"/>
                </a:lnTo>
                <a:lnTo>
                  <a:pt x="5694" y="2196"/>
                </a:lnTo>
                <a:lnTo>
                  <a:pt x="5692" y="2193"/>
                </a:lnTo>
                <a:lnTo>
                  <a:pt x="5690" y="2190"/>
                </a:lnTo>
                <a:lnTo>
                  <a:pt x="5686" y="2188"/>
                </a:lnTo>
                <a:lnTo>
                  <a:pt x="5680" y="2186"/>
                </a:lnTo>
                <a:lnTo>
                  <a:pt x="5668" y="2183"/>
                </a:lnTo>
                <a:lnTo>
                  <a:pt x="5656" y="2180"/>
                </a:lnTo>
                <a:lnTo>
                  <a:pt x="5650" y="2178"/>
                </a:lnTo>
                <a:lnTo>
                  <a:pt x="5645" y="2176"/>
                </a:lnTo>
                <a:lnTo>
                  <a:pt x="5639" y="2173"/>
                </a:lnTo>
                <a:lnTo>
                  <a:pt x="5628" y="2167"/>
                </a:lnTo>
                <a:close/>
                <a:moveTo>
                  <a:pt x="5162" y="2760"/>
                </a:moveTo>
                <a:lnTo>
                  <a:pt x="5162" y="2761"/>
                </a:lnTo>
                <a:lnTo>
                  <a:pt x="5162" y="2763"/>
                </a:lnTo>
                <a:lnTo>
                  <a:pt x="5160" y="2765"/>
                </a:lnTo>
                <a:lnTo>
                  <a:pt x="5159" y="2767"/>
                </a:lnTo>
                <a:lnTo>
                  <a:pt x="5158" y="2767"/>
                </a:lnTo>
                <a:lnTo>
                  <a:pt x="5159" y="2768"/>
                </a:lnTo>
                <a:lnTo>
                  <a:pt x="5161" y="2770"/>
                </a:lnTo>
                <a:lnTo>
                  <a:pt x="5162" y="2772"/>
                </a:lnTo>
                <a:lnTo>
                  <a:pt x="5164" y="2777"/>
                </a:lnTo>
                <a:lnTo>
                  <a:pt x="5165" y="2779"/>
                </a:lnTo>
                <a:lnTo>
                  <a:pt x="5165" y="2781"/>
                </a:lnTo>
                <a:lnTo>
                  <a:pt x="5166" y="2786"/>
                </a:lnTo>
                <a:lnTo>
                  <a:pt x="5166" y="2797"/>
                </a:lnTo>
                <a:lnTo>
                  <a:pt x="5166" y="2803"/>
                </a:lnTo>
                <a:lnTo>
                  <a:pt x="5167" y="2810"/>
                </a:lnTo>
                <a:lnTo>
                  <a:pt x="5173" y="2813"/>
                </a:lnTo>
                <a:lnTo>
                  <a:pt x="5174" y="2816"/>
                </a:lnTo>
                <a:lnTo>
                  <a:pt x="5174" y="2819"/>
                </a:lnTo>
                <a:lnTo>
                  <a:pt x="5175" y="2826"/>
                </a:lnTo>
                <a:lnTo>
                  <a:pt x="5175" y="2833"/>
                </a:lnTo>
                <a:lnTo>
                  <a:pt x="5176" y="2839"/>
                </a:lnTo>
                <a:lnTo>
                  <a:pt x="5178" y="2839"/>
                </a:lnTo>
                <a:lnTo>
                  <a:pt x="5179" y="2844"/>
                </a:lnTo>
                <a:lnTo>
                  <a:pt x="5179" y="2849"/>
                </a:lnTo>
                <a:lnTo>
                  <a:pt x="5179" y="2854"/>
                </a:lnTo>
                <a:lnTo>
                  <a:pt x="5178" y="2860"/>
                </a:lnTo>
                <a:lnTo>
                  <a:pt x="5177" y="2872"/>
                </a:lnTo>
                <a:lnTo>
                  <a:pt x="5176" y="2886"/>
                </a:lnTo>
                <a:lnTo>
                  <a:pt x="5167" y="2886"/>
                </a:lnTo>
                <a:lnTo>
                  <a:pt x="5162" y="2886"/>
                </a:lnTo>
                <a:lnTo>
                  <a:pt x="5164" y="2892"/>
                </a:lnTo>
                <a:lnTo>
                  <a:pt x="5166" y="2895"/>
                </a:lnTo>
                <a:lnTo>
                  <a:pt x="5167" y="2898"/>
                </a:lnTo>
                <a:lnTo>
                  <a:pt x="5169" y="2899"/>
                </a:lnTo>
                <a:lnTo>
                  <a:pt x="5170" y="2899"/>
                </a:lnTo>
                <a:lnTo>
                  <a:pt x="5174" y="2900"/>
                </a:lnTo>
                <a:lnTo>
                  <a:pt x="5178" y="2901"/>
                </a:lnTo>
                <a:lnTo>
                  <a:pt x="5181" y="2903"/>
                </a:lnTo>
                <a:lnTo>
                  <a:pt x="5182" y="2904"/>
                </a:lnTo>
                <a:lnTo>
                  <a:pt x="5182" y="2905"/>
                </a:lnTo>
                <a:lnTo>
                  <a:pt x="5182" y="2908"/>
                </a:lnTo>
                <a:lnTo>
                  <a:pt x="5183" y="2910"/>
                </a:lnTo>
                <a:lnTo>
                  <a:pt x="5183" y="2911"/>
                </a:lnTo>
                <a:lnTo>
                  <a:pt x="5184" y="2912"/>
                </a:lnTo>
                <a:lnTo>
                  <a:pt x="5187" y="2913"/>
                </a:lnTo>
                <a:lnTo>
                  <a:pt x="5189" y="2913"/>
                </a:lnTo>
                <a:lnTo>
                  <a:pt x="5192" y="2913"/>
                </a:lnTo>
                <a:lnTo>
                  <a:pt x="5194" y="2913"/>
                </a:lnTo>
                <a:lnTo>
                  <a:pt x="5197" y="2912"/>
                </a:lnTo>
                <a:lnTo>
                  <a:pt x="5199" y="2912"/>
                </a:lnTo>
                <a:lnTo>
                  <a:pt x="5201" y="2912"/>
                </a:lnTo>
                <a:lnTo>
                  <a:pt x="5209" y="2917"/>
                </a:lnTo>
                <a:lnTo>
                  <a:pt x="5212" y="2917"/>
                </a:lnTo>
                <a:lnTo>
                  <a:pt x="5214" y="2917"/>
                </a:lnTo>
                <a:lnTo>
                  <a:pt x="5218" y="2916"/>
                </a:lnTo>
                <a:lnTo>
                  <a:pt x="5220" y="2915"/>
                </a:lnTo>
                <a:lnTo>
                  <a:pt x="5221" y="2914"/>
                </a:lnTo>
                <a:lnTo>
                  <a:pt x="5224" y="2911"/>
                </a:lnTo>
                <a:lnTo>
                  <a:pt x="5228" y="2904"/>
                </a:lnTo>
                <a:lnTo>
                  <a:pt x="5232" y="2898"/>
                </a:lnTo>
                <a:lnTo>
                  <a:pt x="5234" y="2900"/>
                </a:lnTo>
                <a:lnTo>
                  <a:pt x="5236" y="2903"/>
                </a:lnTo>
                <a:lnTo>
                  <a:pt x="5238" y="2904"/>
                </a:lnTo>
                <a:lnTo>
                  <a:pt x="5239" y="2905"/>
                </a:lnTo>
                <a:lnTo>
                  <a:pt x="5241" y="2906"/>
                </a:lnTo>
                <a:lnTo>
                  <a:pt x="5243" y="2906"/>
                </a:lnTo>
                <a:lnTo>
                  <a:pt x="5244" y="2905"/>
                </a:lnTo>
                <a:lnTo>
                  <a:pt x="5245" y="2904"/>
                </a:lnTo>
                <a:lnTo>
                  <a:pt x="5245" y="2901"/>
                </a:lnTo>
                <a:lnTo>
                  <a:pt x="5244" y="2899"/>
                </a:lnTo>
                <a:lnTo>
                  <a:pt x="5243" y="2894"/>
                </a:lnTo>
                <a:lnTo>
                  <a:pt x="5243" y="2892"/>
                </a:lnTo>
                <a:lnTo>
                  <a:pt x="5244" y="2892"/>
                </a:lnTo>
                <a:lnTo>
                  <a:pt x="5247" y="2893"/>
                </a:lnTo>
                <a:lnTo>
                  <a:pt x="5251" y="2894"/>
                </a:lnTo>
                <a:lnTo>
                  <a:pt x="5253" y="2895"/>
                </a:lnTo>
                <a:lnTo>
                  <a:pt x="5254" y="2895"/>
                </a:lnTo>
                <a:lnTo>
                  <a:pt x="5257" y="2894"/>
                </a:lnTo>
                <a:lnTo>
                  <a:pt x="5261" y="2893"/>
                </a:lnTo>
                <a:lnTo>
                  <a:pt x="5271" y="2890"/>
                </a:lnTo>
                <a:lnTo>
                  <a:pt x="5280" y="2888"/>
                </a:lnTo>
                <a:lnTo>
                  <a:pt x="5285" y="2887"/>
                </a:lnTo>
                <a:lnTo>
                  <a:pt x="5288" y="2886"/>
                </a:lnTo>
                <a:lnTo>
                  <a:pt x="5289" y="2887"/>
                </a:lnTo>
                <a:lnTo>
                  <a:pt x="5290" y="2887"/>
                </a:lnTo>
                <a:lnTo>
                  <a:pt x="5292" y="2889"/>
                </a:lnTo>
                <a:lnTo>
                  <a:pt x="5293" y="2891"/>
                </a:lnTo>
                <a:lnTo>
                  <a:pt x="5294" y="2892"/>
                </a:lnTo>
                <a:lnTo>
                  <a:pt x="5296" y="2891"/>
                </a:lnTo>
                <a:lnTo>
                  <a:pt x="5300" y="2889"/>
                </a:lnTo>
                <a:lnTo>
                  <a:pt x="5305" y="2886"/>
                </a:lnTo>
                <a:lnTo>
                  <a:pt x="5307" y="2886"/>
                </a:lnTo>
                <a:lnTo>
                  <a:pt x="5309" y="2887"/>
                </a:lnTo>
                <a:lnTo>
                  <a:pt x="5312" y="2889"/>
                </a:lnTo>
                <a:lnTo>
                  <a:pt x="5315" y="2890"/>
                </a:lnTo>
                <a:lnTo>
                  <a:pt x="5317" y="2890"/>
                </a:lnTo>
                <a:lnTo>
                  <a:pt x="5319" y="2889"/>
                </a:lnTo>
                <a:lnTo>
                  <a:pt x="5320" y="2889"/>
                </a:lnTo>
                <a:lnTo>
                  <a:pt x="5321" y="2888"/>
                </a:lnTo>
                <a:lnTo>
                  <a:pt x="5322" y="2887"/>
                </a:lnTo>
                <a:lnTo>
                  <a:pt x="5323" y="2886"/>
                </a:lnTo>
                <a:lnTo>
                  <a:pt x="5324" y="2883"/>
                </a:lnTo>
                <a:lnTo>
                  <a:pt x="5325" y="2880"/>
                </a:lnTo>
                <a:lnTo>
                  <a:pt x="5327" y="2874"/>
                </a:lnTo>
                <a:lnTo>
                  <a:pt x="5329" y="2871"/>
                </a:lnTo>
                <a:lnTo>
                  <a:pt x="5330" y="2869"/>
                </a:lnTo>
                <a:lnTo>
                  <a:pt x="5333" y="2868"/>
                </a:lnTo>
                <a:lnTo>
                  <a:pt x="5335" y="2868"/>
                </a:lnTo>
                <a:lnTo>
                  <a:pt x="5336" y="2868"/>
                </a:lnTo>
                <a:lnTo>
                  <a:pt x="5337" y="2868"/>
                </a:lnTo>
                <a:lnTo>
                  <a:pt x="5340" y="2870"/>
                </a:lnTo>
                <a:lnTo>
                  <a:pt x="5342" y="2870"/>
                </a:lnTo>
                <a:lnTo>
                  <a:pt x="5344" y="2869"/>
                </a:lnTo>
                <a:lnTo>
                  <a:pt x="5344" y="2864"/>
                </a:lnTo>
                <a:lnTo>
                  <a:pt x="5345" y="2863"/>
                </a:lnTo>
                <a:lnTo>
                  <a:pt x="5346" y="2862"/>
                </a:lnTo>
                <a:lnTo>
                  <a:pt x="5349" y="2862"/>
                </a:lnTo>
                <a:lnTo>
                  <a:pt x="5353" y="2862"/>
                </a:lnTo>
                <a:lnTo>
                  <a:pt x="5354" y="2862"/>
                </a:lnTo>
                <a:lnTo>
                  <a:pt x="5356" y="2861"/>
                </a:lnTo>
                <a:lnTo>
                  <a:pt x="5356" y="2860"/>
                </a:lnTo>
                <a:lnTo>
                  <a:pt x="5357" y="2857"/>
                </a:lnTo>
                <a:lnTo>
                  <a:pt x="5357" y="2854"/>
                </a:lnTo>
                <a:lnTo>
                  <a:pt x="5358" y="2853"/>
                </a:lnTo>
                <a:lnTo>
                  <a:pt x="5361" y="2853"/>
                </a:lnTo>
                <a:lnTo>
                  <a:pt x="5361" y="2850"/>
                </a:lnTo>
                <a:lnTo>
                  <a:pt x="5363" y="2849"/>
                </a:lnTo>
                <a:lnTo>
                  <a:pt x="5365" y="2850"/>
                </a:lnTo>
                <a:lnTo>
                  <a:pt x="5369" y="2851"/>
                </a:lnTo>
                <a:lnTo>
                  <a:pt x="5373" y="2852"/>
                </a:lnTo>
                <a:lnTo>
                  <a:pt x="5376" y="2853"/>
                </a:lnTo>
                <a:lnTo>
                  <a:pt x="5378" y="2853"/>
                </a:lnTo>
                <a:lnTo>
                  <a:pt x="5382" y="2852"/>
                </a:lnTo>
                <a:lnTo>
                  <a:pt x="5386" y="2851"/>
                </a:lnTo>
                <a:lnTo>
                  <a:pt x="5396" y="2848"/>
                </a:lnTo>
                <a:lnTo>
                  <a:pt x="5419" y="2840"/>
                </a:lnTo>
                <a:lnTo>
                  <a:pt x="5431" y="2837"/>
                </a:lnTo>
                <a:lnTo>
                  <a:pt x="5443" y="2834"/>
                </a:lnTo>
                <a:lnTo>
                  <a:pt x="5454" y="2832"/>
                </a:lnTo>
                <a:lnTo>
                  <a:pt x="5458" y="2832"/>
                </a:lnTo>
                <a:lnTo>
                  <a:pt x="5462" y="2833"/>
                </a:lnTo>
                <a:lnTo>
                  <a:pt x="5465" y="2834"/>
                </a:lnTo>
                <a:lnTo>
                  <a:pt x="5466" y="2836"/>
                </a:lnTo>
                <a:lnTo>
                  <a:pt x="5469" y="2840"/>
                </a:lnTo>
                <a:lnTo>
                  <a:pt x="5471" y="2844"/>
                </a:lnTo>
                <a:lnTo>
                  <a:pt x="5472" y="2846"/>
                </a:lnTo>
                <a:lnTo>
                  <a:pt x="5474" y="2847"/>
                </a:lnTo>
                <a:lnTo>
                  <a:pt x="5477" y="2848"/>
                </a:lnTo>
                <a:lnTo>
                  <a:pt x="5480" y="2847"/>
                </a:lnTo>
                <a:lnTo>
                  <a:pt x="5487" y="2846"/>
                </a:lnTo>
                <a:lnTo>
                  <a:pt x="5494" y="2845"/>
                </a:lnTo>
                <a:lnTo>
                  <a:pt x="5498" y="2846"/>
                </a:lnTo>
                <a:lnTo>
                  <a:pt x="5502" y="2847"/>
                </a:lnTo>
                <a:lnTo>
                  <a:pt x="5502" y="2850"/>
                </a:lnTo>
                <a:lnTo>
                  <a:pt x="5504" y="2852"/>
                </a:lnTo>
                <a:lnTo>
                  <a:pt x="5505" y="2854"/>
                </a:lnTo>
                <a:lnTo>
                  <a:pt x="5504" y="2856"/>
                </a:lnTo>
                <a:lnTo>
                  <a:pt x="5502" y="2858"/>
                </a:lnTo>
                <a:lnTo>
                  <a:pt x="5507" y="2859"/>
                </a:lnTo>
                <a:lnTo>
                  <a:pt x="5511" y="2859"/>
                </a:lnTo>
                <a:lnTo>
                  <a:pt x="5513" y="2860"/>
                </a:lnTo>
                <a:lnTo>
                  <a:pt x="5512" y="2862"/>
                </a:lnTo>
                <a:lnTo>
                  <a:pt x="5510" y="2864"/>
                </a:lnTo>
                <a:lnTo>
                  <a:pt x="5510" y="2865"/>
                </a:lnTo>
                <a:lnTo>
                  <a:pt x="5510" y="2866"/>
                </a:lnTo>
                <a:lnTo>
                  <a:pt x="5510" y="2867"/>
                </a:lnTo>
                <a:lnTo>
                  <a:pt x="5511" y="2867"/>
                </a:lnTo>
                <a:lnTo>
                  <a:pt x="5510" y="2867"/>
                </a:lnTo>
                <a:lnTo>
                  <a:pt x="5507" y="2867"/>
                </a:lnTo>
                <a:lnTo>
                  <a:pt x="5509" y="2869"/>
                </a:lnTo>
                <a:lnTo>
                  <a:pt x="5510" y="2871"/>
                </a:lnTo>
                <a:lnTo>
                  <a:pt x="5511" y="2872"/>
                </a:lnTo>
                <a:lnTo>
                  <a:pt x="5510" y="2872"/>
                </a:lnTo>
                <a:lnTo>
                  <a:pt x="5518" y="2874"/>
                </a:lnTo>
                <a:lnTo>
                  <a:pt x="5524" y="2875"/>
                </a:lnTo>
                <a:lnTo>
                  <a:pt x="5525" y="2883"/>
                </a:lnTo>
                <a:lnTo>
                  <a:pt x="5525" y="2889"/>
                </a:lnTo>
                <a:lnTo>
                  <a:pt x="5526" y="2891"/>
                </a:lnTo>
                <a:lnTo>
                  <a:pt x="5527" y="2895"/>
                </a:lnTo>
                <a:lnTo>
                  <a:pt x="5528" y="2899"/>
                </a:lnTo>
                <a:lnTo>
                  <a:pt x="5530" y="2903"/>
                </a:lnTo>
                <a:lnTo>
                  <a:pt x="5531" y="2903"/>
                </a:lnTo>
                <a:lnTo>
                  <a:pt x="5534" y="2904"/>
                </a:lnTo>
                <a:lnTo>
                  <a:pt x="5538" y="2906"/>
                </a:lnTo>
                <a:lnTo>
                  <a:pt x="5555" y="2884"/>
                </a:lnTo>
                <a:lnTo>
                  <a:pt x="5557" y="2883"/>
                </a:lnTo>
                <a:lnTo>
                  <a:pt x="5560" y="2884"/>
                </a:lnTo>
                <a:lnTo>
                  <a:pt x="5562" y="2884"/>
                </a:lnTo>
                <a:lnTo>
                  <a:pt x="5563" y="2884"/>
                </a:lnTo>
                <a:lnTo>
                  <a:pt x="5564" y="2884"/>
                </a:lnTo>
                <a:lnTo>
                  <a:pt x="5566" y="2881"/>
                </a:lnTo>
                <a:lnTo>
                  <a:pt x="5568" y="2876"/>
                </a:lnTo>
                <a:lnTo>
                  <a:pt x="5570" y="2872"/>
                </a:lnTo>
                <a:lnTo>
                  <a:pt x="5572" y="2869"/>
                </a:lnTo>
                <a:lnTo>
                  <a:pt x="5574" y="2869"/>
                </a:lnTo>
                <a:lnTo>
                  <a:pt x="5576" y="2870"/>
                </a:lnTo>
                <a:lnTo>
                  <a:pt x="5576" y="2871"/>
                </a:lnTo>
                <a:lnTo>
                  <a:pt x="5577" y="2873"/>
                </a:lnTo>
                <a:lnTo>
                  <a:pt x="5576" y="2878"/>
                </a:lnTo>
                <a:lnTo>
                  <a:pt x="5574" y="2883"/>
                </a:lnTo>
                <a:lnTo>
                  <a:pt x="5569" y="2895"/>
                </a:lnTo>
                <a:lnTo>
                  <a:pt x="5567" y="2900"/>
                </a:lnTo>
                <a:lnTo>
                  <a:pt x="5567" y="2902"/>
                </a:lnTo>
                <a:lnTo>
                  <a:pt x="5567" y="2904"/>
                </a:lnTo>
                <a:lnTo>
                  <a:pt x="5568" y="2909"/>
                </a:lnTo>
                <a:lnTo>
                  <a:pt x="5570" y="2912"/>
                </a:lnTo>
                <a:lnTo>
                  <a:pt x="5570" y="2914"/>
                </a:lnTo>
                <a:lnTo>
                  <a:pt x="5569" y="2915"/>
                </a:lnTo>
                <a:lnTo>
                  <a:pt x="5567" y="2916"/>
                </a:lnTo>
                <a:lnTo>
                  <a:pt x="5564" y="2916"/>
                </a:lnTo>
                <a:lnTo>
                  <a:pt x="5561" y="2916"/>
                </a:lnTo>
                <a:lnTo>
                  <a:pt x="5558" y="2917"/>
                </a:lnTo>
                <a:lnTo>
                  <a:pt x="5558" y="2923"/>
                </a:lnTo>
                <a:lnTo>
                  <a:pt x="5560" y="2922"/>
                </a:lnTo>
                <a:lnTo>
                  <a:pt x="5562" y="2921"/>
                </a:lnTo>
                <a:lnTo>
                  <a:pt x="5564" y="2920"/>
                </a:lnTo>
                <a:lnTo>
                  <a:pt x="5571" y="2917"/>
                </a:lnTo>
                <a:lnTo>
                  <a:pt x="5573" y="2916"/>
                </a:lnTo>
                <a:lnTo>
                  <a:pt x="5574" y="2914"/>
                </a:lnTo>
                <a:lnTo>
                  <a:pt x="5574" y="2912"/>
                </a:lnTo>
                <a:lnTo>
                  <a:pt x="5574" y="2909"/>
                </a:lnTo>
                <a:lnTo>
                  <a:pt x="5575" y="2900"/>
                </a:lnTo>
                <a:lnTo>
                  <a:pt x="5579" y="2901"/>
                </a:lnTo>
                <a:lnTo>
                  <a:pt x="5583" y="2900"/>
                </a:lnTo>
                <a:lnTo>
                  <a:pt x="5583" y="2901"/>
                </a:lnTo>
                <a:lnTo>
                  <a:pt x="5583" y="2902"/>
                </a:lnTo>
                <a:lnTo>
                  <a:pt x="5581" y="2904"/>
                </a:lnTo>
                <a:lnTo>
                  <a:pt x="5580" y="2905"/>
                </a:lnTo>
                <a:lnTo>
                  <a:pt x="5580" y="2906"/>
                </a:lnTo>
                <a:lnTo>
                  <a:pt x="5581" y="2906"/>
                </a:lnTo>
                <a:lnTo>
                  <a:pt x="5582" y="2908"/>
                </a:lnTo>
                <a:lnTo>
                  <a:pt x="5584" y="2910"/>
                </a:lnTo>
                <a:lnTo>
                  <a:pt x="5587" y="2916"/>
                </a:lnTo>
                <a:lnTo>
                  <a:pt x="5588" y="2919"/>
                </a:lnTo>
                <a:lnTo>
                  <a:pt x="5589" y="2922"/>
                </a:lnTo>
                <a:lnTo>
                  <a:pt x="5589" y="2926"/>
                </a:lnTo>
                <a:lnTo>
                  <a:pt x="5589" y="2929"/>
                </a:lnTo>
                <a:lnTo>
                  <a:pt x="5586" y="2937"/>
                </a:lnTo>
                <a:lnTo>
                  <a:pt x="5595" y="2935"/>
                </a:lnTo>
                <a:lnTo>
                  <a:pt x="5603" y="2931"/>
                </a:lnTo>
                <a:lnTo>
                  <a:pt x="5607" y="2944"/>
                </a:lnTo>
                <a:lnTo>
                  <a:pt x="5610" y="2957"/>
                </a:lnTo>
                <a:lnTo>
                  <a:pt x="5611" y="2970"/>
                </a:lnTo>
                <a:lnTo>
                  <a:pt x="5612" y="2976"/>
                </a:lnTo>
                <a:lnTo>
                  <a:pt x="5612" y="2982"/>
                </a:lnTo>
                <a:lnTo>
                  <a:pt x="5617" y="2984"/>
                </a:lnTo>
                <a:lnTo>
                  <a:pt x="5620" y="2986"/>
                </a:lnTo>
                <a:lnTo>
                  <a:pt x="5623" y="2988"/>
                </a:lnTo>
                <a:lnTo>
                  <a:pt x="5624" y="2989"/>
                </a:lnTo>
                <a:lnTo>
                  <a:pt x="5624" y="2990"/>
                </a:lnTo>
                <a:lnTo>
                  <a:pt x="5625" y="2993"/>
                </a:lnTo>
                <a:lnTo>
                  <a:pt x="5626" y="2996"/>
                </a:lnTo>
                <a:lnTo>
                  <a:pt x="5627" y="2998"/>
                </a:lnTo>
                <a:lnTo>
                  <a:pt x="5628" y="2999"/>
                </a:lnTo>
                <a:lnTo>
                  <a:pt x="5632" y="3001"/>
                </a:lnTo>
                <a:lnTo>
                  <a:pt x="5637" y="3003"/>
                </a:lnTo>
                <a:lnTo>
                  <a:pt x="5645" y="3007"/>
                </a:lnTo>
                <a:lnTo>
                  <a:pt x="5646" y="3007"/>
                </a:lnTo>
                <a:lnTo>
                  <a:pt x="5646" y="3006"/>
                </a:lnTo>
                <a:lnTo>
                  <a:pt x="5647" y="3003"/>
                </a:lnTo>
                <a:lnTo>
                  <a:pt x="5649" y="3002"/>
                </a:lnTo>
                <a:lnTo>
                  <a:pt x="5650" y="3001"/>
                </a:lnTo>
                <a:lnTo>
                  <a:pt x="5651" y="3002"/>
                </a:lnTo>
                <a:lnTo>
                  <a:pt x="5653" y="3003"/>
                </a:lnTo>
                <a:lnTo>
                  <a:pt x="5655" y="3005"/>
                </a:lnTo>
                <a:lnTo>
                  <a:pt x="5657" y="3008"/>
                </a:lnTo>
                <a:lnTo>
                  <a:pt x="5659" y="3013"/>
                </a:lnTo>
                <a:lnTo>
                  <a:pt x="5661" y="3014"/>
                </a:lnTo>
                <a:lnTo>
                  <a:pt x="5662" y="3016"/>
                </a:lnTo>
                <a:lnTo>
                  <a:pt x="5666" y="3018"/>
                </a:lnTo>
                <a:lnTo>
                  <a:pt x="5670" y="3020"/>
                </a:lnTo>
                <a:lnTo>
                  <a:pt x="5673" y="3021"/>
                </a:lnTo>
                <a:lnTo>
                  <a:pt x="5676" y="3021"/>
                </a:lnTo>
                <a:lnTo>
                  <a:pt x="5679" y="3021"/>
                </a:lnTo>
                <a:lnTo>
                  <a:pt x="5681" y="3020"/>
                </a:lnTo>
                <a:lnTo>
                  <a:pt x="5684" y="3017"/>
                </a:lnTo>
                <a:lnTo>
                  <a:pt x="5686" y="3013"/>
                </a:lnTo>
                <a:lnTo>
                  <a:pt x="5689" y="3010"/>
                </a:lnTo>
                <a:lnTo>
                  <a:pt x="5691" y="3006"/>
                </a:lnTo>
                <a:lnTo>
                  <a:pt x="5692" y="3005"/>
                </a:lnTo>
                <a:lnTo>
                  <a:pt x="5693" y="3005"/>
                </a:lnTo>
                <a:lnTo>
                  <a:pt x="5699" y="3005"/>
                </a:lnTo>
                <a:lnTo>
                  <a:pt x="5697" y="3002"/>
                </a:lnTo>
                <a:lnTo>
                  <a:pt x="5696" y="3000"/>
                </a:lnTo>
                <a:lnTo>
                  <a:pt x="5696" y="2999"/>
                </a:lnTo>
                <a:lnTo>
                  <a:pt x="5698" y="2997"/>
                </a:lnTo>
                <a:lnTo>
                  <a:pt x="5702" y="2995"/>
                </a:lnTo>
                <a:lnTo>
                  <a:pt x="5705" y="2993"/>
                </a:lnTo>
                <a:lnTo>
                  <a:pt x="5707" y="2990"/>
                </a:lnTo>
                <a:lnTo>
                  <a:pt x="5707" y="2992"/>
                </a:lnTo>
                <a:lnTo>
                  <a:pt x="5707" y="2994"/>
                </a:lnTo>
                <a:lnTo>
                  <a:pt x="5707" y="2995"/>
                </a:lnTo>
                <a:lnTo>
                  <a:pt x="5709" y="2997"/>
                </a:lnTo>
                <a:lnTo>
                  <a:pt x="5710" y="2999"/>
                </a:lnTo>
                <a:lnTo>
                  <a:pt x="5705" y="3002"/>
                </a:lnTo>
                <a:lnTo>
                  <a:pt x="5703" y="3004"/>
                </a:lnTo>
                <a:lnTo>
                  <a:pt x="5702" y="3006"/>
                </a:lnTo>
                <a:lnTo>
                  <a:pt x="5702" y="3007"/>
                </a:lnTo>
                <a:lnTo>
                  <a:pt x="5709" y="3005"/>
                </a:lnTo>
                <a:lnTo>
                  <a:pt x="5717" y="3004"/>
                </a:lnTo>
                <a:lnTo>
                  <a:pt x="5719" y="3004"/>
                </a:lnTo>
                <a:lnTo>
                  <a:pt x="5720" y="3004"/>
                </a:lnTo>
                <a:lnTo>
                  <a:pt x="5719" y="3005"/>
                </a:lnTo>
                <a:lnTo>
                  <a:pt x="5718" y="3006"/>
                </a:lnTo>
                <a:lnTo>
                  <a:pt x="5717" y="3008"/>
                </a:lnTo>
                <a:lnTo>
                  <a:pt x="5710" y="3013"/>
                </a:lnTo>
                <a:lnTo>
                  <a:pt x="5714" y="3015"/>
                </a:lnTo>
                <a:lnTo>
                  <a:pt x="5719" y="3017"/>
                </a:lnTo>
                <a:lnTo>
                  <a:pt x="5724" y="3019"/>
                </a:lnTo>
                <a:lnTo>
                  <a:pt x="5728" y="3021"/>
                </a:lnTo>
                <a:lnTo>
                  <a:pt x="5728" y="3022"/>
                </a:lnTo>
                <a:lnTo>
                  <a:pt x="5729" y="3023"/>
                </a:lnTo>
                <a:lnTo>
                  <a:pt x="5729" y="3026"/>
                </a:lnTo>
                <a:lnTo>
                  <a:pt x="5730" y="3028"/>
                </a:lnTo>
                <a:lnTo>
                  <a:pt x="5731" y="3030"/>
                </a:lnTo>
                <a:lnTo>
                  <a:pt x="5731" y="3029"/>
                </a:lnTo>
                <a:lnTo>
                  <a:pt x="5732" y="3028"/>
                </a:lnTo>
                <a:lnTo>
                  <a:pt x="5732" y="3025"/>
                </a:lnTo>
                <a:lnTo>
                  <a:pt x="5733" y="3023"/>
                </a:lnTo>
                <a:lnTo>
                  <a:pt x="5734" y="3021"/>
                </a:lnTo>
                <a:lnTo>
                  <a:pt x="5735" y="3021"/>
                </a:lnTo>
                <a:lnTo>
                  <a:pt x="5737" y="3021"/>
                </a:lnTo>
                <a:lnTo>
                  <a:pt x="5740" y="3022"/>
                </a:lnTo>
                <a:lnTo>
                  <a:pt x="5742" y="3021"/>
                </a:lnTo>
                <a:lnTo>
                  <a:pt x="5745" y="3019"/>
                </a:lnTo>
                <a:lnTo>
                  <a:pt x="5748" y="3016"/>
                </a:lnTo>
                <a:lnTo>
                  <a:pt x="5750" y="3012"/>
                </a:lnTo>
                <a:lnTo>
                  <a:pt x="5752" y="3008"/>
                </a:lnTo>
                <a:lnTo>
                  <a:pt x="5755" y="2999"/>
                </a:lnTo>
                <a:lnTo>
                  <a:pt x="5756" y="2993"/>
                </a:lnTo>
                <a:lnTo>
                  <a:pt x="5766" y="2993"/>
                </a:lnTo>
                <a:lnTo>
                  <a:pt x="5775" y="2994"/>
                </a:lnTo>
                <a:lnTo>
                  <a:pt x="5784" y="2994"/>
                </a:lnTo>
                <a:lnTo>
                  <a:pt x="5787" y="2994"/>
                </a:lnTo>
                <a:lnTo>
                  <a:pt x="5790" y="2993"/>
                </a:lnTo>
                <a:lnTo>
                  <a:pt x="5790" y="2992"/>
                </a:lnTo>
                <a:lnTo>
                  <a:pt x="5791" y="2991"/>
                </a:lnTo>
                <a:lnTo>
                  <a:pt x="5792" y="2989"/>
                </a:lnTo>
                <a:lnTo>
                  <a:pt x="5794" y="2988"/>
                </a:lnTo>
                <a:lnTo>
                  <a:pt x="5795" y="2988"/>
                </a:lnTo>
                <a:lnTo>
                  <a:pt x="5795" y="2984"/>
                </a:lnTo>
                <a:lnTo>
                  <a:pt x="5796" y="2981"/>
                </a:lnTo>
                <a:lnTo>
                  <a:pt x="5798" y="2979"/>
                </a:lnTo>
                <a:lnTo>
                  <a:pt x="5798" y="2976"/>
                </a:lnTo>
                <a:lnTo>
                  <a:pt x="5798" y="2975"/>
                </a:lnTo>
                <a:lnTo>
                  <a:pt x="5796" y="2974"/>
                </a:lnTo>
                <a:lnTo>
                  <a:pt x="5793" y="2972"/>
                </a:lnTo>
                <a:lnTo>
                  <a:pt x="5792" y="2971"/>
                </a:lnTo>
                <a:lnTo>
                  <a:pt x="5791" y="2971"/>
                </a:lnTo>
                <a:lnTo>
                  <a:pt x="5790" y="2970"/>
                </a:lnTo>
                <a:lnTo>
                  <a:pt x="5790" y="2968"/>
                </a:lnTo>
                <a:lnTo>
                  <a:pt x="5790" y="2965"/>
                </a:lnTo>
                <a:lnTo>
                  <a:pt x="5791" y="2964"/>
                </a:lnTo>
                <a:lnTo>
                  <a:pt x="5794" y="2962"/>
                </a:lnTo>
                <a:lnTo>
                  <a:pt x="5798" y="2960"/>
                </a:lnTo>
                <a:lnTo>
                  <a:pt x="5799" y="2957"/>
                </a:lnTo>
                <a:lnTo>
                  <a:pt x="5800" y="2954"/>
                </a:lnTo>
                <a:lnTo>
                  <a:pt x="5800" y="2948"/>
                </a:lnTo>
                <a:lnTo>
                  <a:pt x="5800" y="2941"/>
                </a:lnTo>
                <a:lnTo>
                  <a:pt x="5800" y="2938"/>
                </a:lnTo>
                <a:lnTo>
                  <a:pt x="5801" y="2934"/>
                </a:lnTo>
                <a:lnTo>
                  <a:pt x="5802" y="2931"/>
                </a:lnTo>
                <a:lnTo>
                  <a:pt x="5804" y="2928"/>
                </a:lnTo>
                <a:lnTo>
                  <a:pt x="5808" y="2921"/>
                </a:lnTo>
                <a:lnTo>
                  <a:pt x="5812" y="2913"/>
                </a:lnTo>
                <a:lnTo>
                  <a:pt x="5814" y="2910"/>
                </a:lnTo>
                <a:lnTo>
                  <a:pt x="5815" y="2906"/>
                </a:lnTo>
                <a:lnTo>
                  <a:pt x="5816" y="2902"/>
                </a:lnTo>
                <a:lnTo>
                  <a:pt x="5816" y="2899"/>
                </a:lnTo>
                <a:lnTo>
                  <a:pt x="5815" y="2895"/>
                </a:lnTo>
                <a:lnTo>
                  <a:pt x="5815" y="2892"/>
                </a:lnTo>
                <a:lnTo>
                  <a:pt x="5814" y="2886"/>
                </a:lnTo>
                <a:lnTo>
                  <a:pt x="5814" y="2883"/>
                </a:lnTo>
                <a:lnTo>
                  <a:pt x="5815" y="2881"/>
                </a:lnTo>
                <a:lnTo>
                  <a:pt x="5819" y="2881"/>
                </a:lnTo>
                <a:lnTo>
                  <a:pt x="5824" y="2881"/>
                </a:lnTo>
                <a:lnTo>
                  <a:pt x="5824" y="2879"/>
                </a:lnTo>
                <a:lnTo>
                  <a:pt x="5824" y="2877"/>
                </a:lnTo>
                <a:lnTo>
                  <a:pt x="5823" y="2874"/>
                </a:lnTo>
                <a:lnTo>
                  <a:pt x="5824" y="2872"/>
                </a:lnTo>
                <a:lnTo>
                  <a:pt x="5825" y="2871"/>
                </a:lnTo>
                <a:lnTo>
                  <a:pt x="5827" y="2869"/>
                </a:lnTo>
                <a:lnTo>
                  <a:pt x="5832" y="2866"/>
                </a:lnTo>
                <a:lnTo>
                  <a:pt x="5843" y="2861"/>
                </a:lnTo>
                <a:lnTo>
                  <a:pt x="5843" y="2855"/>
                </a:lnTo>
                <a:lnTo>
                  <a:pt x="5843" y="2856"/>
                </a:lnTo>
                <a:lnTo>
                  <a:pt x="5842" y="2856"/>
                </a:lnTo>
                <a:lnTo>
                  <a:pt x="5842" y="2853"/>
                </a:lnTo>
                <a:lnTo>
                  <a:pt x="5842" y="2850"/>
                </a:lnTo>
                <a:lnTo>
                  <a:pt x="5843" y="2847"/>
                </a:lnTo>
                <a:lnTo>
                  <a:pt x="5849" y="2847"/>
                </a:lnTo>
                <a:lnTo>
                  <a:pt x="5849" y="2844"/>
                </a:lnTo>
                <a:lnTo>
                  <a:pt x="5850" y="2842"/>
                </a:lnTo>
                <a:lnTo>
                  <a:pt x="5852" y="2839"/>
                </a:lnTo>
                <a:lnTo>
                  <a:pt x="5852" y="2836"/>
                </a:lnTo>
                <a:lnTo>
                  <a:pt x="5852" y="2833"/>
                </a:lnTo>
                <a:lnTo>
                  <a:pt x="5852" y="2827"/>
                </a:lnTo>
                <a:lnTo>
                  <a:pt x="5852" y="2822"/>
                </a:lnTo>
                <a:lnTo>
                  <a:pt x="5852" y="2816"/>
                </a:lnTo>
                <a:lnTo>
                  <a:pt x="5852" y="2813"/>
                </a:lnTo>
                <a:lnTo>
                  <a:pt x="5852" y="2810"/>
                </a:lnTo>
                <a:lnTo>
                  <a:pt x="5852" y="2801"/>
                </a:lnTo>
                <a:lnTo>
                  <a:pt x="5851" y="2793"/>
                </a:lnTo>
                <a:lnTo>
                  <a:pt x="5852" y="2785"/>
                </a:lnTo>
                <a:lnTo>
                  <a:pt x="5857" y="2785"/>
                </a:lnTo>
                <a:lnTo>
                  <a:pt x="5859" y="2778"/>
                </a:lnTo>
                <a:lnTo>
                  <a:pt x="5860" y="2774"/>
                </a:lnTo>
                <a:lnTo>
                  <a:pt x="5860" y="2769"/>
                </a:lnTo>
                <a:lnTo>
                  <a:pt x="5859" y="2763"/>
                </a:lnTo>
                <a:lnTo>
                  <a:pt x="5857" y="2757"/>
                </a:lnTo>
                <a:lnTo>
                  <a:pt x="5853" y="2747"/>
                </a:lnTo>
                <a:lnTo>
                  <a:pt x="5850" y="2742"/>
                </a:lnTo>
                <a:lnTo>
                  <a:pt x="5849" y="2737"/>
                </a:lnTo>
                <a:lnTo>
                  <a:pt x="5849" y="2733"/>
                </a:lnTo>
                <a:lnTo>
                  <a:pt x="5849" y="2727"/>
                </a:lnTo>
                <a:lnTo>
                  <a:pt x="5851" y="2715"/>
                </a:lnTo>
                <a:lnTo>
                  <a:pt x="5851" y="2708"/>
                </a:lnTo>
                <a:lnTo>
                  <a:pt x="5852" y="2701"/>
                </a:lnTo>
                <a:lnTo>
                  <a:pt x="5851" y="2698"/>
                </a:lnTo>
                <a:lnTo>
                  <a:pt x="5851" y="2695"/>
                </a:lnTo>
                <a:lnTo>
                  <a:pt x="5850" y="2692"/>
                </a:lnTo>
                <a:lnTo>
                  <a:pt x="5849" y="2689"/>
                </a:lnTo>
                <a:lnTo>
                  <a:pt x="5832" y="2678"/>
                </a:lnTo>
                <a:lnTo>
                  <a:pt x="5832" y="2677"/>
                </a:lnTo>
                <a:lnTo>
                  <a:pt x="5831" y="2676"/>
                </a:lnTo>
                <a:lnTo>
                  <a:pt x="5832" y="2673"/>
                </a:lnTo>
                <a:lnTo>
                  <a:pt x="5832" y="2670"/>
                </a:lnTo>
                <a:lnTo>
                  <a:pt x="5832" y="2667"/>
                </a:lnTo>
                <a:lnTo>
                  <a:pt x="5829" y="2664"/>
                </a:lnTo>
                <a:lnTo>
                  <a:pt x="5823" y="2661"/>
                </a:lnTo>
                <a:lnTo>
                  <a:pt x="5815" y="2656"/>
                </a:lnTo>
                <a:lnTo>
                  <a:pt x="5814" y="2653"/>
                </a:lnTo>
                <a:lnTo>
                  <a:pt x="5813" y="2650"/>
                </a:lnTo>
                <a:lnTo>
                  <a:pt x="5813" y="2646"/>
                </a:lnTo>
                <a:lnTo>
                  <a:pt x="5812" y="2643"/>
                </a:lnTo>
                <a:lnTo>
                  <a:pt x="5812" y="2635"/>
                </a:lnTo>
                <a:lnTo>
                  <a:pt x="5812" y="2628"/>
                </a:lnTo>
                <a:lnTo>
                  <a:pt x="5806" y="2625"/>
                </a:lnTo>
                <a:lnTo>
                  <a:pt x="5801" y="2621"/>
                </a:lnTo>
                <a:lnTo>
                  <a:pt x="5799" y="2620"/>
                </a:lnTo>
                <a:lnTo>
                  <a:pt x="5796" y="2619"/>
                </a:lnTo>
                <a:lnTo>
                  <a:pt x="5793" y="2617"/>
                </a:lnTo>
                <a:lnTo>
                  <a:pt x="5790" y="2616"/>
                </a:lnTo>
                <a:lnTo>
                  <a:pt x="5790" y="2606"/>
                </a:lnTo>
                <a:lnTo>
                  <a:pt x="5790" y="2595"/>
                </a:lnTo>
                <a:lnTo>
                  <a:pt x="5789" y="2591"/>
                </a:lnTo>
                <a:lnTo>
                  <a:pt x="5788" y="2587"/>
                </a:lnTo>
                <a:lnTo>
                  <a:pt x="5787" y="2585"/>
                </a:lnTo>
                <a:lnTo>
                  <a:pt x="5785" y="2584"/>
                </a:lnTo>
                <a:lnTo>
                  <a:pt x="5783" y="2582"/>
                </a:lnTo>
                <a:lnTo>
                  <a:pt x="5781" y="2582"/>
                </a:lnTo>
                <a:lnTo>
                  <a:pt x="5776" y="2582"/>
                </a:lnTo>
                <a:lnTo>
                  <a:pt x="5777" y="2578"/>
                </a:lnTo>
                <a:lnTo>
                  <a:pt x="5779" y="2576"/>
                </a:lnTo>
                <a:lnTo>
                  <a:pt x="5780" y="2574"/>
                </a:lnTo>
                <a:lnTo>
                  <a:pt x="5781" y="2573"/>
                </a:lnTo>
                <a:lnTo>
                  <a:pt x="5781" y="2572"/>
                </a:lnTo>
                <a:lnTo>
                  <a:pt x="5781" y="2571"/>
                </a:lnTo>
                <a:lnTo>
                  <a:pt x="5780" y="2570"/>
                </a:lnTo>
                <a:lnTo>
                  <a:pt x="5779" y="2569"/>
                </a:lnTo>
                <a:lnTo>
                  <a:pt x="5779" y="2568"/>
                </a:lnTo>
                <a:lnTo>
                  <a:pt x="5779" y="2565"/>
                </a:lnTo>
                <a:lnTo>
                  <a:pt x="5774" y="2562"/>
                </a:lnTo>
                <a:lnTo>
                  <a:pt x="5769" y="2559"/>
                </a:lnTo>
                <a:lnTo>
                  <a:pt x="5754" y="2552"/>
                </a:lnTo>
                <a:lnTo>
                  <a:pt x="5747" y="2548"/>
                </a:lnTo>
                <a:lnTo>
                  <a:pt x="5741" y="2545"/>
                </a:lnTo>
                <a:lnTo>
                  <a:pt x="5736" y="2542"/>
                </a:lnTo>
                <a:lnTo>
                  <a:pt x="5734" y="2541"/>
                </a:lnTo>
                <a:lnTo>
                  <a:pt x="5734" y="2539"/>
                </a:lnTo>
                <a:lnTo>
                  <a:pt x="5732" y="2535"/>
                </a:lnTo>
                <a:lnTo>
                  <a:pt x="5731" y="2533"/>
                </a:lnTo>
                <a:lnTo>
                  <a:pt x="5731" y="2530"/>
                </a:lnTo>
                <a:lnTo>
                  <a:pt x="5731" y="2520"/>
                </a:lnTo>
                <a:lnTo>
                  <a:pt x="5732" y="2510"/>
                </a:lnTo>
                <a:lnTo>
                  <a:pt x="5731" y="2505"/>
                </a:lnTo>
                <a:lnTo>
                  <a:pt x="5731" y="2500"/>
                </a:lnTo>
                <a:lnTo>
                  <a:pt x="5730" y="2497"/>
                </a:lnTo>
                <a:lnTo>
                  <a:pt x="5728" y="2494"/>
                </a:lnTo>
                <a:lnTo>
                  <a:pt x="5724" y="2488"/>
                </a:lnTo>
                <a:lnTo>
                  <a:pt x="5719" y="2483"/>
                </a:lnTo>
                <a:lnTo>
                  <a:pt x="5718" y="2480"/>
                </a:lnTo>
                <a:lnTo>
                  <a:pt x="5717" y="2477"/>
                </a:lnTo>
                <a:lnTo>
                  <a:pt x="5716" y="2473"/>
                </a:lnTo>
                <a:lnTo>
                  <a:pt x="5716" y="2469"/>
                </a:lnTo>
                <a:lnTo>
                  <a:pt x="5717" y="2460"/>
                </a:lnTo>
                <a:lnTo>
                  <a:pt x="5718" y="2452"/>
                </a:lnTo>
                <a:lnTo>
                  <a:pt x="5718" y="2448"/>
                </a:lnTo>
                <a:lnTo>
                  <a:pt x="5717" y="2444"/>
                </a:lnTo>
                <a:lnTo>
                  <a:pt x="5707" y="2444"/>
                </a:lnTo>
                <a:lnTo>
                  <a:pt x="5704" y="2438"/>
                </a:lnTo>
                <a:lnTo>
                  <a:pt x="5702" y="2438"/>
                </a:lnTo>
                <a:lnTo>
                  <a:pt x="5702" y="2434"/>
                </a:lnTo>
                <a:lnTo>
                  <a:pt x="5702" y="2430"/>
                </a:lnTo>
                <a:lnTo>
                  <a:pt x="5699" y="2431"/>
                </a:lnTo>
                <a:lnTo>
                  <a:pt x="5698" y="2431"/>
                </a:lnTo>
                <a:lnTo>
                  <a:pt x="5693" y="2432"/>
                </a:lnTo>
                <a:lnTo>
                  <a:pt x="5693" y="2438"/>
                </a:lnTo>
                <a:lnTo>
                  <a:pt x="5691" y="2438"/>
                </a:lnTo>
                <a:lnTo>
                  <a:pt x="5689" y="2438"/>
                </a:lnTo>
                <a:lnTo>
                  <a:pt x="5688" y="2438"/>
                </a:lnTo>
                <a:lnTo>
                  <a:pt x="5688" y="2437"/>
                </a:lnTo>
                <a:lnTo>
                  <a:pt x="5687" y="2435"/>
                </a:lnTo>
                <a:lnTo>
                  <a:pt x="5686" y="2435"/>
                </a:lnTo>
                <a:lnTo>
                  <a:pt x="5685" y="2435"/>
                </a:lnTo>
                <a:lnTo>
                  <a:pt x="5684" y="2422"/>
                </a:lnTo>
                <a:lnTo>
                  <a:pt x="5683" y="2411"/>
                </a:lnTo>
                <a:lnTo>
                  <a:pt x="5681" y="2401"/>
                </a:lnTo>
                <a:lnTo>
                  <a:pt x="5678" y="2392"/>
                </a:lnTo>
                <a:lnTo>
                  <a:pt x="5675" y="2384"/>
                </a:lnTo>
                <a:lnTo>
                  <a:pt x="5671" y="2376"/>
                </a:lnTo>
                <a:lnTo>
                  <a:pt x="5662" y="2359"/>
                </a:lnTo>
                <a:lnTo>
                  <a:pt x="5658" y="2359"/>
                </a:lnTo>
                <a:lnTo>
                  <a:pt x="5654" y="2359"/>
                </a:lnTo>
                <a:lnTo>
                  <a:pt x="5652" y="2375"/>
                </a:lnTo>
                <a:lnTo>
                  <a:pt x="5651" y="2388"/>
                </a:lnTo>
                <a:lnTo>
                  <a:pt x="5650" y="2400"/>
                </a:lnTo>
                <a:lnTo>
                  <a:pt x="5651" y="2413"/>
                </a:lnTo>
                <a:lnTo>
                  <a:pt x="5645" y="2416"/>
                </a:lnTo>
                <a:lnTo>
                  <a:pt x="5645" y="2424"/>
                </a:lnTo>
                <a:lnTo>
                  <a:pt x="5645" y="2431"/>
                </a:lnTo>
                <a:lnTo>
                  <a:pt x="5646" y="2438"/>
                </a:lnTo>
                <a:lnTo>
                  <a:pt x="5646" y="2445"/>
                </a:lnTo>
                <a:lnTo>
                  <a:pt x="5647" y="2452"/>
                </a:lnTo>
                <a:lnTo>
                  <a:pt x="5647" y="2459"/>
                </a:lnTo>
                <a:lnTo>
                  <a:pt x="5647" y="2467"/>
                </a:lnTo>
                <a:lnTo>
                  <a:pt x="5645" y="2475"/>
                </a:lnTo>
                <a:lnTo>
                  <a:pt x="5642" y="2476"/>
                </a:lnTo>
                <a:lnTo>
                  <a:pt x="5641" y="2477"/>
                </a:lnTo>
                <a:lnTo>
                  <a:pt x="5640" y="2477"/>
                </a:lnTo>
                <a:lnTo>
                  <a:pt x="5639" y="2479"/>
                </a:lnTo>
                <a:lnTo>
                  <a:pt x="5639" y="2481"/>
                </a:lnTo>
                <a:lnTo>
                  <a:pt x="5639" y="2484"/>
                </a:lnTo>
                <a:lnTo>
                  <a:pt x="5640" y="2488"/>
                </a:lnTo>
                <a:lnTo>
                  <a:pt x="5640" y="2492"/>
                </a:lnTo>
                <a:lnTo>
                  <a:pt x="5634" y="2497"/>
                </a:lnTo>
                <a:lnTo>
                  <a:pt x="5634" y="2500"/>
                </a:lnTo>
                <a:lnTo>
                  <a:pt x="5634" y="2503"/>
                </a:lnTo>
                <a:lnTo>
                  <a:pt x="5634" y="2506"/>
                </a:lnTo>
                <a:lnTo>
                  <a:pt x="5634" y="2507"/>
                </a:lnTo>
                <a:lnTo>
                  <a:pt x="5634" y="2508"/>
                </a:lnTo>
                <a:lnTo>
                  <a:pt x="5633" y="2509"/>
                </a:lnTo>
                <a:lnTo>
                  <a:pt x="5631" y="2509"/>
                </a:lnTo>
                <a:lnTo>
                  <a:pt x="5630" y="2509"/>
                </a:lnTo>
                <a:lnTo>
                  <a:pt x="5628" y="2511"/>
                </a:lnTo>
                <a:lnTo>
                  <a:pt x="5627" y="2511"/>
                </a:lnTo>
                <a:lnTo>
                  <a:pt x="5625" y="2511"/>
                </a:lnTo>
                <a:lnTo>
                  <a:pt x="5621" y="2511"/>
                </a:lnTo>
                <a:lnTo>
                  <a:pt x="5618" y="2512"/>
                </a:lnTo>
                <a:lnTo>
                  <a:pt x="5616" y="2512"/>
                </a:lnTo>
                <a:lnTo>
                  <a:pt x="5614" y="2511"/>
                </a:lnTo>
                <a:lnTo>
                  <a:pt x="5613" y="2510"/>
                </a:lnTo>
                <a:lnTo>
                  <a:pt x="5611" y="2508"/>
                </a:lnTo>
                <a:lnTo>
                  <a:pt x="5609" y="2503"/>
                </a:lnTo>
                <a:lnTo>
                  <a:pt x="5608" y="2498"/>
                </a:lnTo>
                <a:lnTo>
                  <a:pt x="5607" y="2496"/>
                </a:lnTo>
                <a:lnTo>
                  <a:pt x="5607" y="2495"/>
                </a:lnTo>
                <a:lnTo>
                  <a:pt x="5606" y="2494"/>
                </a:lnTo>
                <a:lnTo>
                  <a:pt x="5604" y="2494"/>
                </a:lnTo>
                <a:lnTo>
                  <a:pt x="5602" y="2494"/>
                </a:lnTo>
                <a:lnTo>
                  <a:pt x="5599" y="2494"/>
                </a:lnTo>
                <a:lnTo>
                  <a:pt x="5597" y="2494"/>
                </a:lnTo>
                <a:lnTo>
                  <a:pt x="5596" y="2494"/>
                </a:lnTo>
                <a:lnTo>
                  <a:pt x="5595" y="2493"/>
                </a:lnTo>
                <a:lnTo>
                  <a:pt x="5592" y="2490"/>
                </a:lnTo>
                <a:lnTo>
                  <a:pt x="5590" y="2487"/>
                </a:lnTo>
                <a:lnTo>
                  <a:pt x="5587" y="2483"/>
                </a:lnTo>
                <a:lnTo>
                  <a:pt x="5585" y="2480"/>
                </a:lnTo>
                <a:lnTo>
                  <a:pt x="5583" y="2477"/>
                </a:lnTo>
                <a:lnTo>
                  <a:pt x="5580" y="2474"/>
                </a:lnTo>
                <a:lnTo>
                  <a:pt x="5578" y="2472"/>
                </a:lnTo>
                <a:lnTo>
                  <a:pt x="5575" y="2470"/>
                </a:lnTo>
                <a:lnTo>
                  <a:pt x="5572" y="2470"/>
                </a:lnTo>
                <a:lnTo>
                  <a:pt x="5567" y="2469"/>
                </a:lnTo>
                <a:lnTo>
                  <a:pt x="5561" y="2468"/>
                </a:lnTo>
                <a:lnTo>
                  <a:pt x="5558" y="2468"/>
                </a:lnTo>
                <a:lnTo>
                  <a:pt x="5555" y="2466"/>
                </a:lnTo>
                <a:lnTo>
                  <a:pt x="5555" y="2461"/>
                </a:lnTo>
                <a:lnTo>
                  <a:pt x="5547" y="2456"/>
                </a:lnTo>
                <a:lnTo>
                  <a:pt x="5543" y="2455"/>
                </a:lnTo>
                <a:lnTo>
                  <a:pt x="5538" y="2452"/>
                </a:lnTo>
                <a:lnTo>
                  <a:pt x="5539" y="2447"/>
                </a:lnTo>
                <a:lnTo>
                  <a:pt x="5539" y="2442"/>
                </a:lnTo>
                <a:lnTo>
                  <a:pt x="5538" y="2432"/>
                </a:lnTo>
                <a:lnTo>
                  <a:pt x="5544" y="2430"/>
                </a:lnTo>
                <a:lnTo>
                  <a:pt x="5545" y="2424"/>
                </a:lnTo>
                <a:lnTo>
                  <a:pt x="5545" y="2419"/>
                </a:lnTo>
                <a:lnTo>
                  <a:pt x="5545" y="2417"/>
                </a:lnTo>
                <a:lnTo>
                  <a:pt x="5544" y="2415"/>
                </a:lnTo>
                <a:lnTo>
                  <a:pt x="5543" y="2414"/>
                </a:lnTo>
                <a:lnTo>
                  <a:pt x="5541" y="2413"/>
                </a:lnTo>
                <a:lnTo>
                  <a:pt x="5545" y="2412"/>
                </a:lnTo>
                <a:lnTo>
                  <a:pt x="5548" y="2412"/>
                </a:lnTo>
                <a:lnTo>
                  <a:pt x="5555" y="2413"/>
                </a:lnTo>
                <a:lnTo>
                  <a:pt x="5555" y="2408"/>
                </a:lnTo>
                <a:lnTo>
                  <a:pt x="5555" y="2404"/>
                </a:lnTo>
                <a:lnTo>
                  <a:pt x="5554" y="2403"/>
                </a:lnTo>
                <a:lnTo>
                  <a:pt x="5553" y="2403"/>
                </a:lnTo>
                <a:lnTo>
                  <a:pt x="5552" y="2402"/>
                </a:lnTo>
                <a:lnTo>
                  <a:pt x="5552" y="2400"/>
                </a:lnTo>
                <a:lnTo>
                  <a:pt x="5552" y="2399"/>
                </a:lnTo>
                <a:lnTo>
                  <a:pt x="5554" y="2398"/>
                </a:lnTo>
                <a:lnTo>
                  <a:pt x="5556" y="2397"/>
                </a:lnTo>
                <a:lnTo>
                  <a:pt x="5559" y="2395"/>
                </a:lnTo>
                <a:lnTo>
                  <a:pt x="5560" y="2394"/>
                </a:lnTo>
                <a:lnTo>
                  <a:pt x="5561" y="2393"/>
                </a:lnTo>
                <a:lnTo>
                  <a:pt x="5561" y="2391"/>
                </a:lnTo>
                <a:lnTo>
                  <a:pt x="5560" y="2388"/>
                </a:lnTo>
                <a:lnTo>
                  <a:pt x="5558" y="2382"/>
                </a:lnTo>
                <a:lnTo>
                  <a:pt x="5555" y="2383"/>
                </a:lnTo>
                <a:lnTo>
                  <a:pt x="5548" y="2386"/>
                </a:lnTo>
                <a:lnTo>
                  <a:pt x="5544" y="2387"/>
                </a:lnTo>
                <a:lnTo>
                  <a:pt x="5541" y="2382"/>
                </a:lnTo>
                <a:lnTo>
                  <a:pt x="5534" y="2382"/>
                </a:lnTo>
                <a:lnTo>
                  <a:pt x="5527" y="2382"/>
                </a:lnTo>
                <a:lnTo>
                  <a:pt x="5520" y="2381"/>
                </a:lnTo>
                <a:lnTo>
                  <a:pt x="5510" y="2379"/>
                </a:lnTo>
                <a:lnTo>
                  <a:pt x="5512" y="2379"/>
                </a:lnTo>
                <a:lnTo>
                  <a:pt x="5509" y="2378"/>
                </a:lnTo>
                <a:lnTo>
                  <a:pt x="5506" y="2378"/>
                </a:lnTo>
                <a:lnTo>
                  <a:pt x="5507" y="2379"/>
                </a:lnTo>
                <a:lnTo>
                  <a:pt x="5504" y="2377"/>
                </a:lnTo>
                <a:lnTo>
                  <a:pt x="5502" y="2375"/>
                </a:lnTo>
                <a:lnTo>
                  <a:pt x="5501" y="2373"/>
                </a:lnTo>
                <a:lnTo>
                  <a:pt x="5499" y="2371"/>
                </a:lnTo>
                <a:lnTo>
                  <a:pt x="5495" y="2373"/>
                </a:lnTo>
                <a:lnTo>
                  <a:pt x="5493" y="2375"/>
                </a:lnTo>
                <a:lnTo>
                  <a:pt x="5493" y="2376"/>
                </a:lnTo>
                <a:lnTo>
                  <a:pt x="5489" y="2375"/>
                </a:lnTo>
                <a:lnTo>
                  <a:pt x="5487" y="2374"/>
                </a:lnTo>
                <a:lnTo>
                  <a:pt x="5488" y="2373"/>
                </a:lnTo>
                <a:lnTo>
                  <a:pt x="5485" y="2372"/>
                </a:lnTo>
                <a:lnTo>
                  <a:pt x="5482" y="2369"/>
                </a:lnTo>
                <a:lnTo>
                  <a:pt x="5479" y="2366"/>
                </a:lnTo>
                <a:lnTo>
                  <a:pt x="5477" y="2365"/>
                </a:lnTo>
                <a:lnTo>
                  <a:pt x="5473" y="2364"/>
                </a:lnTo>
                <a:lnTo>
                  <a:pt x="5470" y="2364"/>
                </a:lnTo>
                <a:lnTo>
                  <a:pt x="5469" y="2364"/>
                </a:lnTo>
                <a:lnTo>
                  <a:pt x="5469" y="2365"/>
                </a:lnTo>
                <a:lnTo>
                  <a:pt x="5469" y="2366"/>
                </a:lnTo>
                <a:lnTo>
                  <a:pt x="5470" y="2368"/>
                </a:lnTo>
                <a:lnTo>
                  <a:pt x="5474" y="2371"/>
                </a:lnTo>
                <a:lnTo>
                  <a:pt x="5485" y="2378"/>
                </a:lnTo>
                <a:lnTo>
                  <a:pt x="5491" y="2382"/>
                </a:lnTo>
                <a:lnTo>
                  <a:pt x="5490" y="2384"/>
                </a:lnTo>
                <a:lnTo>
                  <a:pt x="5490" y="2387"/>
                </a:lnTo>
                <a:lnTo>
                  <a:pt x="5489" y="2388"/>
                </a:lnTo>
                <a:lnTo>
                  <a:pt x="5488" y="2389"/>
                </a:lnTo>
                <a:lnTo>
                  <a:pt x="5487" y="2389"/>
                </a:lnTo>
                <a:lnTo>
                  <a:pt x="5485" y="2387"/>
                </a:lnTo>
                <a:lnTo>
                  <a:pt x="5485" y="2393"/>
                </a:lnTo>
                <a:lnTo>
                  <a:pt x="5482" y="2393"/>
                </a:lnTo>
                <a:lnTo>
                  <a:pt x="5479" y="2392"/>
                </a:lnTo>
                <a:lnTo>
                  <a:pt x="5472" y="2389"/>
                </a:lnTo>
                <a:lnTo>
                  <a:pt x="5464" y="2386"/>
                </a:lnTo>
                <a:lnTo>
                  <a:pt x="5460" y="2385"/>
                </a:lnTo>
                <a:lnTo>
                  <a:pt x="5457" y="2385"/>
                </a:lnTo>
                <a:lnTo>
                  <a:pt x="5456" y="2386"/>
                </a:lnTo>
                <a:lnTo>
                  <a:pt x="5455" y="2389"/>
                </a:lnTo>
                <a:lnTo>
                  <a:pt x="5454" y="2393"/>
                </a:lnTo>
                <a:lnTo>
                  <a:pt x="5453" y="2393"/>
                </a:lnTo>
                <a:lnTo>
                  <a:pt x="5452" y="2393"/>
                </a:lnTo>
                <a:lnTo>
                  <a:pt x="5449" y="2391"/>
                </a:lnTo>
                <a:lnTo>
                  <a:pt x="5446" y="2387"/>
                </a:lnTo>
                <a:lnTo>
                  <a:pt x="5444" y="2395"/>
                </a:lnTo>
                <a:lnTo>
                  <a:pt x="5443" y="2398"/>
                </a:lnTo>
                <a:lnTo>
                  <a:pt x="5442" y="2402"/>
                </a:lnTo>
                <a:lnTo>
                  <a:pt x="5442" y="2405"/>
                </a:lnTo>
                <a:lnTo>
                  <a:pt x="5442" y="2408"/>
                </a:lnTo>
                <a:lnTo>
                  <a:pt x="5443" y="2411"/>
                </a:lnTo>
                <a:lnTo>
                  <a:pt x="5446" y="2413"/>
                </a:lnTo>
                <a:lnTo>
                  <a:pt x="5445" y="2413"/>
                </a:lnTo>
                <a:lnTo>
                  <a:pt x="5443" y="2413"/>
                </a:lnTo>
                <a:lnTo>
                  <a:pt x="5440" y="2413"/>
                </a:lnTo>
                <a:lnTo>
                  <a:pt x="5437" y="2412"/>
                </a:lnTo>
                <a:lnTo>
                  <a:pt x="5436" y="2412"/>
                </a:lnTo>
                <a:lnTo>
                  <a:pt x="5434" y="2413"/>
                </a:lnTo>
                <a:lnTo>
                  <a:pt x="5434" y="2415"/>
                </a:lnTo>
                <a:lnTo>
                  <a:pt x="5434" y="2419"/>
                </a:lnTo>
                <a:lnTo>
                  <a:pt x="5434" y="2427"/>
                </a:lnTo>
                <a:lnTo>
                  <a:pt x="5428" y="2429"/>
                </a:lnTo>
                <a:lnTo>
                  <a:pt x="5426" y="2430"/>
                </a:lnTo>
                <a:lnTo>
                  <a:pt x="5423" y="2432"/>
                </a:lnTo>
                <a:lnTo>
                  <a:pt x="5425" y="2436"/>
                </a:lnTo>
                <a:lnTo>
                  <a:pt x="5427" y="2439"/>
                </a:lnTo>
                <a:lnTo>
                  <a:pt x="5431" y="2444"/>
                </a:lnTo>
                <a:lnTo>
                  <a:pt x="5431" y="2445"/>
                </a:lnTo>
                <a:lnTo>
                  <a:pt x="5431" y="2446"/>
                </a:lnTo>
                <a:lnTo>
                  <a:pt x="5430" y="2446"/>
                </a:lnTo>
                <a:lnTo>
                  <a:pt x="5430" y="2447"/>
                </a:lnTo>
                <a:lnTo>
                  <a:pt x="5426" y="2448"/>
                </a:lnTo>
                <a:lnTo>
                  <a:pt x="5420" y="2449"/>
                </a:lnTo>
                <a:lnTo>
                  <a:pt x="5421" y="2449"/>
                </a:lnTo>
                <a:lnTo>
                  <a:pt x="5419" y="2448"/>
                </a:lnTo>
                <a:lnTo>
                  <a:pt x="5415" y="2446"/>
                </a:lnTo>
                <a:lnTo>
                  <a:pt x="5416" y="2445"/>
                </a:lnTo>
                <a:lnTo>
                  <a:pt x="5415" y="2444"/>
                </a:lnTo>
                <a:lnTo>
                  <a:pt x="5414" y="2444"/>
                </a:lnTo>
                <a:lnTo>
                  <a:pt x="5412" y="2444"/>
                </a:lnTo>
                <a:lnTo>
                  <a:pt x="5406" y="2444"/>
                </a:lnTo>
                <a:lnTo>
                  <a:pt x="5406" y="2446"/>
                </a:lnTo>
                <a:lnTo>
                  <a:pt x="5406" y="2449"/>
                </a:lnTo>
                <a:lnTo>
                  <a:pt x="5406" y="2455"/>
                </a:lnTo>
                <a:lnTo>
                  <a:pt x="5398" y="2458"/>
                </a:lnTo>
                <a:lnTo>
                  <a:pt x="5400" y="2448"/>
                </a:lnTo>
                <a:lnTo>
                  <a:pt x="5401" y="2445"/>
                </a:lnTo>
                <a:lnTo>
                  <a:pt x="5401" y="2442"/>
                </a:lnTo>
                <a:lnTo>
                  <a:pt x="5401" y="2440"/>
                </a:lnTo>
                <a:lnTo>
                  <a:pt x="5400" y="2439"/>
                </a:lnTo>
                <a:lnTo>
                  <a:pt x="5399" y="2436"/>
                </a:lnTo>
                <a:lnTo>
                  <a:pt x="5396" y="2433"/>
                </a:lnTo>
                <a:lnTo>
                  <a:pt x="5392" y="2430"/>
                </a:lnTo>
                <a:lnTo>
                  <a:pt x="5389" y="2421"/>
                </a:lnTo>
                <a:lnTo>
                  <a:pt x="5382" y="2423"/>
                </a:lnTo>
                <a:lnTo>
                  <a:pt x="5377" y="2424"/>
                </a:lnTo>
                <a:lnTo>
                  <a:pt x="5373" y="2424"/>
                </a:lnTo>
                <a:lnTo>
                  <a:pt x="5371" y="2424"/>
                </a:lnTo>
                <a:lnTo>
                  <a:pt x="5370" y="2426"/>
                </a:lnTo>
                <a:lnTo>
                  <a:pt x="5369" y="2428"/>
                </a:lnTo>
                <a:lnTo>
                  <a:pt x="5367" y="2438"/>
                </a:lnTo>
                <a:lnTo>
                  <a:pt x="5365" y="2437"/>
                </a:lnTo>
                <a:lnTo>
                  <a:pt x="5364" y="2435"/>
                </a:lnTo>
                <a:lnTo>
                  <a:pt x="5364" y="2432"/>
                </a:lnTo>
                <a:lnTo>
                  <a:pt x="5358" y="2432"/>
                </a:lnTo>
                <a:lnTo>
                  <a:pt x="5361" y="2438"/>
                </a:lnTo>
                <a:lnTo>
                  <a:pt x="5356" y="2438"/>
                </a:lnTo>
                <a:lnTo>
                  <a:pt x="5358" y="2444"/>
                </a:lnTo>
                <a:lnTo>
                  <a:pt x="5358" y="2448"/>
                </a:lnTo>
                <a:lnTo>
                  <a:pt x="5358" y="2449"/>
                </a:lnTo>
                <a:lnTo>
                  <a:pt x="5356" y="2449"/>
                </a:lnTo>
                <a:lnTo>
                  <a:pt x="5354" y="2449"/>
                </a:lnTo>
                <a:lnTo>
                  <a:pt x="5352" y="2449"/>
                </a:lnTo>
                <a:lnTo>
                  <a:pt x="5350" y="2449"/>
                </a:lnTo>
                <a:lnTo>
                  <a:pt x="5352" y="2453"/>
                </a:lnTo>
                <a:lnTo>
                  <a:pt x="5354" y="2456"/>
                </a:lnTo>
                <a:lnTo>
                  <a:pt x="5353" y="2457"/>
                </a:lnTo>
                <a:lnTo>
                  <a:pt x="5353" y="2458"/>
                </a:lnTo>
                <a:lnTo>
                  <a:pt x="5352" y="2458"/>
                </a:lnTo>
                <a:lnTo>
                  <a:pt x="5351" y="2457"/>
                </a:lnTo>
                <a:lnTo>
                  <a:pt x="5348" y="2455"/>
                </a:lnTo>
                <a:lnTo>
                  <a:pt x="5344" y="2452"/>
                </a:lnTo>
                <a:lnTo>
                  <a:pt x="5344" y="2453"/>
                </a:lnTo>
                <a:lnTo>
                  <a:pt x="5343" y="2454"/>
                </a:lnTo>
                <a:lnTo>
                  <a:pt x="5341" y="2456"/>
                </a:lnTo>
                <a:lnTo>
                  <a:pt x="5340" y="2457"/>
                </a:lnTo>
                <a:lnTo>
                  <a:pt x="5339" y="2458"/>
                </a:lnTo>
                <a:lnTo>
                  <a:pt x="5338" y="2461"/>
                </a:lnTo>
                <a:lnTo>
                  <a:pt x="5338" y="2465"/>
                </a:lnTo>
                <a:lnTo>
                  <a:pt x="5339" y="2469"/>
                </a:lnTo>
                <a:lnTo>
                  <a:pt x="5339" y="2475"/>
                </a:lnTo>
                <a:lnTo>
                  <a:pt x="5336" y="2472"/>
                </a:lnTo>
                <a:lnTo>
                  <a:pt x="5327" y="2468"/>
                </a:lnTo>
                <a:lnTo>
                  <a:pt x="5325" y="2469"/>
                </a:lnTo>
                <a:lnTo>
                  <a:pt x="5323" y="2470"/>
                </a:lnTo>
                <a:lnTo>
                  <a:pt x="5322" y="2472"/>
                </a:lnTo>
                <a:lnTo>
                  <a:pt x="5322" y="2489"/>
                </a:lnTo>
                <a:lnTo>
                  <a:pt x="5325" y="2488"/>
                </a:lnTo>
                <a:lnTo>
                  <a:pt x="5326" y="2489"/>
                </a:lnTo>
                <a:lnTo>
                  <a:pt x="5326" y="2490"/>
                </a:lnTo>
                <a:lnTo>
                  <a:pt x="5325" y="2493"/>
                </a:lnTo>
                <a:lnTo>
                  <a:pt x="5323" y="2498"/>
                </a:lnTo>
                <a:lnTo>
                  <a:pt x="5322" y="2500"/>
                </a:lnTo>
                <a:lnTo>
                  <a:pt x="5318" y="2496"/>
                </a:lnTo>
                <a:lnTo>
                  <a:pt x="5315" y="2493"/>
                </a:lnTo>
                <a:lnTo>
                  <a:pt x="5313" y="2492"/>
                </a:lnTo>
                <a:lnTo>
                  <a:pt x="5311" y="2485"/>
                </a:lnTo>
                <a:lnTo>
                  <a:pt x="5310" y="2482"/>
                </a:lnTo>
                <a:lnTo>
                  <a:pt x="5310" y="2480"/>
                </a:lnTo>
                <a:lnTo>
                  <a:pt x="5310" y="2481"/>
                </a:lnTo>
                <a:lnTo>
                  <a:pt x="5308" y="2483"/>
                </a:lnTo>
                <a:lnTo>
                  <a:pt x="5305" y="2486"/>
                </a:lnTo>
                <a:lnTo>
                  <a:pt x="5299" y="2489"/>
                </a:lnTo>
                <a:lnTo>
                  <a:pt x="5298" y="2498"/>
                </a:lnTo>
                <a:lnTo>
                  <a:pt x="5296" y="2508"/>
                </a:lnTo>
                <a:lnTo>
                  <a:pt x="5296" y="2513"/>
                </a:lnTo>
                <a:lnTo>
                  <a:pt x="5296" y="2516"/>
                </a:lnTo>
                <a:lnTo>
                  <a:pt x="5297" y="2519"/>
                </a:lnTo>
                <a:lnTo>
                  <a:pt x="5298" y="2519"/>
                </a:lnTo>
                <a:lnTo>
                  <a:pt x="5299" y="2520"/>
                </a:lnTo>
                <a:lnTo>
                  <a:pt x="5295" y="2523"/>
                </a:lnTo>
                <a:lnTo>
                  <a:pt x="5290" y="2526"/>
                </a:lnTo>
                <a:lnTo>
                  <a:pt x="5286" y="2530"/>
                </a:lnTo>
                <a:lnTo>
                  <a:pt x="5282" y="2534"/>
                </a:lnTo>
                <a:lnTo>
                  <a:pt x="5282" y="2535"/>
                </a:lnTo>
                <a:lnTo>
                  <a:pt x="5282" y="2536"/>
                </a:lnTo>
                <a:lnTo>
                  <a:pt x="5281" y="2540"/>
                </a:lnTo>
                <a:lnTo>
                  <a:pt x="5281" y="2543"/>
                </a:lnTo>
                <a:lnTo>
                  <a:pt x="5280" y="2544"/>
                </a:lnTo>
                <a:lnTo>
                  <a:pt x="5280" y="2545"/>
                </a:lnTo>
                <a:lnTo>
                  <a:pt x="5276" y="2547"/>
                </a:lnTo>
                <a:lnTo>
                  <a:pt x="5273" y="2549"/>
                </a:lnTo>
                <a:lnTo>
                  <a:pt x="5269" y="2550"/>
                </a:lnTo>
                <a:lnTo>
                  <a:pt x="5265" y="2550"/>
                </a:lnTo>
                <a:lnTo>
                  <a:pt x="5257" y="2551"/>
                </a:lnTo>
                <a:lnTo>
                  <a:pt x="5253" y="2552"/>
                </a:lnTo>
                <a:lnTo>
                  <a:pt x="5249" y="2553"/>
                </a:lnTo>
                <a:lnTo>
                  <a:pt x="5246" y="2559"/>
                </a:lnTo>
                <a:lnTo>
                  <a:pt x="5242" y="2559"/>
                </a:lnTo>
                <a:lnTo>
                  <a:pt x="5241" y="2558"/>
                </a:lnTo>
                <a:lnTo>
                  <a:pt x="5241" y="2557"/>
                </a:lnTo>
                <a:lnTo>
                  <a:pt x="5239" y="2556"/>
                </a:lnTo>
                <a:lnTo>
                  <a:pt x="5237" y="2556"/>
                </a:lnTo>
                <a:lnTo>
                  <a:pt x="5236" y="2557"/>
                </a:lnTo>
                <a:lnTo>
                  <a:pt x="5235" y="2559"/>
                </a:lnTo>
                <a:lnTo>
                  <a:pt x="5233" y="2563"/>
                </a:lnTo>
                <a:lnTo>
                  <a:pt x="5231" y="2568"/>
                </a:lnTo>
                <a:lnTo>
                  <a:pt x="5230" y="2569"/>
                </a:lnTo>
                <a:lnTo>
                  <a:pt x="5229" y="2570"/>
                </a:lnTo>
                <a:lnTo>
                  <a:pt x="5228" y="2571"/>
                </a:lnTo>
                <a:lnTo>
                  <a:pt x="5226" y="2571"/>
                </a:lnTo>
                <a:lnTo>
                  <a:pt x="5223" y="2570"/>
                </a:lnTo>
                <a:lnTo>
                  <a:pt x="5220" y="2570"/>
                </a:lnTo>
                <a:lnTo>
                  <a:pt x="5218" y="2570"/>
                </a:lnTo>
                <a:lnTo>
                  <a:pt x="5215" y="2576"/>
                </a:lnTo>
                <a:lnTo>
                  <a:pt x="5210" y="2576"/>
                </a:lnTo>
                <a:lnTo>
                  <a:pt x="5205" y="2575"/>
                </a:lnTo>
                <a:lnTo>
                  <a:pt x="5201" y="2573"/>
                </a:lnTo>
                <a:lnTo>
                  <a:pt x="5199" y="2573"/>
                </a:lnTo>
                <a:lnTo>
                  <a:pt x="5198" y="2573"/>
                </a:lnTo>
                <a:lnTo>
                  <a:pt x="5197" y="2575"/>
                </a:lnTo>
                <a:lnTo>
                  <a:pt x="5196" y="2577"/>
                </a:lnTo>
                <a:lnTo>
                  <a:pt x="5196" y="2580"/>
                </a:lnTo>
                <a:lnTo>
                  <a:pt x="5195" y="2582"/>
                </a:lnTo>
                <a:lnTo>
                  <a:pt x="5193" y="2582"/>
                </a:lnTo>
                <a:lnTo>
                  <a:pt x="5190" y="2582"/>
                </a:lnTo>
                <a:lnTo>
                  <a:pt x="5187" y="2581"/>
                </a:lnTo>
                <a:lnTo>
                  <a:pt x="5184" y="2582"/>
                </a:lnTo>
                <a:lnTo>
                  <a:pt x="5184" y="2584"/>
                </a:lnTo>
                <a:lnTo>
                  <a:pt x="5180" y="2586"/>
                </a:lnTo>
                <a:lnTo>
                  <a:pt x="5177" y="2589"/>
                </a:lnTo>
                <a:lnTo>
                  <a:pt x="5171" y="2595"/>
                </a:lnTo>
                <a:lnTo>
                  <a:pt x="5165" y="2602"/>
                </a:lnTo>
                <a:lnTo>
                  <a:pt x="5162" y="2605"/>
                </a:lnTo>
                <a:lnTo>
                  <a:pt x="5159" y="2608"/>
                </a:lnTo>
                <a:lnTo>
                  <a:pt x="5150" y="2613"/>
                </a:lnTo>
                <a:lnTo>
                  <a:pt x="5151" y="2614"/>
                </a:lnTo>
                <a:lnTo>
                  <a:pt x="5149" y="2615"/>
                </a:lnTo>
                <a:lnTo>
                  <a:pt x="5145" y="2616"/>
                </a:lnTo>
                <a:lnTo>
                  <a:pt x="5147" y="2608"/>
                </a:lnTo>
                <a:lnTo>
                  <a:pt x="5145" y="2610"/>
                </a:lnTo>
                <a:lnTo>
                  <a:pt x="5143" y="2611"/>
                </a:lnTo>
                <a:lnTo>
                  <a:pt x="5142" y="2611"/>
                </a:lnTo>
                <a:lnTo>
                  <a:pt x="5143" y="2611"/>
                </a:lnTo>
                <a:lnTo>
                  <a:pt x="5143" y="2612"/>
                </a:lnTo>
                <a:lnTo>
                  <a:pt x="5142" y="2615"/>
                </a:lnTo>
                <a:lnTo>
                  <a:pt x="5139" y="2619"/>
                </a:lnTo>
                <a:lnTo>
                  <a:pt x="5139" y="2622"/>
                </a:lnTo>
                <a:lnTo>
                  <a:pt x="5140" y="2625"/>
                </a:lnTo>
                <a:lnTo>
                  <a:pt x="5141" y="2632"/>
                </a:lnTo>
                <a:lnTo>
                  <a:pt x="5143" y="2640"/>
                </a:lnTo>
                <a:lnTo>
                  <a:pt x="5143" y="2643"/>
                </a:lnTo>
                <a:lnTo>
                  <a:pt x="5142" y="2647"/>
                </a:lnTo>
                <a:lnTo>
                  <a:pt x="5141" y="2648"/>
                </a:lnTo>
                <a:lnTo>
                  <a:pt x="5140" y="2649"/>
                </a:lnTo>
                <a:lnTo>
                  <a:pt x="5136" y="2652"/>
                </a:lnTo>
                <a:lnTo>
                  <a:pt x="5133" y="2654"/>
                </a:lnTo>
                <a:lnTo>
                  <a:pt x="5131" y="2655"/>
                </a:lnTo>
                <a:lnTo>
                  <a:pt x="5131" y="2656"/>
                </a:lnTo>
                <a:lnTo>
                  <a:pt x="5131" y="2658"/>
                </a:lnTo>
                <a:lnTo>
                  <a:pt x="5132" y="2662"/>
                </a:lnTo>
                <a:lnTo>
                  <a:pt x="5134" y="2664"/>
                </a:lnTo>
                <a:lnTo>
                  <a:pt x="5135" y="2665"/>
                </a:lnTo>
                <a:lnTo>
                  <a:pt x="5136" y="2664"/>
                </a:lnTo>
                <a:lnTo>
                  <a:pt x="5136" y="2667"/>
                </a:lnTo>
                <a:lnTo>
                  <a:pt x="5139" y="2669"/>
                </a:lnTo>
                <a:lnTo>
                  <a:pt x="5141" y="2671"/>
                </a:lnTo>
                <a:lnTo>
                  <a:pt x="5144" y="2678"/>
                </a:lnTo>
                <a:lnTo>
                  <a:pt x="5146" y="2686"/>
                </a:lnTo>
                <a:lnTo>
                  <a:pt x="5147" y="2692"/>
                </a:lnTo>
                <a:lnTo>
                  <a:pt x="5147" y="2699"/>
                </a:lnTo>
                <a:lnTo>
                  <a:pt x="5147" y="2706"/>
                </a:lnTo>
                <a:lnTo>
                  <a:pt x="5145" y="2705"/>
                </a:lnTo>
                <a:lnTo>
                  <a:pt x="5144" y="2704"/>
                </a:lnTo>
                <a:lnTo>
                  <a:pt x="5139" y="2704"/>
                </a:lnTo>
                <a:lnTo>
                  <a:pt x="5139" y="2699"/>
                </a:lnTo>
                <a:lnTo>
                  <a:pt x="5139" y="2695"/>
                </a:lnTo>
                <a:lnTo>
                  <a:pt x="5138" y="2695"/>
                </a:lnTo>
                <a:lnTo>
                  <a:pt x="5137" y="2695"/>
                </a:lnTo>
                <a:lnTo>
                  <a:pt x="5136" y="2696"/>
                </a:lnTo>
                <a:lnTo>
                  <a:pt x="5136" y="2698"/>
                </a:lnTo>
                <a:lnTo>
                  <a:pt x="5136" y="2704"/>
                </a:lnTo>
                <a:lnTo>
                  <a:pt x="5145" y="2711"/>
                </a:lnTo>
                <a:lnTo>
                  <a:pt x="5147" y="2713"/>
                </a:lnTo>
                <a:lnTo>
                  <a:pt x="5148" y="2715"/>
                </a:lnTo>
                <a:lnTo>
                  <a:pt x="5149" y="2716"/>
                </a:lnTo>
                <a:lnTo>
                  <a:pt x="5149" y="2717"/>
                </a:lnTo>
                <a:lnTo>
                  <a:pt x="5146" y="2717"/>
                </a:lnTo>
                <a:lnTo>
                  <a:pt x="5138" y="2714"/>
                </a:lnTo>
                <a:lnTo>
                  <a:pt x="5133" y="2712"/>
                </a:lnTo>
                <a:lnTo>
                  <a:pt x="5133" y="2718"/>
                </a:lnTo>
                <a:lnTo>
                  <a:pt x="5135" y="2719"/>
                </a:lnTo>
                <a:lnTo>
                  <a:pt x="5137" y="2721"/>
                </a:lnTo>
                <a:lnTo>
                  <a:pt x="5143" y="2725"/>
                </a:lnTo>
                <a:lnTo>
                  <a:pt x="5147" y="2730"/>
                </a:lnTo>
                <a:lnTo>
                  <a:pt x="5149" y="2732"/>
                </a:lnTo>
                <a:lnTo>
                  <a:pt x="5150" y="2734"/>
                </a:lnTo>
                <a:lnTo>
                  <a:pt x="5151" y="2736"/>
                </a:lnTo>
                <a:lnTo>
                  <a:pt x="5151" y="2738"/>
                </a:lnTo>
                <a:lnTo>
                  <a:pt x="5150" y="2743"/>
                </a:lnTo>
                <a:lnTo>
                  <a:pt x="5150" y="2747"/>
                </a:lnTo>
                <a:lnTo>
                  <a:pt x="5150" y="2751"/>
                </a:lnTo>
                <a:lnTo>
                  <a:pt x="5151" y="2752"/>
                </a:lnTo>
                <a:lnTo>
                  <a:pt x="5152" y="2754"/>
                </a:lnTo>
                <a:lnTo>
                  <a:pt x="5156" y="2756"/>
                </a:lnTo>
                <a:lnTo>
                  <a:pt x="5159" y="2758"/>
                </a:lnTo>
                <a:lnTo>
                  <a:pt x="5162" y="2760"/>
                </a:lnTo>
                <a:close/>
                <a:moveTo>
                  <a:pt x="2939" y="755"/>
                </a:moveTo>
                <a:lnTo>
                  <a:pt x="2940" y="753"/>
                </a:lnTo>
                <a:lnTo>
                  <a:pt x="2942" y="751"/>
                </a:lnTo>
                <a:lnTo>
                  <a:pt x="2943" y="748"/>
                </a:lnTo>
                <a:lnTo>
                  <a:pt x="2944" y="746"/>
                </a:lnTo>
                <a:lnTo>
                  <a:pt x="2944" y="743"/>
                </a:lnTo>
                <a:lnTo>
                  <a:pt x="2944" y="741"/>
                </a:lnTo>
                <a:lnTo>
                  <a:pt x="2943" y="740"/>
                </a:lnTo>
                <a:lnTo>
                  <a:pt x="2942" y="739"/>
                </a:lnTo>
                <a:lnTo>
                  <a:pt x="2940" y="738"/>
                </a:lnTo>
                <a:lnTo>
                  <a:pt x="2939" y="738"/>
                </a:lnTo>
                <a:lnTo>
                  <a:pt x="2933" y="746"/>
                </a:lnTo>
                <a:lnTo>
                  <a:pt x="2934" y="745"/>
                </a:lnTo>
                <a:lnTo>
                  <a:pt x="2933" y="745"/>
                </a:lnTo>
                <a:lnTo>
                  <a:pt x="2932" y="744"/>
                </a:lnTo>
                <a:lnTo>
                  <a:pt x="2929" y="744"/>
                </a:lnTo>
                <a:lnTo>
                  <a:pt x="2924" y="743"/>
                </a:lnTo>
                <a:lnTo>
                  <a:pt x="2922" y="743"/>
                </a:lnTo>
                <a:lnTo>
                  <a:pt x="2922" y="748"/>
                </a:lnTo>
                <a:lnTo>
                  <a:pt x="2922" y="752"/>
                </a:lnTo>
                <a:lnTo>
                  <a:pt x="2919" y="753"/>
                </a:lnTo>
                <a:lnTo>
                  <a:pt x="2917" y="754"/>
                </a:lnTo>
                <a:lnTo>
                  <a:pt x="2916" y="754"/>
                </a:lnTo>
                <a:lnTo>
                  <a:pt x="2917" y="754"/>
                </a:lnTo>
                <a:lnTo>
                  <a:pt x="2922" y="755"/>
                </a:lnTo>
                <a:lnTo>
                  <a:pt x="2922" y="760"/>
                </a:lnTo>
                <a:lnTo>
                  <a:pt x="2916" y="760"/>
                </a:lnTo>
                <a:lnTo>
                  <a:pt x="2915" y="761"/>
                </a:lnTo>
                <a:lnTo>
                  <a:pt x="2914" y="763"/>
                </a:lnTo>
                <a:lnTo>
                  <a:pt x="2914" y="765"/>
                </a:lnTo>
                <a:lnTo>
                  <a:pt x="2912" y="767"/>
                </a:lnTo>
                <a:lnTo>
                  <a:pt x="2911" y="770"/>
                </a:lnTo>
                <a:lnTo>
                  <a:pt x="2908" y="771"/>
                </a:lnTo>
                <a:lnTo>
                  <a:pt x="2906" y="772"/>
                </a:lnTo>
                <a:lnTo>
                  <a:pt x="2904" y="772"/>
                </a:lnTo>
                <a:lnTo>
                  <a:pt x="2902" y="772"/>
                </a:lnTo>
                <a:lnTo>
                  <a:pt x="2899" y="772"/>
                </a:lnTo>
                <a:lnTo>
                  <a:pt x="2897" y="769"/>
                </a:lnTo>
                <a:lnTo>
                  <a:pt x="2895" y="767"/>
                </a:lnTo>
                <a:lnTo>
                  <a:pt x="2894" y="766"/>
                </a:lnTo>
                <a:lnTo>
                  <a:pt x="2894" y="768"/>
                </a:lnTo>
                <a:lnTo>
                  <a:pt x="2894" y="771"/>
                </a:lnTo>
                <a:lnTo>
                  <a:pt x="2894" y="777"/>
                </a:lnTo>
                <a:lnTo>
                  <a:pt x="2896" y="776"/>
                </a:lnTo>
                <a:lnTo>
                  <a:pt x="2898" y="777"/>
                </a:lnTo>
                <a:lnTo>
                  <a:pt x="2899" y="778"/>
                </a:lnTo>
                <a:lnTo>
                  <a:pt x="2899" y="779"/>
                </a:lnTo>
                <a:lnTo>
                  <a:pt x="2898" y="783"/>
                </a:lnTo>
                <a:lnTo>
                  <a:pt x="2898" y="784"/>
                </a:lnTo>
                <a:lnTo>
                  <a:pt x="2899" y="785"/>
                </a:lnTo>
                <a:lnTo>
                  <a:pt x="2899" y="786"/>
                </a:lnTo>
                <a:lnTo>
                  <a:pt x="2893" y="785"/>
                </a:lnTo>
                <a:lnTo>
                  <a:pt x="2890" y="785"/>
                </a:lnTo>
                <a:lnTo>
                  <a:pt x="2888" y="786"/>
                </a:lnTo>
                <a:lnTo>
                  <a:pt x="2888" y="788"/>
                </a:lnTo>
                <a:lnTo>
                  <a:pt x="2888" y="789"/>
                </a:lnTo>
                <a:lnTo>
                  <a:pt x="2887" y="790"/>
                </a:lnTo>
                <a:lnTo>
                  <a:pt x="2885" y="791"/>
                </a:lnTo>
                <a:lnTo>
                  <a:pt x="2887" y="795"/>
                </a:lnTo>
                <a:lnTo>
                  <a:pt x="2889" y="798"/>
                </a:lnTo>
                <a:lnTo>
                  <a:pt x="2891" y="800"/>
                </a:lnTo>
                <a:lnTo>
                  <a:pt x="2896" y="800"/>
                </a:lnTo>
                <a:lnTo>
                  <a:pt x="2905" y="800"/>
                </a:lnTo>
                <a:lnTo>
                  <a:pt x="2897" y="816"/>
                </a:lnTo>
                <a:lnTo>
                  <a:pt x="2894" y="824"/>
                </a:lnTo>
                <a:lnTo>
                  <a:pt x="2891" y="833"/>
                </a:lnTo>
                <a:lnTo>
                  <a:pt x="2888" y="834"/>
                </a:lnTo>
                <a:lnTo>
                  <a:pt x="2886" y="833"/>
                </a:lnTo>
                <a:lnTo>
                  <a:pt x="2883" y="833"/>
                </a:lnTo>
                <a:lnTo>
                  <a:pt x="2883" y="834"/>
                </a:lnTo>
                <a:lnTo>
                  <a:pt x="2885" y="839"/>
                </a:lnTo>
                <a:lnTo>
                  <a:pt x="2887" y="843"/>
                </a:lnTo>
                <a:lnTo>
                  <a:pt x="2887" y="844"/>
                </a:lnTo>
                <a:lnTo>
                  <a:pt x="2889" y="844"/>
                </a:lnTo>
                <a:lnTo>
                  <a:pt x="2894" y="845"/>
                </a:lnTo>
                <a:lnTo>
                  <a:pt x="2892" y="848"/>
                </a:lnTo>
                <a:lnTo>
                  <a:pt x="2891" y="849"/>
                </a:lnTo>
                <a:lnTo>
                  <a:pt x="2891" y="850"/>
                </a:lnTo>
                <a:lnTo>
                  <a:pt x="2896" y="850"/>
                </a:lnTo>
                <a:lnTo>
                  <a:pt x="2896" y="847"/>
                </a:lnTo>
                <a:lnTo>
                  <a:pt x="2898" y="848"/>
                </a:lnTo>
                <a:lnTo>
                  <a:pt x="2899" y="847"/>
                </a:lnTo>
                <a:lnTo>
                  <a:pt x="2900" y="846"/>
                </a:lnTo>
                <a:lnTo>
                  <a:pt x="2900" y="845"/>
                </a:lnTo>
                <a:lnTo>
                  <a:pt x="2901" y="844"/>
                </a:lnTo>
                <a:lnTo>
                  <a:pt x="2902" y="844"/>
                </a:lnTo>
                <a:lnTo>
                  <a:pt x="2905" y="845"/>
                </a:lnTo>
                <a:lnTo>
                  <a:pt x="2906" y="846"/>
                </a:lnTo>
                <a:lnTo>
                  <a:pt x="2906" y="849"/>
                </a:lnTo>
                <a:lnTo>
                  <a:pt x="2907" y="850"/>
                </a:lnTo>
                <a:lnTo>
                  <a:pt x="2908" y="851"/>
                </a:lnTo>
                <a:lnTo>
                  <a:pt x="2910" y="851"/>
                </a:lnTo>
                <a:lnTo>
                  <a:pt x="2913" y="850"/>
                </a:lnTo>
                <a:lnTo>
                  <a:pt x="2913" y="847"/>
                </a:lnTo>
                <a:lnTo>
                  <a:pt x="2915" y="846"/>
                </a:lnTo>
                <a:lnTo>
                  <a:pt x="2918" y="843"/>
                </a:lnTo>
                <a:lnTo>
                  <a:pt x="2922" y="839"/>
                </a:lnTo>
                <a:lnTo>
                  <a:pt x="2924" y="839"/>
                </a:lnTo>
                <a:lnTo>
                  <a:pt x="2927" y="839"/>
                </a:lnTo>
                <a:lnTo>
                  <a:pt x="2930" y="840"/>
                </a:lnTo>
                <a:lnTo>
                  <a:pt x="2932" y="839"/>
                </a:lnTo>
                <a:lnTo>
                  <a:pt x="2933" y="839"/>
                </a:lnTo>
                <a:lnTo>
                  <a:pt x="2933" y="835"/>
                </a:lnTo>
                <a:lnTo>
                  <a:pt x="2933" y="831"/>
                </a:lnTo>
                <a:lnTo>
                  <a:pt x="2935" y="830"/>
                </a:lnTo>
                <a:lnTo>
                  <a:pt x="2937" y="830"/>
                </a:lnTo>
                <a:lnTo>
                  <a:pt x="2941" y="831"/>
                </a:lnTo>
                <a:lnTo>
                  <a:pt x="2941" y="825"/>
                </a:lnTo>
                <a:lnTo>
                  <a:pt x="2942" y="825"/>
                </a:lnTo>
                <a:lnTo>
                  <a:pt x="2943" y="826"/>
                </a:lnTo>
                <a:lnTo>
                  <a:pt x="2945" y="827"/>
                </a:lnTo>
                <a:lnTo>
                  <a:pt x="2946" y="828"/>
                </a:lnTo>
                <a:lnTo>
                  <a:pt x="2947" y="829"/>
                </a:lnTo>
                <a:lnTo>
                  <a:pt x="2948" y="829"/>
                </a:lnTo>
                <a:lnTo>
                  <a:pt x="2950" y="828"/>
                </a:lnTo>
                <a:lnTo>
                  <a:pt x="2951" y="827"/>
                </a:lnTo>
                <a:lnTo>
                  <a:pt x="2950" y="826"/>
                </a:lnTo>
                <a:lnTo>
                  <a:pt x="2948" y="825"/>
                </a:lnTo>
                <a:lnTo>
                  <a:pt x="2946" y="824"/>
                </a:lnTo>
                <a:lnTo>
                  <a:pt x="2946" y="823"/>
                </a:lnTo>
                <a:lnTo>
                  <a:pt x="2947" y="822"/>
                </a:lnTo>
                <a:lnTo>
                  <a:pt x="2951" y="819"/>
                </a:lnTo>
                <a:lnTo>
                  <a:pt x="2952" y="818"/>
                </a:lnTo>
                <a:lnTo>
                  <a:pt x="2952" y="816"/>
                </a:lnTo>
                <a:lnTo>
                  <a:pt x="2953" y="814"/>
                </a:lnTo>
                <a:lnTo>
                  <a:pt x="2953" y="813"/>
                </a:lnTo>
                <a:lnTo>
                  <a:pt x="2952" y="809"/>
                </a:lnTo>
                <a:lnTo>
                  <a:pt x="2949" y="803"/>
                </a:lnTo>
                <a:lnTo>
                  <a:pt x="2948" y="800"/>
                </a:lnTo>
                <a:lnTo>
                  <a:pt x="2947" y="797"/>
                </a:lnTo>
                <a:lnTo>
                  <a:pt x="2947" y="794"/>
                </a:lnTo>
                <a:lnTo>
                  <a:pt x="2948" y="790"/>
                </a:lnTo>
                <a:lnTo>
                  <a:pt x="2949" y="785"/>
                </a:lnTo>
                <a:lnTo>
                  <a:pt x="2950" y="780"/>
                </a:lnTo>
                <a:lnTo>
                  <a:pt x="2952" y="778"/>
                </a:lnTo>
                <a:lnTo>
                  <a:pt x="2954" y="776"/>
                </a:lnTo>
                <a:lnTo>
                  <a:pt x="2956" y="773"/>
                </a:lnTo>
                <a:lnTo>
                  <a:pt x="2958" y="772"/>
                </a:lnTo>
                <a:lnTo>
                  <a:pt x="2961" y="771"/>
                </a:lnTo>
                <a:lnTo>
                  <a:pt x="2964" y="772"/>
                </a:lnTo>
                <a:lnTo>
                  <a:pt x="2967" y="772"/>
                </a:lnTo>
                <a:lnTo>
                  <a:pt x="2968" y="772"/>
                </a:lnTo>
                <a:lnTo>
                  <a:pt x="2969" y="772"/>
                </a:lnTo>
                <a:lnTo>
                  <a:pt x="2968" y="769"/>
                </a:lnTo>
                <a:lnTo>
                  <a:pt x="2967" y="769"/>
                </a:lnTo>
                <a:lnTo>
                  <a:pt x="2964" y="769"/>
                </a:lnTo>
                <a:lnTo>
                  <a:pt x="2964" y="763"/>
                </a:lnTo>
                <a:lnTo>
                  <a:pt x="2964" y="757"/>
                </a:lnTo>
                <a:lnTo>
                  <a:pt x="2958" y="757"/>
                </a:lnTo>
                <a:lnTo>
                  <a:pt x="2958" y="756"/>
                </a:lnTo>
                <a:lnTo>
                  <a:pt x="2959" y="754"/>
                </a:lnTo>
                <a:lnTo>
                  <a:pt x="2960" y="752"/>
                </a:lnTo>
                <a:lnTo>
                  <a:pt x="2961" y="750"/>
                </a:lnTo>
                <a:lnTo>
                  <a:pt x="2962" y="748"/>
                </a:lnTo>
                <a:lnTo>
                  <a:pt x="2960" y="747"/>
                </a:lnTo>
                <a:lnTo>
                  <a:pt x="2958" y="746"/>
                </a:lnTo>
                <a:lnTo>
                  <a:pt x="2953" y="746"/>
                </a:lnTo>
                <a:lnTo>
                  <a:pt x="2950" y="747"/>
                </a:lnTo>
                <a:lnTo>
                  <a:pt x="2946" y="750"/>
                </a:lnTo>
                <a:lnTo>
                  <a:pt x="2942" y="753"/>
                </a:lnTo>
                <a:lnTo>
                  <a:pt x="2939" y="755"/>
                </a:lnTo>
                <a:close/>
                <a:moveTo>
                  <a:pt x="6203" y="3069"/>
                </a:moveTo>
                <a:lnTo>
                  <a:pt x="6201" y="3071"/>
                </a:lnTo>
                <a:lnTo>
                  <a:pt x="6199" y="3074"/>
                </a:lnTo>
                <a:lnTo>
                  <a:pt x="6195" y="3078"/>
                </a:lnTo>
                <a:lnTo>
                  <a:pt x="6194" y="3082"/>
                </a:lnTo>
                <a:lnTo>
                  <a:pt x="6195" y="3088"/>
                </a:lnTo>
                <a:lnTo>
                  <a:pt x="6195" y="3093"/>
                </a:lnTo>
                <a:lnTo>
                  <a:pt x="6195" y="3095"/>
                </a:lnTo>
                <a:lnTo>
                  <a:pt x="6195" y="3097"/>
                </a:lnTo>
                <a:lnTo>
                  <a:pt x="6193" y="3099"/>
                </a:lnTo>
                <a:lnTo>
                  <a:pt x="6191" y="3100"/>
                </a:lnTo>
                <a:lnTo>
                  <a:pt x="6188" y="3102"/>
                </a:lnTo>
                <a:lnTo>
                  <a:pt x="6186" y="3103"/>
                </a:lnTo>
                <a:lnTo>
                  <a:pt x="6186" y="3104"/>
                </a:lnTo>
                <a:lnTo>
                  <a:pt x="6186" y="3105"/>
                </a:lnTo>
                <a:lnTo>
                  <a:pt x="6186" y="3107"/>
                </a:lnTo>
                <a:lnTo>
                  <a:pt x="6187" y="3109"/>
                </a:lnTo>
                <a:lnTo>
                  <a:pt x="6186" y="3111"/>
                </a:lnTo>
                <a:lnTo>
                  <a:pt x="6185" y="3112"/>
                </a:lnTo>
                <a:lnTo>
                  <a:pt x="6183" y="3113"/>
                </a:lnTo>
                <a:lnTo>
                  <a:pt x="6182" y="3113"/>
                </a:lnTo>
                <a:lnTo>
                  <a:pt x="6181" y="3114"/>
                </a:lnTo>
                <a:lnTo>
                  <a:pt x="6176" y="3126"/>
                </a:lnTo>
                <a:lnTo>
                  <a:pt x="6171" y="3137"/>
                </a:lnTo>
                <a:lnTo>
                  <a:pt x="6168" y="3142"/>
                </a:lnTo>
                <a:lnTo>
                  <a:pt x="6164" y="3146"/>
                </a:lnTo>
                <a:lnTo>
                  <a:pt x="6160" y="3150"/>
                </a:lnTo>
                <a:lnTo>
                  <a:pt x="6155" y="3154"/>
                </a:lnTo>
                <a:lnTo>
                  <a:pt x="6150" y="3156"/>
                </a:lnTo>
                <a:lnTo>
                  <a:pt x="6143" y="3158"/>
                </a:lnTo>
                <a:lnTo>
                  <a:pt x="6136" y="3160"/>
                </a:lnTo>
                <a:lnTo>
                  <a:pt x="6130" y="3162"/>
                </a:lnTo>
                <a:lnTo>
                  <a:pt x="6129" y="3164"/>
                </a:lnTo>
                <a:lnTo>
                  <a:pt x="6128" y="3166"/>
                </a:lnTo>
                <a:lnTo>
                  <a:pt x="6128" y="3168"/>
                </a:lnTo>
                <a:lnTo>
                  <a:pt x="6128" y="3169"/>
                </a:lnTo>
                <a:lnTo>
                  <a:pt x="6127" y="3171"/>
                </a:lnTo>
                <a:lnTo>
                  <a:pt x="6122" y="3171"/>
                </a:lnTo>
                <a:lnTo>
                  <a:pt x="6122" y="3176"/>
                </a:lnTo>
                <a:lnTo>
                  <a:pt x="6121" y="3177"/>
                </a:lnTo>
                <a:lnTo>
                  <a:pt x="6120" y="3177"/>
                </a:lnTo>
                <a:lnTo>
                  <a:pt x="6117" y="3176"/>
                </a:lnTo>
                <a:lnTo>
                  <a:pt x="6115" y="3176"/>
                </a:lnTo>
                <a:lnTo>
                  <a:pt x="6113" y="3176"/>
                </a:lnTo>
                <a:lnTo>
                  <a:pt x="6112" y="3177"/>
                </a:lnTo>
                <a:lnTo>
                  <a:pt x="6111" y="3178"/>
                </a:lnTo>
                <a:lnTo>
                  <a:pt x="6110" y="3178"/>
                </a:lnTo>
                <a:lnTo>
                  <a:pt x="6108" y="3182"/>
                </a:lnTo>
                <a:lnTo>
                  <a:pt x="6107" y="3186"/>
                </a:lnTo>
                <a:lnTo>
                  <a:pt x="6105" y="3190"/>
                </a:lnTo>
                <a:lnTo>
                  <a:pt x="6099" y="3190"/>
                </a:lnTo>
                <a:lnTo>
                  <a:pt x="6098" y="3199"/>
                </a:lnTo>
                <a:lnTo>
                  <a:pt x="6097" y="3203"/>
                </a:lnTo>
                <a:lnTo>
                  <a:pt x="6096" y="3207"/>
                </a:lnTo>
                <a:lnTo>
                  <a:pt x="6095" y="3207"/>
                </a:lnTo>
                <a:lnTo>
                  <a:pt x="6095" y="3208"/>
                </a:lnTo>
                <a:lnTo>
                  <a:pt x="6094" y="3211"/>
                </a:lnTo>
                <a:lnTo>
                  <a:pt x="6095" y="3215"/>
                </a:lnTo>
                <a:lnTo>
                  <a:pt x="6095" y="3217"/>
                </a:lnTo>
                <a:lnTo>
                  <a:pt x="6096" y="3218"/>
                </a:lnTo>
                <a:lnTo>
                  <a:pt x="6099" y="3220"/>
                </a:lnTo>
                <a:lnTo>
                  <a:pt x="6102" y="3220"/>
                </a:lnTo>
                <a:lnTo>
                  <a:pt x="6107" y="3220"/>
                </a:lnTo>
                <a:lnTo>
                  <a:pt x="6111" y="3218"/>
                </a:lnTo>
                <a:lnTo>
                  <a:pt x="6113" y="3218"/>
                </a:lnTo>
                <a:lnTo>
                  <a:pt x="6116" y="3218"/>
                </a:lnTo>
                <a:lnTo>
                  <a:pt x="6119" y="3227"/>
                </a:lnTo>
                <a:lnTo>
                  <a:pt x="6130" y="3229"/>
                </a:lnTo>
                <a:lnTo>
                  <a:pt x="6135" y="3230"/>
                </a:lnTo>
                <a:lnTo>
                  <a:pt x="6139" y="3230"/>
                </a:lnTo>
                <a:lnTo>
                  <a:pt x="6143" y="3230"/>
                </a:lnTo>
                <a:lnTo>
                  <a:pt x="6147" y="3230"/>
                </a:lnTo>
                <a:lnTo>
                  <a:pt x="6149" y="3229"/>
                </a:lnTo>
                <a:lnTo>
                  <a:pt x="6150" y="3227"/>
                </a:lnTo>
                <a:lnTo>
                  <a:pt x="6155" y="3223"/>
                </a:lnTo>
                <a:lnTo>
                  <a:pt x="6160" y="3217"/>
                </a:lnTo>
                <a:lnTo>
                  <a:pt x="6165" y="3210"/>
                </a:lnTo>
                <a:lnTo>
                  <a:pt x="6173" y="3195"/>
                </a:lnTo>
                <a:lnTo>
                  <a:pt x="6176" y="3189"/>
                </a:lnTo>
                <a:lnTo>
                  <a:pt x="6178" y="3185"/>
                </a:lnTo>
                <a:lnTo>
                  <a:pt x="6178" y="3181"/>
                </a:lnTo>
                <a:lnTo>
                  <a:pt x="6177" y="3177"/>
                </a:lnTo>
                <a:lnTo>
                  <a:pt x="6177" y="3173"/>
                </a:lnTo>
                <a:lnTo>
                  <a:pt x="6177" y="3172"/>
                </a:lnTo>
                <a:lnTo>
                  <a:pt x="6178" y="3171"/>
                </a:lnTo>
                <a:lnTo>
                  <a:pt x="6180" y="3169"/>
                </a:lnTo>
                <a:lnTo>
                  <a:pt x="6183" y="3167"/>
                </a:lnTo>
                <a:lnTo>
                  <a:pt x="6192" y="3164"/>
                </a:lnTo>
                <a:lnTo>
                  <a:pt x="6202" y="3162"/>
                </a:lnTo>
                <a:lnTo>
                  <a:pt x="6209" y="3159"/>
                </a:lnTo>
                <a:lnTo>
                  <a:pt x="6209" y="3155"/>
                </a:lnTo>
                <a:lnTo>
                  <a:pt x="6207" y="3151"/>
                </a:lnTo>
                <a:lnTo>
                  <a:pt x="6206" y="3148"/>
                </a:lnTo>
                <a:lnTo>
                  <a:pt x="6206" y="3146"/>
                </a:lnTo>
                <a:lnTo>
                  <a:pt x="6206" y="3145"/>
                </a:lnTo>
                <a:lnTo>
                  <a:pt x="6221" y="3128"/>
                </a:lnTo>
                <a:lnTo>
                  <a:pt x="6232" y="3116"/>
                </a:lnTo>
                <a:lnTo>
                  <a:pt x="6235" y="3111"/>
                </a:lnTo>
                <a:lnTo>
                  <a:pt x="6237" y="3109"/>
                </a:lnTo>
                <a:lnTo>
                  <a:pt x="6237" y="3104"/>
                </a:lnTo>
                <a:lnTo>
                  <a:pt x="6237" y="3098"/>
                </a:lnTo>
                <a:lnTo>
                  <a:pt x="6237" y="3091"/>
                </a:lnTo>
                <a:lnTo>
                  <a:pt x="6237" y="3083"/>
                </a:lnTo>
                <a:lnTo>
                  <a:pt x="6234" y="3083"/>
                </a:lnTo>
                <a:lnTo>
                  <a:pt x="6234" y="3084"/>
                </a:lnTo>
                <a:lnTo>
                  <a:pt x="6234" y="3085"/>
                </a:lnTo>
                <a:lnTo>
                  <a:pt x="6234" y="3087"/>
                </a:lnTo>
                <a:lnTo>
                  <a:pt x="6234" y="3089"/>
                </a:lnTo>
                <a:lnTo>
                  <a:pt x="6231" y="3087"/>
                </a:lnTo>
                <a:lnTo>
                  <a:pt x="6229" y="3087"/>
                </a:lnTo>
                <a:lnTo>
                  <a:pt x="6228" y="3086"/>
                </a:lnTo>
                <a:lnTo>
                  <a:pt x="6227" y="3083"/>
                </a:lnTo>
                <a:lnTo>
                  <a:pt x="6226" y="3081"/>
                </a:lnTo>
                <a:lnTo>
                  <a:pt x="6223" y="3084"/>
                </a:lnTo>
                <a:lnTo>
                  <a:pt x="6222" y="3087"/>
                </a:lnTo>
                <a:lnTo>
                  <a:pt x="6222" y="3088"/>
                </a:lnTo>
                <a:lnTo>
                  <a:pt x="6223" y="3089"/>
                </a:lnTo>
                <a:lnTo>
                  <a:pt x="6219" y="3089"/>
                </a:lnTo>
                <a:lnTo>
                  <a:pt x="6214" y="3089"/>
                </a:lnTo>
                <a:lnTo>
                  <a:pt x="6213" y="3083"/>
                </a:lnTo>
                <a:lnTo>
                  <a:pt x="6212" y="3077"/>
                </a:lnTo>
                <a:lnTo>
                  <a:pt x="6212" y="3069"/>
                </a:lnTo>
                <a:lnTo>
                  <a:pt x="6207" y="3069"/>
                </a:lnTo>
                <a:lnTo>
                  <a:pt x="6203" y="3069"/>
                </a:lnTo>
                <a:close/>
                <a:moveTo>
                  <a:pt x="5696" y="3066"/>
                </a:moveTo>
                <a:lnTo>
                  <a:pt x="5696" y="3069"/>
                </a:lnTo>
                <a:lnTo>
                  <a:pt x="5695" y="3072"/>
                </a:lnTo>
                <a:lnTo>
                  <a:pt x="5693" y="3075"/>
                </a:lnTo>
                <a:lnTo>
                  <a:pt x="5695" y="3076"/>
                </a:lnTo>
                <a:lnTo>
                  <a:pt x="5696" y="3077"/>
                </a:lnTo>
                <a:lnTo>
                  <a:pt x="5698" y="3080"/>
                </a:lnTo>
                <a:lnTo>
                  <a:pt x="5699" y="3084"/>
                </a:lnTo>
                <a:lnTo>
                  <a:pt x="5701" y="3088"/>
                </a:lnTo>
                <a:lnTo>
                  <a:pt x="5703" y="3097"/>
                </a:lnTo>
                <a:lnTo>
                  <a:pt x="5705" y="3100"/>
                </a:lnTo>
                <a:lnTo>
                  <a:pt x="5706" y="3102"/>
                </a:lnTo>
                <a:lnTo>
                  <a:pt x="5707" y="3103"/>
                </a:lnTo>
                <a:lnTo>
                  <a:pt x="5709" y="3104"/>
                </a:lnTo>
                <a:lnTo>
                  <a:pt x="5711" y="3104"/>
                </a:lnTo>
                <a:lnTo>
                  <a:pt x="5714" y="3105"/>
                </a:lnTo>
                <a:lnTo>
                  <a:pt x="5717" y="3106"/>
                </a:lnTo>
                <a:lnTo>
                  <a:pt x="5713" y="3108"/>
                </a:lnTo>
                <a:lnTo>
                  <a:pt x="5711" y="3110"/>
                </a:lnTo>
                <a:lnTo>
                  <a:pt x="5710" y="3112"/>
                </a:lnTo>
                <a:lnTo>
                  <a:pt x="5710" y="3114"/>
                </a:lnTo>
                <a:lnTo>
                  <a:pt x="5710" y="3118"/>
                </a:lnTo>
                <a:lnTo>
                  <a:pt x="5713" y="3121"/>
                </a:lnTo>
                <a:lnTo>
                  <a:pt x="5720" y="3128"/>
                </a:lnTo>
                <a:lnTo>
                  <a:pt x="5723" y="3131"/>
                </a:lnTo>
                <a:lnTo>
                  <a:pt x="5724" y="3132"/>
                </a:lnTo>
                <a:lnTo>
                  <a:pt x="5725" y="3134"/>
                </a:lnTo>
                <a:lnTo>
                  <a:pt x="5725" y="3140"/>
                </a:lnTo>
                <a:lnTo>
                  <a:pt x="5730" y="3142"/>
                </a:lnTo>
                <a:lnTo>
                  <a:pt x="5733" y="3142"/>
                </a:lnTo>
                <a:lnTo>
                  <a:pt x="5735" y="3142"/>
                </a:lnTo>
                <a:lnTo>
                  <a:pt x="5736" y="3142"/>
                </a:lnTo>
                <a:lnTo>
                  <a:pt x="5738" y="3141"/>
                </a:lnTo>
                <a:lnTo>
                  <a:pt x="5741" y="3139"/>
                </a:lnTo>
                <a:lnTo>
                  <a:pt x="5743" y="3136"/>
                </a:lnTo>
                <a:lnTo>
                  <a:pt x="5744" y="3133"/>
                </a:lnTo>
                <a:lnTo>
                  <a:pt x="5748" y="3126"/>
                </a:lnTo>
                <a:lnTo>
                  <a:pt x="5749" y="3127"/>
                </a:lnTo>
                <a:lnTo>
                  <a:pt x="5751" y="3129"/>
                </a:lnTo>
                <a:lnTo>
                  <a:pt x="5753" y="3131"/>
                </a:lnTo>
                <a:lnTo>
                  <a:pt x="5754" y="3132"/>
                </a:lnTo>
                <a:lnTo>
                  <a:pt x="5755" y="3133"/>
                </a:lnTo>
                <a:lnTo>
                  <a:pt x="5757" y="3132"/>
                </a:lnTo>
                <a:lnTo>
                  <a:pt x="5759" y="3131"/>
                </a:lnTo>
                <a:lnTo>
                  <a:pt x="5759" y="3126"/>
                </a:lnTo>
                <a:lnTo>
                  <a:pt x="5758" y="3125"/>
                </a:lnTo>
                <a:lnTo>
                  <a:pt x="5757" y="3122"/>
                </a:lnTo>
                <a:lnTo>
                  <a:pt x="5756" y="3118"/>
                </a:lnTo>
                <a:lnTo>
                  <a:pt x="5756" y="3114"/>
                </a:lnTo>
                <a:lnTo>
                  <a:pt x="5759" y="3103"/>
                </a:lnTo>
                <a:lnTo>
                  <a:pt x="5764" y="3103"/>
                </a:lnTo>
                <a:lnTo>
                  <a:pt x="5765" y="3099"/>
                </a:lnTo>
                <a:lnTo>
                  <a:pt x="5765" y="3095"/>
                </a:lnTo>
                <a:lnTo>
                  <a:pt x="5765" y="3087"/>
                </a:lnTo>
                <a:lnTo>
                  <a:pt x="5762" y="3072"/>
                </a:lnTo>
                <a:lnTo>
                  <a:pt x="5757" y="3074"/>
                </a:lnTo>
                <a:lnTo>
                  <a:pt x="5752" y="3076"/>
                </a:lnTo>
                <a:lnTo>
                  <a:pt x="5748" y="3077"/>
                </a:lnTo>
                <a:lnTo>
                  <a:pt x="5743" y="3078"/>
                </a:lnTo>
                <a:lnTo>
                  <a:pt x="5740" y="3078"/>
                </a:lnTo>
                <a:lnTo>
                  <a:pt x="5736" y="3078"/>
                </a:lnTo>
                <a:lnTo>
                  <a:pt x="5729" y="3077"/>
                </a:lnTo>
                <a:lnTo>
                  <a:pt x="5722" y="3075"/>
                </a:lnTo>
                <a:lnTo>
                  <a:pt x="5714" y="3073"/>
                </a:lnTo>
                <a:lnTo>
                  <a:pt x="5705" y="3070"/>
                </a:lnTo>
                <a:lnTo>
                  <a:pt x="5696" y="3066"/>
                </a:lnTo>
                <a:close/>
                <a:moveTo>
                  <a:pt x="6209" y="2915"/>
                </a:moveTo>
                <a:lnTo>
                  <a:pt x="6209" y="2916"/>
                </a:lnTo>
                <a:lnTo>
                  <a:pt x="6207" y="2918"/>
                </a:lnTo>
                <a:lnTo>
                  <a:pt x="6206" y="2919"/>
                </a:lnTo>
                <a:lnTo>
                  <a:pt x="6205" y="2920"/>
                </a:lnTo>
                <a:lnTo>
                  <a:pt x="6206" y="2920"/>
                </a:lnTo>
                <a:lnTo>
                  <a:pt x="6210" y="2923"/>
                </a:lnTo>
                <a:lnTo>
                  <a:pt x="6212" y="2926"/>
                </a:lnTo>
                <a:lnTo>
                  <a:pt x="6214" y="2929"/>
                </a:lnTo>
                <a:lnTo>
                  <a:pt x="6216" y="2932"/>
                </a:lnTo>
                <a:lnTo>
                  <a:pt x="6219" y="2940"/>
                </a:lnTo>
                <a:lnTo>
                  <a:pt x="6223" y="2948"/>
                </a:lnTo>
                <a:lnTo>
                  <a:pt x="6226" y="2951"/>
                </a:lnTo>
                <a:lnTo>
                  <a:pt x="6229" y="2955"/>
                </a:lnTo>
                <a:lnTo>
                  <a:pt x="6233" y="2958"/>
                </a:lnTo>
                <a:lnTo>
                  <a:pt x="6234" y="2960"/>
                </a:lnTo>
                <a:lnTo>
                  <a:pt x="6234" y="2962"/>
                </a:lnTo>
                <a:lnTo>
                  <a:pt x="6234" y="2965"/>
                </a:lnTo>
                <a:lnTo>
                  <a:pt x="6240" y="2965"/>
                </a:lnTo>
                <a:lnTo>
                  <a:pt x="6240" y="2968"/>
                </a:lnTo>
                <a:lnTo>
                  <a:pt x="6240" y="2970"/>
                </a:lnTo>
                <a:lnTo>
                  <a:pt x="6240" y="2971"/>
                </a:lnTo>
                <a:lnTo>
                  <a:pt x="6239" y="2972"/>
                </a:lnTo>
                <a:lnTo>
                  <a:pt x="6237" y="2975"/>
                </a:lnTo>
                <a:lnTo>
                  <a:pt x="6237" y="2977"/>
                </a:lnTo>
                <a:lnTo>
                  <a:pt x="6237" y="2979"/>
                </a:lnTo>
                <a:lnTo>
                  <a:pt x="6237" y="2980"/>
                </a:lnTo>
                <a:lnTo>
                  <a:pt x="6238" y="2981"/>
                </a:lnTo>
                <a:lnTo>
                  <a:pt x="6241" y="2983"/>
                </a:lnTo>
                <a:lnTo>
                  <a:pt x="6245" y="2985"/>
                </a:lnTo>
                <a:lnTo>
                  <a:pt x="6246" y="2986"/>
                </a:lnTo>
                <a:lnTo>
                  <a:pt x="6245" y="2988"/>
                </a:lnTo>
                <a:lnTo>
                  <a:pt x="6244" y="2990"/>
                </a:lnTo>
                <a:lnTo>
                  <a:pt x="6243" y="2992"/>
                </a:lnTo>
                <a:lnTo>
                  <a:pt x="6242" y="2993"/>
                </a:lnTo>
                <a:lnTo>
                  <a:pt x="6243" y="2993"/>
                </a:lnTo>
                <a:lnTo>
                  <a:pt x="6244" y="2994"/>
                </a:lnTo>
                <a:lnTo>
                  <a:pt x="6245" y="2996"/>
                </a:lnTo>
                <a:lnTo>
                  <a:pt x="6246" y="3000"/>
                </a:lnTo>
                <a:lnTo>
                  <a:pt x="6246" y="3006"/>
                </a:lnTo>
                <a:lnTo>
                  <a:pt x="6246" y="3012"/>
                </a:lnTo>
                <a:lnTo>
                  <a:pt x="6245" y="3018"/>
                </a:lnTo>
                <a:lnTo>
                  <a:pt x="6243" y="3024"/>
                </a:lnTo>
                <a:lnTo>
                  <a:pt x="6242" y="3029"/>
                </a:lnTo>
                <a:lnTo>
                  <a:pt x="6241" y="3031"/>
                </a:lnTo>
                <a:lnTo>
                  <a:pt x="6240" y="3033"/>
                </a:lnTo>
                <a:lnTo>
                  <a:pt x="6226" y="3041"/>
                </a:lnTo>
                <a:lnTo>
                  <a:pt x="6235" y="3046"/>
                </a:lnTo>
                <a:lnTo>
                  <a:pt x="6240" y="3050"/>
                </a:lnTo>
                <a:lnTo>
                  <a:pt x="6242" y="3051"/>
                </a:lnTo>
                <a:lnTo>
                  <a:pt x="6245" y="3053"/>
                </a:lnTo>
                <a:lnTo>
                  <a:pt x="6249" y="3058"/>
                </a:lnTo>
                <a:lnTo>
                  <a:pt x="6251" y="3060"/>
                </a:lnTo>
                <a:lnTo>
                  <a:pt x="6253" y="3063"/>
                </a:lnTo>
                <a:lnTo>
                  <a:pt x="6254" y="3065"/>
                </a:lnTo>
                <a:lnTo>
                  <a:pt x="6254" y="3068"/>
                </a:lnTo>
                <a:lnTo>
                  <a:pt x="6254" y="3071"/>
                </a:lnTo>
                <a:lnTo>
                  <a:pt x="6254" y="3075"/>
                </a:lnTo>
                <a:lnTo>
                  <a:pt x="6248" y="3081"/>
                </a:lnTo>
                <a:lnTo>
                  <a:pt x="6248" y="3086"/>
                </a:lnTo>
                <a:lnTo>
                  <a:pt x="6248" y="3092"/>
                </a:lnTo>
                <a:lnTo>
                  <a:pt x="6258" y="3094"/>
                </a:lnTo>
                <a:lnTo>
                  <a:pt x="6264" y="3095"/>
                </a:lnTo>
                <a:lnTo>
                  <a:pt x="6266" y="3095"/>
                </a:lnTo>
                <a:lnTo>
                  <a:pt x="6268" y="3094"/>
                </a:lnTo>
                <a:lnTo>
                  <a:pt x="6270" y="3092"/>
                </a:lnTo>
                <a:lnTo>
                  <a:pt x="6272" y="3088"/>
                </a:lnTo>
                <a:lnTo>
                  <a:pt x="6273" y="3083"/>
                </a:lnTo>
                <a:lnTo>
                  <a:pt x="6276" y="3077"/>
                </a:lnTo>
                <a:lnTo>
                  <a:pt x="6279" y="3069"/>
                </a:lnTo>
                <a:lnTo>
                  <a:pt x="6281" y="3067"/>
                </a:lnTo>
                <a:lnTo>
                  <a:pt x="6285" y="3065"/>
                </a:lnTo>
                <a:lnTo>
                  <a:pt x="6287" y="3063"/>
                </a:lnTo>
                <a:lnTo>
                  <a:pt x="6289" y="3061"/>
                </a:lnTo>
                <a:lnTo>
                  <a:pt x="6290" y="3058"/>
                </a:lnTo>
                <a:lnTo>
                  <a:pt x="6290" y="3055"/>
                </a:lnTo>
                <a:lnTo>
                  <a:pt x="6290" y="3052"/>
                </a:lnTo>
                <a:lnTo>
                  <a:pt x="6289" y="3050"/>
                </a:lnTo>
                <a:lnTo>
                  <a:pt x="6288" y="3048"/>
                </a:lnTo>
                <a:lnTo>
                  <a:pt x="6288" y="3047"/>
                </a:lnTo>
                <a:lnTo>
                  <a:pt x="6289" y="3044"/>
                </a:lnTo>
                <a:lnTo>
                  <a:pt x="6292" y="3042"/>
                </a:lnTo>
                <a:lnTo>
                  <a:pt x="6296" y="3041"/>
                </a:lnTo>
                <a:lnTo>
                  <a:pt x="6302" y="3039"/>
                </a:lnTo>
                <a:lnTo>
                  <a:pt x="6307" y="3044"/>
                </a:lnTo>
                <a:lnTo>
                  <a:pt x="6307" y="3040"/>
                </a:lnTo>
                <a:lnTo>
                  <a:pt x="6306" y="3037"/>
                </a:lnTo>
                <a:lnTo>
                  <a:pt x="6305" y="3035"/>
                </a:lnTo>
                <a:lnTo>
                  <a:pt x="6304" y="3034"/>
                </a:lnTo>
                <a:lnTo>
                  <a:pt x="6304" y="3033"/>
                </a:lnTo>
                <a:lnTo>
                  <a:pt x="6305" y="3031"/>
                </a:lnTo>
                <a:lnTo>
                  <a:pt x="6306" y="3029"/>
                </a:lnTo>
                <a:lnTo>
                  <a:pt x="6310" y="3024"/>
                </a:lnTo>
                <a:lnTo>
                  <a:pt x="6314" y="3020"/>
                </a:lnTo>
                <a:lnTo>
                  <a:pt x="6316" y="3016"/>
                </a:lnTo>
                <a:lnTo>
                  <a:pt x="6316" y="3013"/>
                </a:lnTo>
                <a:lnTo>
                  <a:pt x="6316" y="3010"/>
                </a:lnTo>
                <a:lnTo>
                  <a:pt x="6315" y="3007"/>
                </a:lnTo>
                <a:lnTo>
                  <a:pt x="6316" y="3005"/>
                </a:lnTo>
                <a:lnTo>
                  <a:pt x="6313" y="3005"/>
                </a:lnTo>
                <a:lnTo>
                  <a:pt x="6312" y="3005"/>
                </a:lnTo>
                <a:lnTo>
                  <a:pt x="6311" y="3004"/>
                </a:lnTo>
                <a:lnTo>
                  <a:pt x="6310" y="3002"/>
                </a:lnTo>
                <a:lnTo>
                  <a:pt x="6309" y="3002"/>
                </a:lnTo>
                <a:lnTo>
                  <a:pt x="6307" y="3002"/>
                </a:lnTo>
                <a:lnTo>
                  <a:pt x="6305" y="3003"/>
                </a:lnTo>
                <a:lnTo>
                  <a:pt x="6303" y="3006"/>
                </a:lnTo>
                <a:lnTo>
                  <a:pt x="6299" y="3010"/>
                </a:lnTo>
                <a:lnTo>
                  <a:pt x="6295" y="3011"/>
                </a:lnTo>
                <a:lnTo>
                  <a:pt x="6291" y="3011"/>
                </a:lnTo>
                <a:lnTo>
                  <a:pt x="6288" y="3011"/>
                </a:lnTo>
                <a:lnTo>
                  <a:pt x="6284" y="3009"/>
                </a:lnTo>
                <a:lnTo>
                  <a:pt x="6277" y="3005"/>
                </a:lnTo>
                <a:lnTo>
                  <a:pt x="6271" y="3002"/>
                </a:lnTo>
                <a:lnTo>
                  <a:pt x="6271" y="2992"/>
                </a:lnTo>
                <a:lnTo>
                  <a:pt x="6271" y="2982"/>
                </a:lnTo>
                <a:lnTo>
                  <a:pt x="6268" y="2981"/>
                </a:lnTo>
                <a:lnTo>
                  <a:pt x="6266" y="2980"/>
                </a:lnTo>
                <a:lnTo>
                  <a:pt x="6266" y="2979"/>
                </a:lnTo>
                <a:lnTo>
                  <a:pt x="6266" y="2978"/>
                </a:lnTo>
                <a:lnTo>
                  <a:pt x="6267" y="2977"/>
                </a:lnTo>
                <a:lnTo>
                  <a:pt x="6266" y="2975"/>
                </a:lnTo>
                <a:lnTo>
                  <a:pt x="6265" y="2974"/>
                </a:lnTo>
                <a:lnTo>
                  <a:pt x="6261" y="2982"/>
                </a:lnTo>
                <a:lnTo>
                  <a:pt x="6259" y="2984"/>
                </a:lnTo>
                <a:lnTo>
                  <a:pt x="6257" y="2985"/>
                </a:lnTo>
                <a:lnTo>
                  <a:pt x="6254" y="2984"/>
                </a:lnTo>
                <a:lnTo>
                  <a:pt x="6252" y="2983"/>
                </a:lnTo>
                <a:lnTo>
                  <a:pt x="6251" y="2982"/>
                </a:lnTo>
                <a:lnTo>
                  <a:pt x="6250" y="2980"/>
                </a:lnTo>
                <a:lnTo>
                  <a:pt x="6249" y="2978"/>
                </a:lnTo>
                <a:lnTo>
                  <a:pt x="6248" y="2975"/>
                </a:lnTo>
                <a:lnTo>
                  <a:pt x="6248" y="2970"/>
                </a:lnTo>
                <a:lnTo>
                  <a:pt x="6248" y="2956"/>
                </a:lnTo>
                <a:lnTo>
                  <a:pt x="6247" y="2949"/>
                </a:lnTo>
                <a:lnTo>
                  <a:pt x="6246" y="2946"/>
                </a:lnTo>
                <a:lnTo>
                  <a:pt x="6245" y="2943"/>
                </a:lnTo>
                <a:lnTo>
                  <a:pt x="6237" y="2943"/>
                </a:lnTo>
                <a:lnTo>
                  <a:pt x="6237" y="2942"/>
                </a:lnTo>
                <a:lnTo>
                  <a:pt x="6238" y="2940"/>
                </a:lnTo>
                <a:lnTo>
                  <a:pt x="6240" y="2937"/>
                </a:lnTo>
                <a:lnTo>
                  <a:pt x="6233" y="2931"/>
                </a:lnTo>
                <a:lnTo>
                  <a:pt x="6226" y="2926"/>
                </a:lnTo>
                <a:lnTo>
                  <a:pt x="6223" y="2929"/>
                </a:lnTo>
                <a:lnTo>
                  <a:pt x="6222" y="2931"/>
                </a:lnTo>
                <a:lnTo>
                  <a:pt x="6221" y="2931"/>
                </a:lnTo>
                <a:lnTo>
                  <a:pt x="6220" y="2931"/>
                </a:lnTo>
                <a:lnTo>
                  <a:pt x="6218" y="2929"/>
                </a:lnTo>
                <a:lnTo>
                  <a:pt x="6216" y="2926"/>
                </a:lnTo>
                <a:lnTo>
                  <a:pt x="6212" y="2920"/>
                </a:lnTo>
                <a:lnTo>
                  <a:pt x="6214" y="2917"/>
                </a:lnTo>
                <a:lnTo>
                  <a:pt x="6214" y="2916"/>
                </a:lnTo>
                <a:lnTo>
                  <a:pt x="6214" y="2915"/>
                </a:lnTo>
                <a:lnTo>
                  <a:pt x="6209" y="2915"/>
                </a:lnTo>
                <a:close/>
                <a:moveTo>
                  <a:pt x="3957" y="2387"/>
                </a:moveTo>
                <a:lnTo>
                  <a:pt x="3952" y="2404"/>
                </a:lnTo>
                <a:lnTo>
                  <a:pt x="3950" y="2414"/>
                </a:lnTo>
                <a:lnTo>
                  <a:pt x="3948" y="2424"/>
                </a:lnTo>
                <a:lnTo>
                  <a:pt x="3945" y="2424"/>
                </a:lnTo>
                <a:lnTo>
                  <a:pt x="3940" y="2425"/>
                </a:lnTo>
                <a:lnTo>
                  <a:pt x="3936" y="2425"/>
                </a:lnTo>
                <a:lnTo>
                  <a:pt x="3935" y="2426"/>
                </a:lnTo>
                <a:lnTo>
                  <a:pt x="3934" y="2427"/>
                </a:lnTo>
                <a:lnTo>
                  <a:pt x="3934" y="2430"/>
                </a:lnTo>
                <a:lnTo>
                  <a:pt x="3935" y="2429"/>
                </a:lnTo>
                <a:lnTo>
                  <a:pt x="3937" y="2432"/>
                </a:lnTo>
                <a:lnTo>
                  <a:pt x="3938" y="2435"/>
                </a:lnTo>
                <a:lnTo>
                  <a:pt x="3938" y="2437"/>
                </a:lnTo>
                <a:lnTo>
                  <a:pt x="3937" y="2438"/>
                </a:lnTo>
                <a:lnTo>
                  <a:pt x="3931" y="2438"/>
                </a:lnTo>
                <a:lnTo>
                  <a:pt x="3931" y="2440"/>
                </a:lnTo>
                <a:lnTo>
                  <a:pt x="3931" y="2443"/>
                </a:lnTo>
                <a:lnTo>
                  <a:pt x="3930" y="2447"/>
                </a:lnTo>
                <a:lnTo>
                  <a:pt x="3929" y="2452"/>
                </a:lnTo>
                <a:lnTo>
                  <a:pt x="3925" y="2450"/>
                </a:lnTo>
                <a:lnTo>
                  <a:pt x="3925" y="2449"/>
                </a:lnTo>
                <a:lnTo>
                  <a:pt x="3924" y="2448"/>
                </a:lnTo>
                <a:lnTo>
                  <a:pt x="3920" y="2449"/>
                </a:lnTo>
                <a:lnTo>
                  <a:pt x="3921" y="2457"/>
                </a:lnTo>
                <a:lnTo>
                  <a:pt x="3921" y="2461"/>
                </a:lnTo>
                <a:lnTo>
                  <a:pt x="3920" y="2463"/>
                </a:lnTo>
                <a:lnTo>
                  <a:pt x="3919" y="2463"/>
                </a:lnTo>
                <a:lnTo>
                  <a:pt x="3917" y="2462"/>
                </a:lnTo>
                <a:lnTo>
                  <a:pt x="3915" y="2461"/>
                </a:lnTo>
                <a:lnTo>
                  <a:pt x="3913" y="2460"/>
                </a:lnTo>
                <a:lnTo>
                  <a:pt x="3912" y="2461"/>
                </a:lnTo>
                <a:lnTo>
                  <a:pt x="3910" y="2462"/>
                </a:lnTo>
                <a:lnTo>
                  <a:pt x="3909" y="2465"/>
                </a:lnTo>
                <a:lnTo>
                  <a:pt x="3907" y="2468"/>
                </a:lnTo>
                <a:lnTo>
                  <a:pt x="3906" y="2469"/>
                </a:lnTo>
                <a:lnTo>
                  <a:pt x="3904" y="2469"/>
                </a:lnTo>
                <a:lnTo>
                  <a:pt x="3901" y="2469"/>
                </a:lnTo>
                <a:lnTo>
                  <a:pt x="3898" y="2468"/>
                </a:lnTo>
                <a:lnTo>
                  <a:pt x="3895" y="2467"/>
                </a:lnTo>
                <a:lnTo>
                  <a:pt x="3893" y="2466"/>
                </a:lnTo>
                <a:lnTo>
                  <a:pt x="3892" y="2466"/>
                </a:lnTo>
                <a:lnTo>
                  <a:pt x="3892" y="2472"/>
                </a:lnTo>
                <a:lnTo>
                  <a:pt x="3882" y="2477"/>
                </a:lnTo>
                <a:lnTo>
                  <a:pt x="3877" y="2480"/>
                </a:lnTo>
                <a:lnTo>
                  <a:pt x="3872" y="2483"/>
                </a:lnTo>
                <a:lnTo>
                  <a:pt x="3867" y="2486"/>
                </a:lnTo>
                <a:lnTo>
                  <a:pt x="3863" y="2491"/>
                </a:lnTo>
                <a:lnTo>
                  <a:pt x="3860" y="2495"/>
                </a:lnTo>
                <a:lnTo>
                  <a:pt x="3859" y="2497"/>
                </a:lnTo>
                <a:lnTo>
                  <a:pt x="3858" y="2500"/>
                </a:lnTo>
                <a:lnTo>
                  <a:pt x="3858" y="2504"/>
                </a:lnTo>
                <a:lnTo>
                  <a:pt x="3858" y="2508"/>
                </a:lnTo>
                <a:lnTo>
                  <a:pt x="3858" y="2512"/>
                </a:lnTo>
                <a:lnTo>
                  <a:pt x="3859" y="2515"/>
                </a:lnTo>
                <a:lnTo>
                  <a:pt x="3861" y="2523"/>
                </a:lnTo>
                <a:lnTo>
                  <a:pt x="3864" y="2531"/>
                </a:lnTo>
                <a:lnTo>
                  <a:pt x="3867" y="2539"/>
                </a:lnTo>
                <a:lnTo>
                  <a:pt x="3869" y="2546"/>
                </a:lnTo>
                <a:lnTo>
                  <a:pt x="3870" y="2550"/>
                </a:lnTo>
                <a:lnTo>
                  <a:pt x="3870" y="2554"/>
                </a:lnTo>
                <a:lnTo>
                  <a:pt x="3870" y="2562"/>
                </a:lnTo>
                <a:lnTo>
                  <a:pt x="3867" y="2564"/>
                </a:lnTo>
                <a:lnTo>
                  <a:pt x="3862" y="2568"/>
                </a:lnTo>
                <a:lnTo>
                  <a:pt x="3855" y="2573"/>
                </a:lnTo>
                <a:lnTo>
                  <a:pt x="3855" y="2575"/>
                </a:lnTo>
                <a:lnTo>
                  <a:pt x="3855" y="2576"/>
                </a:lnTo>
                <a:lnTo>
                  <a:pt x="3855" y="2580"/>
                </a:lnTo>
                <a:lnTo>
                  <a:pt x="3856" y="2584"/>
                </a:lnTo>
                <a:lnTo>
                  <a:pt x="3855" y="2587"/>
                </a:lnTo>
                <a:lnTo>
                  <a:pt x="3854" y="2588"/>
                </a:lnTo>
                <a:lnTo>
                  <a:pt x="3851" y="2590"/>
                </a:lnTo>
                <a:lnTo>
                  <a:pt x="3849" y="2591"/>
                </a:lnTo>
                <a:lnTo>
                  <a:pt x="3847" y="2593"/>
                </a:lnTo>
                <a:lnTo>
                  <a:pt x="3845" y="2598"/>
                </a:lnTo>
                <a:lnTo>
                  <a:pt x="3844" y="2603"/>
                </a:lnTo>
                <a:lnTo>
                  <a:pt x="3843" y="2607"/>
                </a:lnTo>
                <a:lnTo>
                  <a:pt x="3842" y="2611"/>
                </a:lnTo>
                <a:lnTo>
                  <a:pt x="3842" y="2615"/>
                </a:lnTo>
                <a:lnTo>
                  <a:pt x="3843" y="2619"/>
                </a:lnTo>
                <a:lnTo>
                  <a:pt x="3843" y="2623"/>
                </a:lnTo>
                <a:lnTo>
                  <a:pt x="3844" y="2626"/>
                </a:lnTo>
                <a:lnTo>
                  <a:pt x="3847" y="2633"/>
                </a:lnTo>
                <a:lnTo>
                  <a:pt x="3850" y="2640"/>
                </a:lnTo>
                <a:lnTo>
                  <a:pt x="3855" y="2653"/>
                </a:lnTo>
                <a:lnTo>
                  <a:pt x="3860" y="2667"/>
                </a:lnTo>
                <a:lnTo>
                  <a:pt x="3863" y="2672"/>
                </a:lnTo>
                <a:lnTo>
                  <a:pt x="3865" y="2677"/>
                </a:lnTo>
                <a:lnTo>
                  <a:pt x="3868" y="2681"/>
                </a:lnTo>
                <a:lnTo>
                  <a:pt x="3872" y="2685"/>
                </a:lnTo>
                <a:lnTo>
                  <a:pt x="3875" y="2687"/>
                </a:lnTo>
                <a:lnTo>
                  <a:pt x="3877" y="2689"/>
                </a:lnTo>
                <a:lnTo>
                  <a:pt x="3884" y="2692"/>
                </a:lnTo>
                <a:lnTo>
                  <a:pt x="3888" y="2693"/>
                </a:lnTo>
                <a:lnTo>
                  <a:pt x="3890" y="2693"/>
                </a:lnTo>
                <a:lnTo>
                  <a:pt x="3889" y="2692"/>
                </a:lnTo>
                <a:lnTo>
                  <a:pt x="3897" y="2690"/>
                </a:lnTo>
                <a:lnTo>
                  <a:pt x="3905" y="2687"/>
                </a:lnTo>
                <a:lnTo>
                  <a:pt x="3912" y="2683"/>
                </a:lnTo>
                <a:lnTo>
                  <a:pt x="3915" y="2681"/>
                </a:lnTo>
                <a:lnTo>
                  <a:pt x="3916" y="2680"/>
                </a:lnTo>
                <a:lnTo>
                  <a:pt x="3917" y="2678"/>
                </a:lnTo>
                <a:lnTo>
                  <a:pt x="3919" y="2674"/>
                </a:lnTo>
                <a:lnTo>
                  <a:pt x="3921" y="2670"/>
                </a:lnTo>
                <a:lnTo>
                  <a:pt x="3923" y="2661"/>
                </a:lnTo>
                <a:lnTo>
                  <a:pt x="3924" y="2651"/>
                </a:lnTo>
                <a:lnTo>
                  <a:pt x="3925" y="2646"/>
                </a:lnTo>
                <a:lnTo>
                  <a:pt x="3926" y="2642"/>
                </a:lnTo>
                <a:lnTo>
                  <a:pt x="3928" y="2634"/>
                </a:lnTo>
                <a:lnTo>
                  <a:pt x="3931" y="2627"/>
                </a:lnTo>
                <a:lnTo>
                  <a:pt x="3938" y="2610"/>
                </a:lnTo>
                <a:lnTo>
                  <a:pt x="3941" y="2602"/>
                </a:lnTo>
                <a:lnTo>
                  <a:pt x="3944" y="2592"/>
                </a:lnTo>
                <a:lnTo>
                  <a:pt x="3947" y="2584"/>
                </a:lnTo>
                <a:lnTo>
                  <a:pt x="3948" y="2576"/>
                </a:lnTo>
                <a:lnTo>
                  <a:pt x="3948" y="2573"/>
                </a:lnTo>
                <a:lnTo>
                  <a:pt x="3948" y="2571"/>
                </a:lnTo>
                <a:lnTo>
                  <a:pt x="3947" y="2566"/>
                </a:lnTo>
                <a:lnTo>
                  <a:pt x="3946" y="2562"/>
                </a:lnTo>
                <a:lnTo>
                  <a:pt x="3945" y="2560"/>
                </a:lnTo>
                <a:lnTo>
                  <a:pt x="3945" y="2559"/>
                </a:lnTo>
                <a:lnTo>
                  <a:pt x="3952" y="2548"/>
                </a:lnTo>
                <a:lnTo>
                  <a:pt x="3960" y="2537"/>
                </a:lnTo>
                <a:lnTo>
                  <a:pt x="3963" y="2527"/>
                </a:lnTo>
                <a:lnTo>
                  <a:pt x="3965" y="2520"/>
                </a:lnTo>
                <a:lnTo>
                  <a:pt x="3965" y="2516"/>
                </a:lnTo>
                <a:lnTo>
                  <a:pt x="3964" y="2513"/>
                </a:lnTo>
                <a:lnTo>
                  <a:pt x="3962" y="2508"/>
                </a:lnTo>
                <a:lnTo>
                  <a:pt x="3968" y="2503"/>
                </a:lnTo>
                <a:lnTo>
                  <a:pt x="3968" y="2500"/>
                </a:lnTo>
                <a:lnTo>
                  <a:pt x="3968" y="2498"/>
                </a:lnTo>
                <a:lnTo>
                  <a:pt x="3968" y="2494"/>
                </a:lnTo>
                <a:lnTo>
                  <a:pt x="3969" y="2492"/>
                </a:lnTo>
                <a:lnTo>
                  <a:pt x="3970" y="2491"/>
                </a:lnTo>
                <a:lnTo>
                  <a:pt x="3971" y="2490"/>
                </a:lnTo>
                <a:lnTo>
                  <a:pt x="3974" y="2489"/>
                </a:lnTo>
                <a:lnTo>
                  <a:pt x="3974" y="2483"/>
                </a:lnTo>
                <a:lnTo>
                  <a:pt x="3972" y="2478"/>
                </a:lnTo>
                <a:lnTo>
                  <a:pt x="3970" y="2472"/>
                </a:lnTo>
                <a:lnTo>
                  <a:pt x="3967" y="2466"/>
                </a:lnTo>
                <a:lnTo>
                  <a:pt x="3965" y="2461"/>
                </a:lnTo>
                <a:lnTo>
                  <a:pt x="3967" y="2461"/>
                </a:lnTo>
                <a:lnTo>
                  <a:pt x="3969" y="2461"/>
                </a:lnTo>
                <a:lnTo>
                  <a:pt x="3974" y="2461"/>
                </a:lnTo>
                <a:lnTo>
                  <a:pt x="3973" y="2464"/>
                </a:lnTo>
                <a:lnTo>
                  <a:pt x="3974" y="2469"/>
                </a:lnTo>
                <a:lnTo>
                  <a:pt x="3979" y="2469"/>
                </a:lnTo>
                <a:lnTo>
                  <a:pt x="3979" y="2466"/>
                </a:lnTo>
                <a:lnTo>
                  <a:pt x="3979" y="2463"/>
                </a:lnTo>
                <a:lnTo>
                  <a:pt x="3979" y="2462"/>
                </a:lnTo>
                <a:lnTo>
                  <a:pt x="3979" y="2461"/>
                </a:lnTo>
                <a:lnTo>
                  <a:pt x="3980" y="2461"/>
                </a:lnTo>
                <a:lnTo>
                  <a:pt x="3982" y="2461"/>
                </a:lnTo>
                <a:lnTo>
                  <a:pt x="3981" y="2446"/>
                </a:lnTo>
                <a:lnTo>
                  <a:pt x="3979" y="2430"/>
                </a:lnTo>
                <a:lnTo>
                  <a:pt x="3979" y="2421"/>
                </a:lnTo>
                <a:lnTo>
                  <a:pt x="3977" y="2414"/>
                </a:lnTo>
                <a:lnTo>
                  <a:pt x="3976" y="2407"/>
                </a:lnTo>
                <a:lnTo>
                  <a:pt x="3974" y="2401"/>
                </a:lnTo>
                <a:lnTo>
                  <a:pt x="3973" y="2400"/>
                </a:lnTo>
                <a:lnTo>
                  <a:pt x="3972" y="2399"/>
                </a:lnTo>
                <a:lnTo>
                  <a:pt x="3971" y="2399"/>
                </a:lnTo>
                <a:lnTo>
                  <a:pt x="3970" y="2399"/>
                </a:lnTo>
                <a:lnTo>
                  <a:pt x="3967" y="2401"/>
                </a:lnTo>
                <a:lnTo>
                  <a:pt x="3965" y="2401"/>
                </a:lnTo>
                <a:lnTo>
                  <a:pt x="3961" y="2394"/>
                </a:lnTo>
                <a:lnTo>
                  <a:pt x="3957" y="2387"/>
                </a:lnTo>
                <a:close/>
                <a:moveTo>
                  <a:pt x="5001" y="2227"/>
                </a:moveTo>
                <a:lnTo>
                  <a:pt x="4999" y="2234"/>
                </a:lnTo>
                <a:lnTo>
                  <a:pt x="4996" y="2240"/>
                </a:lnTo>
                <a:lnTo>
                  <a:pt x="4990" y="2252"/>
                </a:lnTo>
                <a:lnTo>
                  <a:pt x="4995" y="2253"/>
                </a:lnTo>
                <a:lnTo>
                  <a:pt x="4999" y="2254"/>
                </a:lnTo>
                <a:lnTo>
                  <a:pt x="5010" y="2255"/>
                </a:lnTo>
                <a:lnTo>
                  <a:pt x="5007" y="2259"/>
                </a:lnTo>
                <a:lnTo>
                  <a:pt x="5006" y="2262"/>
                </a:lnTo>
                <a:lnTo>
                  <a:pt x="5006" y="2263"/>
                </a:lnTo>
                <a:lnTo>
                  <a:pt x="5007" y="2264"/>
                </a:lnTo>
                <a:lnTo>
                  <a:pt x="5011" y="2264"/>
                </a:lnTo>
                <a:lnTo>
                  <a:pt x="5014" y="2264"/>
                </a:lnTo>
                <a:lnTo>
                  <a:pt x="5017" y="2264"/>
                </a:lnTo>
                <a:lnTo>
                  <a:pt x="5020" y="2263"/>
                </a:lnTo>
                <a:lnTo>
                  <a:pt x="5022" y="2262"/>
                </a:lnTo>
                <a:lnTo>
                  <a:pt x="5025" y="2262"/>
                </a:lnTo>
                <a:lnTo>
                  <a:pt x="5028" y="2262"/>
                </a:lnTo>
                <a:lnTo>
                  <a:pt x="5032" y="2264"/>
                </a:lnTo>
                <a:lnTo>
                  <a:pt x="5032" y="2269"/>
                </a:lnTo>
                <a:lnTo>
                  <a:pt x="5037" y="2271"/>
                </a:lnTo>
                <a:lnTo>
                  <a:pt x="5041" y="2272"/>
                </a:lnTo>
                <a:lnTo>
                  <a:pt x="5044" y="2272"/>
                </a:lnTo>
                <a:lnTo>
                  <a:pt x="5048" y="2272"/>
                </a:lnTo>
                <a:lnTo>
                  <a:pt x="5055" y="2271"/>
                </a:lnTo>
                <a:lnTo>
                  <a:pt x="5059" y="2270"/>
                </a:lnTo>
                <a:lnTo>
                  <a:pt x="5063" y="2269"/>
                </a:lnTo>
                <a:lnTo>
                  <a:pt x="5067" y="2269"/>
                </a:lnTo>
                <a:lnTo>
                  <a:pt x="5072" y="2269"/>
                </a:lnTo>
                <a:lnTo>
                  <a:pt x="5074" y="2270"/>
                </a:lnTo>
                <a:lnTo>
                  <a:pt x="5077" y="2271"/>
                </a:lnTo>
                <a:lnTo>
                  <a:pt x="5084" y="2275"/>
                </a:lnTo>
                <a:lnTo>
                  <a:pt x="5091" y="2278"/>
                </a:lnTo>
                <a:lnTo>
                  <a:pt x="5097" y="2280"/>
                </a:lnTo>
                <a:lnTo>
                  <a:pt x="5102" y="2281"/>
                </a:lnTo>
                <a:lnTo>
                  <a:pt x="5107" y="2281"/>
                </a:lnTo>
                <a:lnTo>
                  <a:pt x="5118" y="2281"/>
                </a:lnTo>
                <a:lnTo>
                  <a:pt x="5128" y="2280"/>
                </a:lnTo>
                <a:lnTo>
                  <a:pt x="5133" y="2280"/>
                </a:lnTo>
                <a:lnTo>
                  <a:pt x="5136" y="2280"/>
                </a:lnTo>
                <a:lnTo>
                  <a:pt x="5138" y="2281"/>
                </a:lnTo>
                <a:lnTo>
                  <a:pt x="5139" y="2282"/>
                </a:lnTo>
                <a:lnTo>
                  <a:pt x="5142" y="2286"/>
                </a:lnTo>
                <a:lnTo>
                  <a:pt x="5145" y="2289"/>
                </a:lnTo>
                <a:lnTo>
                  <a:pt x="5146" y="2291"/>
                </a:lnTo>
                <a:lnTo>
                  <a:pt x="5147" y="2292"/>
                </a:lnTo>
                <a:lnTo>
                  <a:pt x="5150" y="2293"/>
                </a:lnTo>
                <a:lnTo>
                  <a:pt x="5152" y="2293"/>
                </a:lnTo>
                <a:lnTo>
                  <a:pt x="5156" y="2293"/>
                </a:lnTo>
                <a:lnTo>
                  <a:pt x="5160" y="2294"/>
                </a:lnTo>
                <a:lnTo>
                  <a:pt x="5164" y="2295"/>
                </a:lnTo>
                <a:lnTo>
                  <a:pt x="5163" y="2292"/>
                </a:lnTo>
                <a:lnTo>
                  <a:pt x="5160" y="2288"/>
                </a:lnTo>
                <a:lnTo>
                  <a:pt x="5156" y="2283"/>
                </a:lnTo>
                <a:lnTo>
                  <a:pt x="5156" y="2280"/>
                </a:lnTo>
                <a:lnTo>
                  <a:pt x="5156" y="2277"/>
                </a:lnTo>
                <a:lnTo>
                  <a:pt x="5158" y="2273"/>
                </a:lnTo>
                <a:lnTo>
                  <a:pt x="5159" y="2269"/>
                </a:lnTo>
                <a:lnTo>
                  <a:pt x="5158" y="2269"/>
                </a:lnTo>
                <a:lnTo>
                  <a:pt x="5156" y="2268"/>
                </a:lnTo>
                <a:lnTo>
                  <a:pt x="5154" y="2266"/>
                </a:lnTo>
                <a:lnTo>
                  <a:pt x="5150" y="2264"/>
                </a:lnTo>
                <a:lnTo>
                  <a:pt x="5128" y="2264"/>
                </a:lnTo>
                <a:lnTo>
                  <a:pt x="5130" y="2258"/>
                </a:lnTo>
                <a:lnTo>
                  <a:pt x="5131" y="2255"/>
                </a:lnTo>
                <a:lnTo>
                  <a:pt x="5131" y="2252"/>
                </a:lnTo>
                <a:lnTo>
                  <a:pt x="5129" y="2249"/>
                </a:lnTo>
                <a:lnTo>
                  <a:pt x="5128" y="2247"/>
                </a:lnTo>
                <a:lnTo>
                  <a:pt x="5128" y="2244"/>
                </a:lnTo>
                <a:lnTo>
                  <a:pt x="5118" y="2243"/>
                </a:lnTo>
                <a:lnTo>
                  <a:pt x="5110" y="2242"/>
                </a:lnTo>
                <a:lnTo>
                  <a:pt x="5103" y="2242"/>
                </a:lnTo>
                <a:lnTo>
                  <a:pt x="5100" y="2242"/>
                </a:lnTo>
                <a:lnTo>
                  <a:pt x="5097" y="2241"/>
                </a:lnTo>
                <a:lnTo>
                  <a:pt x="5096" y="2240"/>
                </a:lnTo>
                <a:lnTo>
                  <a:pt x="5095" y="2238"/>
                </a:lnTo>
                <a:lnTo>
                  <a:pt x="5094" y="2237"/>
                </a:lnTo>
                <a:lnTo>
                  <a:pt x="5093" y="2236"/>
                </a:lnTo>
                <a:lnTo>
                  <a:pt x="5092" y="2236"/>
                </a:lnTo>
                <a:lnTo>
                  <a:pt x="5091" y="2235"/>
                </a:lnTo>
                <a:lnTo>
                  <a:pt x="5086" y="2244"/>
                </a:lnTo>
                <a:lnTo>
                  <a:pt x="5069" y="2244"/>
                </a:lnTo>
                <a:lnTo>
                  <a:pt x="5064" y="2243"/>
                </a:lnTo>
                <a:lnTo>
                  <a:pt x="5060" y="2241"/>
                </a:lnTo>
                <a:lnTo>
                  <a:pt x="5057" y="2238"/>
                </a:lnTo>
                <a:lnTo>
                  <a:pt x="5054" y="2236"/>
                </a:lnTo>
                <a:lnTo>
                  <a:pt x="5047" y="2231"/>
                </a:lnTo>
                <a:lnTo>
                  <a:pt x="5044" y="2228"/>
                </a:lnTo>
                <a:lnTo>
                  <a:pt x="5041" y="2227"/>
                </a:lnTo>
                <a:lnTo>
                  <a:pt x="5038" y="2227"/>
                </a:lnTo>
                <a:lnTo>
                  <a:pt x="5035" y="2227"/>
                </a:lnTo>
                <a:lnTo>
                  <a:pt x="5028" y="2229"/>
                </a:lnTo>
                <a:lnTo>
                  <a:pt x="5018" y="2233"/>
                </a:lnTo>
                <a:lnTo>
                  <a:pt x="5013" y="2232"/>
                </a:lnTo>
                <a:lnTo>
                  <a:pt x="5009" y="2230"/>
                </a:lnTo>
                <a:lnTo>
                  <a:pt x="5005" y="2228"/>
                </a:lnTo>
                <a:lnTo>
                  <a:pt x="5003" y="2228"/>
                </a:lnTo>
                <a:lnTo>
                  <a:pt x="5001" y="2227"/>
                </a:lnTo>
                <a:close/>
                <a:moveTo>
                  <a:pt x="5342" y="2067"/>
                </a:moveTo>
                <a:lnTo>
                  <a:pt x="5339" y="2069"/>
                </a:lnTo>
                <a:lnTo>
                  <a:pt x="5335" y="2075"/>
                </a:lnTo>
                <a:lnTo>
                  <a:pt x="5333" y="2078"/>
                </a:lnTo>
                <a:lnTo>
                  <a:pt x="5330" y="2080"/>
                </a:lnTo>
                <a:lnTo>
                  <a:pt x="5328" y="2082"/>
                </a:lnTo>
                <a:lnTo>
                  <a:pt x="5325" y="2084"/>
                </a:lnTo>
                <a:lnTo>
                  <a:pt x="5319" y="2084"/>
                </a:lnTo>
                <a:lnTo>
                  <a:pt x="5313" y="2085"/>
                </a:lnTo>
                <a:lnTo>
                  <a:pt x="5301" y="2084"/>
                </a:lnTo>
                <a:lnTo>
                  <a:pt x="5280" y="2081"/>
                </a:lnTo>
                <a:lnTo>
                  <a:pt x="5280" y="2075"/>
                </a:lnTo>
                <a:lnTo>
                  <a:pt x="5278" y="2075"/>
                </a:lnTo>
                <a:lnTo>
                  <a:pt x="5275" y="2076"/>
                </a:lnTo>
                <a:lnTo>
                  <a:pt x="5270" y="2079"/>
                </a:lnTo>
                <a:lnTo>
                  <a:pt x="5266" y="2082"/>
                </a:lnTo>
                <a:lnTo>
                  <a:pt x="5263" y="2084"/>
                </a:lnTo>
                <a:lnTo>
                  <a:pt x="5261" y="2084"/>
                </a:lnTo>
                <a:lnTo>
                  <a:pt x="5260" y="2083"/>
                </a:lnTo>
                <a:lnTo>
                  <a:pt x="5260" y="2082"/>
                </a:lnTo>
                <a:lnTo>
                  <a:pt x="5259" y="2080"/>
                </a:lnTo>
                <a:lnTo>
                  <a:pt x="5258" y="2080"/>
                </a:lnTo>
                <a:lnTo>
                  <a:pt x="5257" y="2081"/>
                </a:lnTo>
                <a:lnTo>
                  <a:pt x="5257" y="2086"/>
                </a:lnTo>
                <a:lnTo>
                  <a:pt x="5253" y="2089"/>
                </a:lnTo>
                <a:lnTo>
                  <a:pt x="5249" y="2092"/>
                </a:lnTo>
                <a:lnTo>
                  <a:pt x="5248" y="2096"/>
                </a:lnTo>
                <a:lnTo>
                  <a:pt x="5248" y="2100"/>
                </a:lnTo>
                <a:lnTo>
                  <a:pt x="5248" y="2103"/>
                </a:lnTo>
                <a:lnTo>
                  <a:pt x="5249" y="2106"/>
                </a:lnTo>
                <a:lnTo>
                  <a:pt x="5251" y="2110"/>
                </a:lnTo>
                <a:lnTo>
                  <a:pt x="5252" y="2113"/>
                </a:lnTo>
                <a:lnTo>
                  <a:pt x="5252" y="2115"/>
                </a:lnTo>
                <a:lnTo>
                  <a:pt x="5250" y="2117"/>
                </a:lnTo>
                <a:lnTo>
                  <a:pt x="5247" y="2119"/>
                </a:lnTo>
                <a:lnTo>
                  <a:pt x="5245" y="2121"/>
                </a:lnTo>
                <a:lnTo>
                  <a:pt x="5243" y="2123"/>
                </a:lnTo>
                <a:lnTo>
                  <a:pt x="5243" y="2125"/>
                </a:lnTo>
                <a:lnTo>
                  <a:pt x="5242" y="2128"/>
                </a:lnTo>
                <a:lnTo>
                  <a:pt x="5243" y="2133"/>
                </a:lnTo>
                <a:lnTo>
                  <a:pt x="5243" y="2138"/>
                </a:lnTo>
                <a:lnTo>
                  <a:pt x="5243" y="2143"/>
                </a:lnTo>
                <a:lnTo>
                  <a:pt x="5242" y="2145"/>
                </a:lnTo>
                <a:lnTo>
                  <a:pt x="5241" y="2148"/>
                </a:lnTo>
                <a:lnTo>
                  <a:pt x="5239" y="2154"/>
                </a:lnTo>
                <a:lnTo>
                  <a:pt x="5236" y="2160"/>
                </a:lnTo>
                <a:lnTo>
                  <a:pt x="5235" y="2163"/>
                </a:lnTo>
                <a:lnTo>
                  <a:pt x="5235" y="2165"/>
                </a:lnTo>
                <a:lnTo>
                  <a:pt x="5234" y="2175"/>
                </a:lnTo>
                <a:lnTo>
                  <a:pt x="5234" y="2177"/>
                </a:lnTo>
                <a:lnTo>
                  <a:pt x="5235" y="2177"/>
                </a:lnTo>
                <a:lnTo>
                  <a:pt x="5239" y="2177"/>
                </a:lnTo>
                <a:lnTo>
                  <a:pt x="5240" y="2177"/>
                </a:lnTo>
                <a:lnTo>
                  <a:pt x="5242" y="2177"/>
                </a:lnTo>
                <a:lnTo>
                  <a:pt x="5246" y="2179"/>
                </a:lnTo>
                <a:lnTo>
                  <a:pt x="5243" y="2201"/>
                </a:lnTo>
                <a:lnTo>
                  <a:pt x="5240" y="2224"/>
                </a:lnTo>
                <a:lnTo>
                  <a:pt x="5247" y="2223"/>
                </a:lnTo>
                <a:lnTo>
                  <a:pt x="5252" y="2223"/>
                </a:lnTo>
                <a:lnTo>
                  <a:pt x="5257" y="2222"/>
                </a:lnTo>
                <a:lnTo>
                  <a:pt x="5260" y="2221"/>
                </a:lnTo>
                <a:lnTo>
                  <a:pt x="5262" y="2221"/>
                </a:lnTo>
                <a:lnTo>
                  <a:pt x="5263" y="2220"/>
                </a:lnTo>
                <a:lnTo>
                  <a:pt x="5264" y="2218"/>
                </a:lnTo>
                <a:lnTo>
                  <a:pt x="5265" y="2216"/>
                </a:lnTo>
                <a:lnTo>
                  <a:pt x="5266" y="2211"/>
                </a:lnTo>
                <a:lnTo>
                  <a:pt x="5266" y="2205"/>
                </a:lnTo>
                <a:lnTo>
                  <a:pt x="5260" y="2196"/>
                </a:lnTo>
                <a:lnTo>
                  <a:pt x="5261" y="2193"/>
                </a:lnTo>
                <a:lnTo>
                  <a:pt x="5261" y="2192"/>
                </a:lnTo>
                <a:lnTo>
                  <a:pt x="5262" y="2192"/>
                </a:lnTo>
                <a:lnTo>
                  <a:pt x="5263" y="2193"/>
                </a:lnTo>
                <a:lnTo>
                  <a:pt x="5265" y="2184"/>
                </a:lnTo>
                <a:lnTo>
                  <a:pt x="5266" y="2178"/>
                </a:lnTo>
                <a:lnTo>
                  <a:pt x="5268" y="2174"/>
                </a:lnTo>
                <a:lnTo>
                  <a:pt x="5270" y="2172"/>
                </a:lnTo>
                <a:lnTo>
                  <a:pt x="5271" y="2171"/>
                </a:lnTo>
                <a:lnTo>
                  <a:pt x="5272" y="2171"/>
                </a:lnTo>
                <a:lnTo>
                  <a:pt x="5274" y="2172"/>
                </a:lnTo>
                <a:lnTo>
                  <a:pt x="5276" y="2175"/>
                </a:lnTo>
                <a:lnTo>
                  <a:pt x="5277" y="2178"/>
                </a:lnTo>
                <a:lnTo>
                  <a:pt x="5280" y="2187"/>
                </a:lnTo>
                <a:lnTo>
                  <a:pt x="5283" y="2197"/>
                </a:lnTo>
                <a:lnTo>
                  <a:pt x="5284" y="2206"/>
                </a:lnTo>
                <a:lnTo>
                  <a:pt x="5285" y="2213"/>
                </a:lnTo>
                <a:lnTo>
                  <a:pt x="5288" y="2212"/>
                </a:lnTo>
                <a:lnTo>
                  <a:pt x="5291" y="2213"/>
                </a:lnTo>
                <a:lnTo>
                  <a:pt x="5294" y="2213"/>
                </a:lnTo>
                <a:lnTo>
                  <a:pt x="5295" y="2213"/>
                </a:lnTo>
                <a:lnTo>
                  <a:pt x="5297" y="2213"/>
                </a:lnTo>
                <a:lnTo>
                  <a:pt x="5297" y="2211"/>
                </a:lnTo>
                <a:lnTo>
                  <a:pt x="5297" y="2208"/>
                </a:lnTo>
                <a:lnTo>
                  <a:pt x="5297" y="2202"/>
                </a:lnTo>
                <a:lnTo>
                  <a:pt x="5305" y="2201"/>
                </a:lnTo>
                <a:lnTo>
                  <a:pt x="5308" y="2200"/>
                </a:lnTo>
                <a:lnTo>
                  <a:pt x="5311" y="2199"/>
                </a:lnTo>
                <a:lnTo>
                  <a:pt x="5312" y="2200"/>
                </a:lnTo>
                <a:lnTo>
                  <a:pt x="5313" y="2200"/>
                </a:lnTo>
                <a:lnTo>
                  <a:pt x="5313" y="2199"/>
                </a:lnTo>
                <a:lnTo>
                  <a:pt x="5313" y="2196"/>
                </a:lnTo>
                <a:lnTo>
                  <a:pt x="5310" y="2193"/>
                </a:lnTo>
                <a:lnTo>
                  <a:pt x="5306" y="2191"/>
                </a:lnTo>
                <a:lnTo>
                  <a:pt x="5302" y="2188"/>
                </a:lnTo>
                <a:lnTo>
                  <a:pt x="5300" y="2186"/>
                </a:lnTo>
                <a:lnTo>
                  <a:pt x="5299" y="2185"/>
                </a:lnTo>
                <a:lnTo>
                  <a:pt x="5299" y="2183"/>
                </a:lnTo>
                <a:lnTo>
                  <a:pt x="5299" y="2182"/>
                </a:lnTo>
                <a:lnTo>
                  <a:pt x="5301" y="2179"/>
                </a:lnTo>
                <a:lnTo>
                  <a:pt x="5303" y="2176"/>
                </a:lnTo>
                <a:lnTo>
                  <a:pt x="5303" y="2175"/>
                </a:lnTo>
                <a:lnTo>
                  <a:pt x="5302" y="2174"/>
                </a:lnTo>
                <a:lnTo>
                  <a:pt x="5300" y="2172"/>
                </a:lnTo>
                <a:lnTo>
                  <a:pt x="5296" y="2171"/>
                </a:lnTo>
                <a:lnTo>
                  <a:pt x="5293" y="2170"/>
                </a:lnTo>
                <a:lnTo>
                  <a:pt x="5292" y="2169"/>
                </a:lnTo>
                <a:lnTo>
                  <a:pt x="5291" y="2168"/>
                </a:lnTo>
                <a:lnTo>
                  <a:pt x="5290" y="2166"/>
                </a:lnTo>
                <a:lnTo>
                  <a:pt x="5290" y="2164"/>
                </a:lnTo>
                <a:lnTo>
                  <a:pt x="5289" y="2160"/>
                </a:lnTo>
                <a:lnTo>
                  <a:pt x="5289" y="2157"/>
                </a:lnTo>
                <a:lnTo>
                  <a:pt x="5288" y="2154"/>
                </a:lnTo>
                <a:lnTo>
                  <a:pt x="5277" y="2151"/>
                </a:lnTo>
                <a:lnTo>
                  <a:pt x="5277" y="2145"/>
                </a:lnTo>
                <a:lnTo>
                  <a:pt x="5280" y="2145"/>
                </a:lnTo>
                <a:lnTo>
                  <a:pt x="5284" y="2145"/>
                </a:lnTo>
                <a:lnTo>
                  <a:pt x="5287" y="2146"/>
                </a:lnTo>
                <a:lnTo>
                  <a:pt x="5291" y="2145"/>
                </a:lnTo>
                <a:lnTo>
                  <a:pt x="5293" y="2145"/>
                </a:lnTo>
                <a:lnTo>
                  <a:pt x="5295" y="2143"/>
                </a:lnTo>
                <a:lnTo>
                  <a:pt x="5298" y="2139"/>
                </a:lnTo>
                <a:lnTo>
                  <a:pt x="5301" y="2136"/>
                </a:lnTo>
                <a:lnTo>
                  <a:pt x="5303" y="2135"/>
                </a:lnTo>
                <a:lnTo>
                  <a:pt x="5305" y="2134"/>
                </a:lnTo>
                <a:lnTo>
                  <a:pt x="5305" y="2143"/>
                </a:lnTo>
                <a:lnTo>
                  <a:pt x="5311" y="2140"/>
                </a:lnTo>
                <a:lnTo>
                  <a:pt x="5314" y="2140"/>
                </a:lnTo>
                <a:lnTo>
                  <a:pt x="5316" y="2139"/>
                </a:lnTo>
                <a:lnTo>
                  <a:pt x="5319" y="2140"/>
                </a:lnTo>
                <a:lnTo>
                  <a:pt x="5310" y="2135"/>
                </a:lnTo>
                <a:lnTo>
                  <a:pt x="5308" y="2133"/>
                </a:lnTo>
                <a:lnTo>
                  <a:pt x="5307" y="2133"/>
                </a:lnTo>
                <a:lnTo>
                  <a:pt x="5307" y="2132"/>
                </a:lnTo>
                <a:lnTo>
                  <a:pt x="5308" y="2130"/>
                </a:lnTo>
                <a:lnTo>
                  <a:pt x="5310" y="2128"/>
                </a:lnTo>
                <a:lnTo>
                  <a:pt x="5316" y="2120"/>
                </a:lnTo>
                <a:lnTo>
                  <a:pt x="5306" y="2120"/>
                </a:lnTo>
                <a:lnTo>
                  <a:pt x="5299" y="2119"/>
                </a:lnTo>
                <a:lnTo>
                  <a:pt x="5295" y="2119"/>
                </a:lnTo>
                <a:lnTo>
                  <a:pt x="5291" y="2119"/>
                </a:lnTo>
                <a:lnTo>
                  <a:pt x="5287" y="2119"/>
                </a:lnTo>
                <a:lnTo>
                  <a:pt x="5282" y="2120"/>
                </a:lnTo>
                <a:lnTo>
                  <a:pt x="5281" y="2121"/>
                </a:lnTo>
                <a:lnTo>
                  <a:pt x="5281" y="2122"/>
                </a:lnTo>
                <a:lnTo>
                  <a:pt x="5279" y="2124"/>
                </a:lnTo>
                <a:lnTo>
                  <a:pt x="5278" y="2125"/>
                </a:lnTo>
                <a:lnTo>
                  <a:pt x="5276" y="2126"/>
                </a:lnTo>
                <a:lnTo>
                  <a:pt x="5274" y="2126"/>
                </a:lnTo>
                <a:lnTo>
                  <a:pt x="5271" y="2126"/>
                </a:lnTo>
                <a:lnTo>
                  <a:pt x="5271" y="2120"/>
                </a:lnTo>
                <a:lnTo>
                  <a:pt x="5263" y="2120"/>
                </a:lnTo>
                <a:lnTo>
                  <a:pt x="5264" y="2106"/>
                </a:lnTo>
                <a:lnTo>
                  <a:pt x="5266" y="2095"/>
                </a:lnTo>
                <a:lnTo>
                  <a:pt x="5274" y="2095"/>
                </a:lnTo>
                <a:lnTo>
                  <a:pt x="5284" y="2096"/>
                </a:lnTo>
                <a:lnTo>
                  <a:pt x="5303" y="2098"/>
                </a:lnTo>
                <a:lnTo>
                  <a:pt x="5313" y="2099"/>
                </a:lnTo>
                <a:lnTo>
                  <a:pt x="5321" y="2098"/>
                </a:lnTo>
                <a:lnTo>
                  <a:pt x="5325" y="2098"/>
                </a:lnTo>
                <a:lnTo>
                  <a:pt x="5329" y="2097"/>
                </a:lnTo>
                <a:lnTo>
                  <a:pt x="5333" y="2096"/>
                </a:lnTo>
                <a:lnTo>
                  <a:pt x="5336" y="2095"/>
                </a:lnTo>
                <a:lnTo>
                  <a:pt x="5336" y="2092"/>
                </a:lnTo>
                <a:lnTo>
                  <a:pt x="5340" y="2087"/>
                </a:lnTo>
                <a:lnTo>
                  <a:pt x="5346" y="2077"/>
                </a:lnTo>
                <a:lnTo>
                  <a:pt x="5348" y="2072"/>
                </a:lnTo>
                <a:lnTo>
                  <a:pt x="5349" y="2070"/>
                </a:lnTo>
                <a:lnTo>
                  <a:pt x="5349" y="2068"/>
                </a:lnTo>
                <a:lnTo>
                  <a:pt x="5348" y="2067"/>
                </a:lnTo>
                <a:lnTo>
                  <a:pt x="5347" y="2066"/>
                </a:lnTo>
                <a:lnTo>
                  <a:pt x="5344" y="2066"/>
                </a:lnTo>
                <a:lnTo>
                  <a:pt x="5342" y="2067"/>
                </a:lnTo>
                <a:close/>
                <a:moveTo>
                  <a:pt x="4804" y="1965"/>
                </a:moveTo>
                <a:lnTo>
                  <a:pt x="4804" y="1968"/>
                </a:lnTo>
                <a:lnTo>
                  <a:pt x="4803" y="1971"/>
                </a:lnTo>
                <a:lnTo>
                  <a:pt x="4802" y="1973"/>
                </a:lnTo>
                <a:lnTo>
                  <a:pt x="4801" y="1975"/>
                </a:lnTo>
                <a:lnTo>
                  <a:pt x="4802" y="1979"/>
                </a:lnTo>
                <a:lnTo>
                  <a:pt x="4802" y="1982"/>
                </a:lnTo>
                <a:lnTo>
                  <a:pt x="4803" y="1985"/>
                </a:lnTo>
                <a:lnTo>
                  <a:pt x="4807" y="1990"/>
                </a:lnTo>
                <a:lnTo>
                  <a:pt x="4811" y="1995"/>
                </a:lnTo>
                <a:lnTo>
                  <a:pt x="4816" y="2000"/>
                </a:lnTo>
                <a:lnTo>
                  <a:pt x="4827" y="2008"/>
                </a:lnTo>
                <a:lnTo>
                  <a:pt x="4831" y="2012"/>
                </a:lnTo>
                <a:lnTo>
                  <a:pt x="4835" y="2016"/>
                </a:lnTo>
                <a:lnTo>
                  <a:pt x="4838" y="2020"/>
                </a:lnTo>
                <a:lnTo>
                  <a:pt x="4840" y="2023"/>
                </a:lnTo>
                <a:lnTo>
                  <a:pt x="4844" y="2031"/>
                </a:lnTo>
                <a:lnTo>
                  <a:pt x="4847" y="2039"/>
                </a:lnTo>
                <a:lnTo>
                  <a:pt x="4849" y="2043"/>
                </a:lnTo>
                <a:lnTo>
                  <a:pt x="4852" y="2047"/>
                </a:lnTo>
                <a:lnTo>
                  <a:pt x="4854" y="2048"/>
                </a:lnTo>
                <a:lnTo>
                  <a:pt x="4856" y="2050"/>
                </a:lnTo>
                <a:lnTo>
                  <a:pt x="4862" y="2053"/>
                </a:lnTo>
                <a:lnTo>
                  <a:pt x="4868" y="2056"/>
                </a:lnTo>
                <a:lnTo>
                  <a:pt x="4871" y="2057"/>
                </a:lnTo>
                <a:lnTo>
                  <a:pt x="4872" y="2058"/>
                </a:lnTo>
                <a:lnTo>
                  <a:pt x="4873" y="2062"/>
                </a:lnTo>
                <a:lnTo>
                  <a:pt x="4874" y="2066"/>
                </a:lnTo>
                <a:lnTo>
                  <a:pt x="4874" y="2075"/>
                </a:lnTo>
                <a:lnTo>
                  <a:pt x="4875" y="2084"/>
                </a:lnTo>
                <a:lnTo>
                  <a:pt x="4876" y="2088"/>
                </a:lnTo>
                <a:lnTo>
                  <a:pt x="4877" y="2092"/>
                </a:lnTo>
                <a:lnTo>
                  <a:pt x="4879" y="2095"/>
                </a:lnTo>
                <a:lnTo>
                  <a:pt x="4882" y="2098"/>
                </a:lnTo>
                <a:lnTo>
                  <a:pt x="4888" y="2103"/>
                </a:lnTo>
                <a:lnTo>
                  <a:pt x="4895" y="2109"/>
                </a:lnTo>
                <a:lnTo>
                  <a:pt x="4898" y="2112"/>
                </a:lnTo>
                <a:lnTo>
                  <a:pt x="4900" y="2115"/>
                </a:lnTo>
                <a:lnTo>
                  <a:pt x="4903" y="2120"/>
                </a:lnTo>
                <a:lnTo>
                  <a:pt x="4906" y="2126"/>
                </a:lnTo>
                <a:lnTo>
                  <a:pt x="4910" y="2138"/>
                </a:lnTo>
                <a:lnTo>
                  <a:pt x="4914" y="2150"/>
                </a:lnTo>
                <a:lnTo>
                  <a:pt x="4917" y="2156"/>
                </a:lnTo>
                <a:lnTo>
                  <a:pt x="4920" y="2162"/>
                </a:lnTo>
                <a:lnTo>
                  <a:pt x="4922" y="2165"/>
                </a:lnTo>
                <a:lnTo>
                  <a:pt x="4925" y="2168"/>
                </a:lnTo>
                <a:lnTo>
                  <a:pt x="4929" y="2171"/>
                </a:lnTo>
                <a:lnTo>
                  <a:pt x="4931" y="2174"/>
                </a:lnTo>
                <a:lnTo>
                  <a:pt x="4933" y="2178"/>
                </a:lnTo>
                <a:lnTo>
                  <a:pt x="4934" y="2183"/>
                </a:lnTo>
                <a:lnTo>
                  <a:pt x="4936" y="2192"/>
                </a:lnTo>
                <a:lnTo>
                  <a:pt x="4938" y="2197"/>
                </a:lnTo>
                <a:lnTo>
                  <a:pt x="4939" y="2201"/>
                </a:lnTo>
                <a:lnTo>
                  <a:pt x="4942" y="2204"/>
                </a:lnTo>
                <a:lnTo>
                  <a:pt x="4945" y="2207"/>
                </a:lnTo>
                <a:lnTo>
                  <a:pt x="4947" y="2208"/>
                </a:lnTo>
                <a:lnTo>
                  <a:pt x="4949" y="2209"/>
                </a:lnTo>
                <a:lnTo>
                  <a:pt x="4953" y="2210"/>
                </a:lnTo>
                <a:lnTo>
                  <a:pt x="4958" y="2211"/>
                </a:lnTo>
                <a:lnTo>
                  <a:pt x="4960" y="2212"/>
                </a:lnTo>
                <a:lnTo>
                  <a:pt x="4962" y="2213"/>
                </a:lnTo>
                <a:lnTo>
                  <a:pt x="4962" y="2219"/>
                </a:lnTo>
                <a:lnTo>
                  <a:pt x="4970" y="2224"/>
                </a:lnTo>
                <a:lnTo>
                  <a:pt x="4975" y="2226"/>
                </a:lnTo>
                <a:lnTo>
                  <a:pt x="4977" y="2227"/>
                </a:lnTo>
                <a:lnTo>
                  <a:pt x="4979" y="2227"/>
                </a:lnTo>
                <a:lnTo>
                  <a:pt x="4978" y="2226"/>
                </a:lnTo>
                <a:lnTo>
                  <a:pt x="4977" y="2224"/>
                </a:lnTo>
                <a:lnTo>
                  <a:pt x="4977" y="2222"/>
                </a:lnTo>
                <a:lnTo>
                  <a:pt x="4978" y="2221"/>
                </a:lnTo>
                <a:lnTo>
                  <a:pt x="4979" y="2220"/>
                </a:lnTo>
                <a:lnTo>
                  <a:pt x="4982" y="2219"/>
                </a:lnTo>
                <a:lnTo>
                  <a:pt x="4988" y="2220"/>
                </a:lnTo>
                <a:lnTo>
                  <a:pt x="4994" y="2221"/>
                </a:lnTo>
                <a:lnTo>
                  <a:pt x="4998" y="2221"/>
                </a:lnTo>
                <a:lnTo>
                  <a:pt x="4998" y="2213"/>
                </a:lnTo>
                <a:lnTo>
                  <a:pt x="4998" y="2206"/>
                </a:lnTo>
                <a:lnTo>
                  <a:pt x="4998" y="2203"/>
                </a:lnTo>
                <a:lnTo>
                  <a:pt x="4997" y="2200"/>
                </a:lnTo>
                <a:lnTo>
                  <a:pt x="4995" y="2198"/>
                </a:lnTo>
                <a:lnTo>
                  <a:pt x="4993" y="2196"/>
                </a:lnTo>
                <a:lnTo>
                  <a:pt x="4993" y="2193"/>
                </a:lnTo>
                <a:lnTo>
                  <a:pt x="5001" y="2190"/>
                </a:lnTo>
                <a:lnTo>
                  <a:pt x="5003" y="2181"/>
                </a:lnTo>
                <a:lnTo>
                  <a:pt x="5004" y="2174"/>
                </a:lnTo>
                <a:lnTo>
                  <a:pt x="5000" y="2170"/>
                </a:lnTo>
                <a:lnTo>
                  <a:pt x="4997" y="2167"/>
                </a:lnTo>
                <a:lnTo>
                  <a:pt x="4996" y="2165"/>
                </a:lnTo>
                <a:lnTo>
                  <a:pt x="4995" y="2162"/>
                </a:lnTo>
                <a:lnTo>
                  <a:pt x="4996" y="2159"/>
                </a:lnTo>
                <a:lnTo>
                  <a:pt x="4996" y="2156"/>
                </a:lnTo>
                <a:lnTo>
                  <a:pt x="4996" y="2154"/>
                </a:lnTo>
                <a:lnTo>
                  <a:pt x="4987" y="2155"/>
                </a:lnTo>
                <a:lnTo>
                  <a:pt x="4982" y="2155"/>
                </a:lnTo>
                <a:lnTo>
                  <a:pt x="4980" y="2154"/>
                </a:lnTo>
                <a:lnTo>
                  <a:pt x="4979" y="2154"/>
                </a:lnTo>
                <a:lnTo>
                  <a:pt x="4978" y="2153"/>
                </a:lnTo>
                <a:lnTo>
                  <a:pt x="4977" y="2152"/>
                </a:lnTo>
                <a:lnTo>
                  <a:pt x="4976" y="2148"/>
                </a:lnTo>
                <a:lnTo>
                  <a:pt x="4975" y="2144"/>
                </a:lnTo>
                <a:lnTo>
                  <a:pt x="4975" y="2140"/>
                </a:lnTo>
                <a:lnTo>
                  <a:pt x="4975" y="2132"/>
                </a:lnTo>
                <a:lnTo>
                  <a:pt x="4976" y="2126"/>
                </a:lnTo>
                <a:lnTo>
                  <a:pt x="4965" y="2124"/>
                </a:lnTo>
                <a:lnTo>
                  <a:pt x="4956" y="2123"/>
                </a:lnTo>
                <a:lnTo>
                  <a:pt x="4959" y="2109"/>
                </a:lnTo>
                <a:lnTo>
                  <a:pt x="4958" y="2110"/>
                </a:lnTo>
                <a:lnTo>
                  <a:pt x="4958" y="2111"/>
                </a:lnTo>
                <a:lnTo>
                  <a:pt x="4958" y="2112"/>
                </a:lnTo>
                <a:lnTo>
                  <a:pt x="4959" y="2113"/>
                </a:lnTo>
                <a:lnTo>
                  <a:pt x="4962" y="2115"/>
                </a:lnTo>
                <a:lnTo>
                  <a:pt x="4962" y="2109"/>
                </a:lnTo>
                <a:lnTo>
                  <a:pt x="4962" y="2105"/>
                </a:lnTo>
                <a:lnTo>
                  <a:pt x="4961" y="2100"/>
                </a:lnTo>
                <a:lnTo>
                  <a:pt x="4959" y="2095"/>
                </a:lnTo>
                <a:lnTo>
                  <a:pt x="4957" y="2093"/>
                </a:lnTo>
                <a:lnTo>
                  <a:pt x="4955" y="2092"/>
                </a:lnTo>
                <a:lnTo>
                  <a:pt x="4952" y="2091"/>
                </a:lnTo>
                <a:lnTo>
                  <a:pt x="4951" y="2089"/>
                </a:lnTo>
                <a:lnTo>
                  <a:pt x="4951" y="2084"/>
                </a:lnTo>
                <a:lnTo>
                  <a:pt x="4945" y="2084"/>
                </a:lnTo>
                <a:lnTo>
                  <a:pt x="4945" y="2082"/>
                </a:lnTo>
                <a:lnTo>
                  <a:pt x="4945" y="2081"/>
                </a:lnTo>
                <a:lnTo>
                  <a:pt x="4947" y="2079"/>
                </a:lnTo>
                <a:lnTo>
                  <a:pt x="4948" y="2076"/>
                </a:lnTo>
                <a:lnTo>
                  <a:pt x="4948" y="2075"/>
                </a:lnTo>
                <a:lnTo>
                  <a:pt x="4948" y="2072"/>
                </a:lnTo>
                <a:lnTo>
                  <a:pt x="4941" y="2078"/>
                </a:lnTo>
                <a:lnTo>
                  <a:pt x="4937" y="2081"/>
                </a:lnTo>
                <a:lnTo>
                  <a:pt x="4934" y="2084"/>
                </a:lnTo>
                <a:lnTo>
                  <a:pt x="4933" y="2080"/>
                </a:lnTo>
                <a:lnTo>
                  <a:pt x="4933" y="2075"/>
                </a:lnTo>
                <a:lnTo>
                  <a:pt x="4932" y="2071"/>
                </a:lnTo>
                <a:lnTo>
                  <a:pt x="4931" y="2067"/>
                </a:lnTo>
                <a:lnTo>
                  <a:pt x="4930" y="2066"/>
                </a:lnTo>
                <a:lnTo>
                  <a:pt x="4929" y="2065"/>
                </a:lnTo>
                <a:lnTo>
                  <a:pt x="4925" y="2064"/>
                </a:lnTo>
                <a:lnTo>
                  <a:pt x="4922" y="2063"/>
                </a:lnTo>
                <a:lnTo>
                  <a:pt x="4920" y="2061"/>
                </a:lnTo>
                <a:lnTo>
                  <a:pt x="4918" y="2058"/>
                </a:lnTo>
                <a:lnTo>
                  <a:pt x="4917" y="2054"/>
                </a:lnTo>
                <a:lnTo>
                  <a:pt x="4916" y="2050"/>
                </a:lnTo>
                <a:lnTo>
                  <a:pt x="4915" y="2048"/>
                </a:lnTo>
                <a:lnTo>
                  <a:pt x="4914" y="2047"/>
                </a:lnTo>
                <a:lnTo>
                  <a:pt x="4913" y="2046"/>
                </a:lnTo>
                <a:lnTo>
                  <a:pt x="4912" y="2046"/>
                </a:lnTo>
                <a:lnTo>
                  <a:pt x="4911" y="2047"/>
                </a:lnTo>
                <a:lnTo>
                  <a:pt x="4911" y="2048"/>
                </a:lnTo>
                <a:lnTo>
                  <a:pt x="4911" y="2053"/>
                </a:lnTo>
                <a:lnTo>
                  <a:pt x="4905" y="2049"/>
                </a:lnTo>
                <a:lnTo>
                  <a:pt x="4902" y="2046"/>
                </a:lnTo>
                <a:lnTo>
                  <a:pt x="4900" y="2044"/>
                </a:lnTo>
                <a:lnTo>
                  <a:pt x="4899" y="2043"/>
                </a:lnTo>
                <a:lnTo>
                  <a:pt x="4899" y="2041"/>
                </a:lnTo>
                <a:lnTo>
                  <a:pt x="4900" y="2037"/>
                </a:lnTo>
                <a:lnTo>
                  <a:pt x="4900" y="2034"/>
                </a:lnTo>
                <a:lnTo>
                  <a:pt x="4900" y="2032"/>
                </a:lnTo>
                <a:lnTo>
                  <a:pt x="4900" y="2030"/>
                </a:lnTo>
                <a:lnTo>
                  <a:pt x="4899" y="2030"/>
                </a:lnTo>
                <a:lnTo>
                  <a:pt x="4896" y="2030"/>
                </a:lnTo>
                <a:lnTo>
                  <a:pt x="4892" y="2030"/>
                </a:lnTo>
                <a:lnTo>
                  <a:pt x="4891" y="2026"/>
                </a:lnTo>
                <a:lnTo>
                  <a:pt x="4892" y="2022"/>
                </a:lnTo>
                <a:lnTo>
                  <a:pt x="4884" y="2019"/>
                </a:lnTo>
                <a:lnTo>
                  <a:pt x="4880" y="2018"/>
                </a:lnTo>
                <a:lnTo>
                  <a:pt x="4877" y="2016"/>
                </a:lnTo>
                <a:lnTo>
                  <a:pt x="4877" y="2015"/>
                </a:lnTo>
                <a:lnTo>
                  <a:pt x="4876" y="2014"/>
                </a:lnTo>
                <a:lnTo>
                  <a:pt x="4876" y="2010"/>
                </a:lnTo>
                <a:lnTo>
                  <a:pt x="4876" y="2007"/>
                </a:lnTo>
                <a:lnTo>
                  <a:pt x="4875" y="2005"/>
                </a:lnTo>
                <a:lnTo>
                  <a:pt x="4866" y="1999"/>
                </a:lnTo>
                <a:lnTo>
                  <a:pt x="4858" y="1994"/>
                </a:lnTo>
                <a:lnTo>
                  <a:pt x="4856" y="1990"/>
                </a:lnTo>
                <a:lnTo>
                  <a:pt x="4855" y="1985"/>
                </a:lnTo>
                <a:lnTo>
                  <a:pt x="4854" y="1980"/>
                </a:lnTo>
                <a:lnTo>
                  <a:pt x="4853" y="1978"/>
                </a:lnTo>
                <a:lnTo>
                  <a:pt x="4852" y="1977"/>
                </a:lnTo>
                <a:lnTo>
                  <a:pt x="4849" y="1975"/>
                </a:lnTo>
                <a:lnTo>
                  <a:pt x="4845" y="1975"/>
                </a:lnTo>
                <a:lnTo>
                  <a:pt x="4838" y="1974"/>
                </a:lnTo>
                <a:lnTo>
                  <a:pt x="4829" y="1975"/>
                </a:lnTo>
                <a:lnTo>
                  <a:pt x="4825" y="1975"/>
                </a:lnTo>
                <a:lnTo>
                  <a:pt x="4821" y="1974"/>
                </a:lnTo>
                <a:lnTo>
                  <a:pt x="4820" y="1972"/>
                </a:lnTo>
                <a:lnTo>
                  <a:pt x="4818" y="1970"/>
                </a:lnTo>
                <a:lnTo>
                  <a:pt x="4817" y="1967"/>
                </a:lnTo>
                <a:lnTo>
                  <a:pt x="4816" y="1965"/>
                </a:lnTo>
                <a:lnTo>
                  <a:pt x="4813" y="1965"/>
                </a:lnTo>
                <a:lnTo>
                  <a:pt x="4810" y="1965"/>
                </a:lnTo>
                <a:lnTo>
                  <a:pt x="4807" y="1966"/>
                </a:lnTo>
                <a:lnTo>
                  <a:pt x="4806" y="1966"/>
                </a:lnTo>
                <a:lnTo>
                  <a:pt x="4804" y="1965"/>
                </a:lnTo>
                <a:close/>
                <a:moveTo>
                  <a:pt x="5356" y="1892"/>
                </a:moveTo>
                <a:lnTo>
                  <a:pt x="5355" y="1895"/>
                </a:lnTo>
                <a:lnTo>
                  <a:pt x="5355" y="1899"/>
                </a:lnTo>
                <a:lnTo>
                  <a:pt x="5356" y="1906"/>
                </a:lnTo>
                <a:lnTo>
                  <a:pt x="5353" y="1907"/>
                </a:lnTo>
                <a:lnTo>
                  <a:pt x="5350" y="1906"/>
                </a:lnTo>
                <a:lnTo>
                  <a:pt x="5347" y="1906"/>
                </a:lnTo>
                <a:lnTo>
                  <a:pt x="5346" y="1906"/>
                </a:lnTo>
                <a:lnTo>
                  <a:pt x="5344" y="1906"/>
                </a:lnTo>
                <a:lnTo>
                  <a:pt x="5344" y="1915"/>
                </a:lnTo>
                <a:lnTo>
                  <a:pt x="5339" y="1915"/>
                </a:lnTo>
                <a:lnTo>
                  <a:pt x="5335" y="1915"/>
                </a:lnTo>
                <a:lnTo>
                  <a:pt x="5331" y="1916"/>
                </a:lnTo>
                <a:lnTo>
                  <a:pt x="5325" y="1918"/>
                </a:lnTo>
                <a:lnTo>
                  <a:pt x="5323" y="1918"/>
                </a:lnTo>
                <a:lnTo>
                  <a:pt x="5323" y="1919"/>
                </a:lnTo>
                <a:lnTo>
                  <a:pt x="5325" y="1920"/>
                </a:lnTo>
                <a:lnTo>
                  <a:pt x="5325" y="1921"/>
                </a:lnTo>
                <a:lnTo>
                  <a:pt x="5322" y="1920"/>
                </a:lnTo>
                <a:lnTo>
                  <a:pt x="5322" y="1919"/>
                </a:lnTo>
                <a:lnTo>
                  <a:pt x="5322" y="1917"/>
                </a:lnTo>
                <a:lnTo>
                  <a:pt x="5321" y="1915"/>
                </a:lnTo>
                <a:lnTo>
                  <a:pt x="5320" y="1913"/>
                </a:lnTo>
                <a:lnTo>
                  <a:pt x="5318" y="1912"/>
                </a:lnTo>
                <a:lnTo>
                  <a:pt x="5315" y="1911"/>
                </a:lnTo>
                <a:lnTo>
                  <a:pt x="5313" y="1912"/>
                </a:lnTo>
                <a:lnTo>
                  <a:pt x="5311" y="1912"/>
                </a:lnTo>
                <a:lnTo>
                  <a:pt x="5310" y="1912"/>
                </a:lnTo>
                <a:lnTo>
                  <a:pt x="5309" y="1913"/>
                </a:lnTo>
                <a:lnTo>
                  <a:pt x="5308" y="1915"/>
                </a:lnTo>
                <a:lnTo>
                  <a:pt x="5305" y="1918"/>
                </a:lnTo>
                <a:lnTo>
                  <a:pt x="5303" y="1919"/>
                </a:lnTo>
                <a:lnTo>
                  <a:pt x="5299" y="1920"/>
                </a:lnTo>
                <a:lnTo>
                  <a:pt x="5294" y="1923"/>
                </a:lnTo>
                <a:lnTo>
                  <a:pt x="5293" y="1926"/>
                </a:lnTo>
                <a:lnTo>
                  <a:pt x="5293" y="1930"/>
                </a:lnTo>
                <a:lnTo>
                  <a:pt x="5294" y="1937"/>
                </a:lnTo>
                <a:lnTo>
                  <a:pt x="5291" y="1938"/>
                </a:lnTo>
                <a:lnTo>
                  <a:pt x="5289" y="1939"/>
                </a:lnTo>
                <a:lnTo>
                  <a:pt x="5289" y="1940"/>
                </a:lnTo>
                <a:lnTo>
                  <a:pt x="5289" y="1942"/>
                </a:lnTo>
                <a:lnTo>
                  <a:pt x="5290" y="1944"/>
                </a:lnTo>
                <a:lnTo>
                  <a:pt x="5291" y="1945"/>
                </a:lnTo>
                <a:lnTo>
                  <a:pt x="5292" y="1946"/>
                </a:lnTo>
                <a:lnTo>
                  <a:pt x="5294" y="1946"/>
                </a:lnTo>
                <a:lnTo>
                  <a:pt x="5302" y="1934"/>
                </a:lnTo>
                <a:lnTo>
                  <a:pt x="5301" y="1934"/>
                </a:lnTo>
                <a:lnTo>
                  <a:pt x="5301" y="1933"/>
                </a:lnTo>
                <a:lnTo>
                  <a:pt x="5302" y="1933"/>
                </a:lnTo>
                <a:lnTo>
                  <a:pt x="5304" y="1933"/>
                </a:lnTo>
                <a:lnTo>
                  <a:pt x="5306" y="1933"/>
                </a:lnTo>
                <a:lnTo>
                  <a:pt x="5307" y="1934"/>
                </a:lnTo>
                <a:lnTo>
                  <a:pt x="5307" y="1935"/>
                </a:lnTo>
                <a:lnTo>
                  <a:pt x="5306" y="1936"/>
                </a:lnTo>
                <a:lnTo>
                  <a:pt x="5305" y="1937"/>
                </a:lnTo>
                <a:lnTo>
                  <a:pt x="5313" y="1937"/>
                </a:lnTo>
                <a:lnTo>
                  <a:pt x="5319" y="1937"/>
                </a:lnTo>
                <a:lnTo>
                  <a:pt x="5324" y="1937"/>
                </a:lnTo>
                <a:lnTo>
                  <a:pt x="5330" y="1937"/>
                </a:lnTo>
                <a:lnTo>
                  <a:pt x="5330" y="1943"/>
                </a:lnTo>
                <a:lnTo>
                  <a:pt x="5325" y="1946"/>
                </a:lnTo>
                <a:lnTo>
                  <a:pt x="5326" y="1950"/>
                </a:lnTo>
                <a:lnTo>
                  <a:pt x="5327" y="1953"/>
                </a:lnTo>
                <a:lnTo>
                  <a:pt x="5327" y="1958"/>
                </a:lnTo>
                <a:lnTo>
                  <a:pt x="5328" y="1959"/>
                </a:lnTo>
                <a:lnTo>
                  <a:pt x="5329" y="1961"/>
                </a:lnTo>
                <a:lnTo>
                  <a:pt x="5330" y="1963"/>
                </a:lnTo>
                <a:lnTo>
                  <a:pt x="5333" y="1965"/>
                </a:lnTo>
                <a:lnTo>
                  <a:pt x="5337" y="1968"/>
                </a:lnTo>
                <a:lnTo>
                  <a:pt x="5340" y="1969"/>
                </a:lnTo>
                <a:lnTo>
                  <a:pt x="5350" y="1971"/>
                </a:lnTo>
                <a:lnTo>
                  <a:pt x="5350" y="1979"/>
                </a:lnTo>
                <a:lnTo>
                  <a:pt x="5354" y="1976"/>
                </a:lnTo>
                <a:lnTo>
                  <a:pt x="5355" y="1975"/>
                </a:lnTo>
                <a:lnTo>
                  <a:pt x="5356" y="1975"/>
                </a:lnTo>
                <a:lnTo>
                  <a:pt x="5358" y="1974"/>
                </a:lnTo>
                <a:lnTo>
                  <a:pt x="5357" y="1964"/>
                </a:lnTo>
                <a:lnTo>
                  <a:pt x="5356" y="1954"/>
                </a:lnTo>
                <a:lnTo>
                  <a:pt x="5359" y="1956"/>
                </a:lnTo>
                <a:lnTo>
                  <a:pt x="5361" y="1957"/>
                </a:lnTo>
                <a:lnTo>
                  <a:pt x="5363" y="1958"/>
                </a:lnTo>
                <a:lnTo>
                  <a:pt x="5364" y="1958"/>
                </a:lnTo>
                <a:lnTo>
                  <a:pt x="5364" y="1957"/>
                </a:lnTo>
                <a:lnTo>
                  <a:pt x="5363" y="1956"/>
                </a:lnTo>
                <a:lnTo>
                  <a:pt x="5362" y="1954"/>
                </a:lnTo>
                <a:lnTo>
                  <a:pt x="5359" y="1948"/>
                </a:lnTo>
                <a:lnTo>
                  <a:pt x="5359" y="1945"/>
                </a:lnTo>
                <a:lnTo>
                  <a:pt x="5358" y="1943"/>
                </a:lnTo>
                <a:lnTo>
                  <a:pt x="5364" y="1943"/>
                </a:lnTo>
                <a:lnTo>
                  <a:pt x="5367" y="1937"/>
                </a:lnTo>
                <a:lnTo>
                  <a:pt x="5370" y="1932"/>
                </a:lnTo>
                <a:lnTo>
                  <a:pt x="5371" y="1930"/>
                </a:lnTo>
                <a:lnTo>
                  <a:pt x="5373" y="1928"/>
                </a:lnTo>
                <a:lnTo>
                  <a:pt x="5375" y="1926"/>
                </a:lnTo>
                <a:lnTo>
                  <a:pt x="5376" y="1923"/>
                </a:lnTo>
                <a:lnTo>
                  <a:pt x="5377" y="1921"/>
                </a:lnTo>
                <a:lnTo>
                  <a:pt x="5377" y="1919"/>
                </a:lnTo>
                <a:lnTo>
                  <a:pt x="5375" y="1918"/>
                </a:lnTo>
                <a:lnTo>
                  <a:pt x="5374" y="1917"/>
                </a:lnTo>
                <a:lnTo>
                  <a:pt x="5373" y="1916"/>
                </a:lnTo>
                <a:lnTo>
                  <a:pt x="5371" y="1913"/>
                </a:lnTo>
                <a:lnTo>
                  <a:pt x="5369" y="1910"/>
                </a:lnTo>
                <a:lnTo>
                  <a:pt x="5368" y="1906"/>
                </a:lnTo>
                <a:lnTo>
                  <a:pt x="5367" y="1898"/>
                </a:lnTo>
                <a:lnTo>
                  <a:pt x="5367" y="1892"/>
                </a:lnTo>
                <a:lnTo>
                  <a:pt x="5361" y="1893"/>
                </a:lnTo>
                <a:lnTo>
                  <a:pt x="5358" y="1893"/>
                </a:lnTo>
                <a:lnTo>
                  <a:pt x="5356" y="1892"/>
                </a:lnTo>
                <a:close/>
                <a:moveTo>
                  <a:pt x="5246" y="1847"/>
                </a:moveTo>
                <a:lnTo>
                  <a:pt x="5245" y="1851"/>
                </a:lnTo>
                <a:lnTo>
                  <a:pt x="5246" y="1854"/>
                </a:lnTo>
                <a:lnTo>
                  <a:pt x="5246" y="1856"/>
                </a:lnTo>
                <a:lnTo>
                  <a:pt x="5246" y="1858"/>
                </a:lnTo>
                <a:lnTo>
                  <a:pt x="5240" y="1858"/>
                </a:lnTo>
                <a:lnTo>
                  <a:pt x="5237" y="1868"/>
                </a:lnTo>
                <a:lnTo>
                  <a:pt x="5233" y="1878"/>
                </a:lnTo>
                <a:lnTo>
                  <a:pt x="5231" y="1883"/>
                </a:lnTo>
                <a:lnTo>
                  <a:pt x="5228" y="1888"/>
                </a:lnTo>
                <a:lnTo>
                  <a:pt x="5226" y="1892"/>
                </a:lnTo>
                <a:lnTo>
                  <a:pt x="5223" y="1895"/>
                </a:lnTo>
                <a:lnTo>
                  <a:pt x="5222" y="1896"/>
                </a:lnTo>
                <a:lnTo>
                  <a:pt x="5219" y="1897"/>
                </a:lnTo>
                <a:lnTo>
                  <a:pt x="5215" y="1899"/>
                </a:lnTo>
                <a:lnTo>
                  <a:pt x="5210" y="1901"/>
                </a:lnTo>
                <a:lnTo>
                  <a:pt x="5208" y="1902"/>
                </a:lnTo>
                <a:lnTo>
                  <a:pt x="5207" y="1903"/>
                </a:lnTo>
                <a:lnTo>
                  <a:pt x="5204" y="1908"/>
                </a:lnTo>
                <a:lnTo>
                  <a:pt x="5203" y="1911"/>
                </a:lnTo>
                <a:lnTo>
                  <a:pt x="5204" y="1912"/>
                </a:lnTo>
                <a:lnTo>
                  <a:pt x="5205" y="1912"/>
                </a:lnTo>
                <a:lnTo>
                  <a:pt x="5207" y="1912"/>
                </a:lnTo>
                <a:lnTo>
                  <a:pt x="5218" y="1907"/>
                </a:lnTo>
                <a:lnTo>
                  <a:pt x="5224" y="1904"/>
                </a:lnTo>
                <a:lnTo>
                  <a:pt x="5227" y="1902"/>
                </a:lnTo>
                <a:lnTo>
                  <a:pt x="5229" y="1901"/>
                </a:lnTo>
                <a:lnTo>
                  <a:pt x="5230" y="1899"/>
                </a:lnTo>
                <a:lnTo>
                  <a:pt x="5231" y="1897"/>
                </a:lnTo>
                <a:lnTo>
                  <a:pt x="5232" y="1893"/>
                </a:lnTo>
                <a:lnTo>
                  <a:pt x="5233" y="1888"/>
                </a:lnTo>
                <a:lnTo>
                  <a:pt x="5234" y="1886"/>
                </a:lnTo>
                <a:lnTo>
                  <a:pt x="5235" y="1884"/>
                </a:lnTo>
                <a:lnTo>
                  <a:pt x="5236" y="1882"/>
                </a:lnTo>
                <a:lnTo>
                  <a:pt x="5238" y="1880"/>
                </a:lnTo>
                <a:lnTo>
                  <a:pt x="5244" y="1876"/>
                </a:lnTo>
                <a:lnTo>
                  <a:pt x="5249" y="1872"/>
                </a:lnTo>
                <a:lnTo>
                  <a:pt x="5251" y="1869"/>
                </a:lnTo>
                <a:lnTo>
                  <a:pt x="5252" y="1867"/>
                </a:lnTo>
                <a:lnTo>
                  <a:pt x="5251" y="1863"/>
                </a:lnTo>
                <a:lnTo>
                  <a:pt x="5249" y="1857"/>
                </a:lnTo>
                <a:lnTo>
                  <a:pt x="5247" y="1851"/>
                </a:lnTo>
                <a:lnTo>
                  <a:pt x="5246" y="1847"/>
                </a:lnTo>
                <a:close/>
                <a:moveTo>
                  <a:pt x="5271" y="1678"/>
                </a:moveTo>
                <a:lnTo>
                  <a:pt x="5269" y="1690"/>
                </a:lnTo>
                <a:lnTo>
                  <a:pt x="5269" y="1695"/>
                </a:lnTo>
                <a:lnTo>
                  <a:pt x="5269" y="1700"/>
                </a:lnTo>
                <a:lnTo>
                  <a:pt x="5269" y="1710"/>
                </a:lnTo>
                <a:lnTo>
                  <a:pt x="5268" y="1721"/>
                </a:lnTo>
                <a:lnTo>
                  <a:pt x="5263" y="1723"/>
                </a:lnTo>
                <a:lnTo>
                  <a:pt x="5262" y="1725"/>
                </a:lnTo>
                <a:lnTo>
                  <a:pt x="5262" y="1728"/>
                </a:lnTo>
                <a:lnTo>
                  <a:pt x="5263" y="1732"/>
                </a:lnTo>
                <a:lnTo>
                  <a:pt x="5264" y="1731"/>
                </a:lnTo>
                <a:lnTo>
                  <a:pt x="5265" y="1731"/>
                </a:lnTo>
                <a:lnTo>
                  <a:pt x="5265" y="1732"/>
                </a:lnTo>
                <a:lnTo>
                  <a:pt x="5266" y="1733"/>
                </a:lnTo>
                <a:lnTo>
                  <a:pt x="5266" y="1738"/>
                </a:lnTo>
                <a:lnTo>
                  <a:pt x="5261" y="1738"/>
                </a:lnTo>
                <a:lnTo>
                  <a:pt x="5259" y="1738"/>
                </a:lnTo>
                <a:lnTo>
                  <a:pt x="5260" y="1738"/>
                </a:lnTo>
                <a:lnTo>
                  <a:pt x="5255" y="1736"/>
                </a:lnTo>
                <a:lnTo>
                  <a:pt x="5253" y="1735"/>
                </a:lnTo>
                <a:lnTo>
                  <a:pt x="5254" y="1735"/>
                </a:lnTo>
                <a:lnTo>
                  <a:pt x="5253" y="1736"/>
                </a:lnTo>
                <a:lnTo>
                  <a:pt x="5252" y="1740"/>
                </a:lnTo>
                <a:lnTo>
                  <a:pt x="5252" y="1742"/>
                </a:lnTo>
                <a:lnTo>
                  <a:pt x="5253" y="1744"/>
                </a:lnTo>
                <a:lnTo>
                  <a:pt x="5254" y="1745"/>
                </a:lnTo>
                <a:lnTo>
                  <a:pt x="5256" y="1746"/>
                </a:lnTo>
                <a:lnTo>
                  <a:pt x="5257" y="1746"/>
                </a:lnTo>
                <a:lnTo>
                  <a:pt x="5261" y="1760"/>
                </a:lnTo>
                <a:lnTo>
                  <a:pt x="5263" y="1765"/>
                </a:lnTo>
                <a:lnTo>
                  <a:pt x="5266" y="1771"/>
                </a:lnTo>
                <a:lnTo>
                  <a:pt x="5267" y="1770"/>
                </a:lnTo>
                <a:lnTo>
                  <a:pt x="5267" y="1769"/>
                </a:lnTo>
                <a:lnTo>
                  <a:pt x="5269" y="1767"/>
                </a:lnTo>
                <a:lnTo>
                  <a:pt x="5270" y="1766"/>
                </a:lnTo>
                <a:lnTo>
                  <a:pt x="5272" y="1766"/>
                </a:lnTo>
                <a:lnTo>
                  <a:pt x="5274" y="1766"/>
                </a:lnTo>
                <a:lnTo>
                  <a:pt x="5272" y="1776"/>
                </a:lnTo>
                <a:lnTo>
                  <a:pt x="5271" y="1779"/>
                </a:lnTo>
                <a:lnTo>
                  <a:pt x="5271" y="1782"/>
                </a:lnTo>
                <a:lnTo>
                  <a:pt x="5272" y="1785"/>
                </a:lnTo>
                <a:lnTo>
                  <a:pt x="5273" y="1788"/>
                </a:lnTo>
                <a:lnTo>
                  <a:pt x="5277" y="1797"/>
                </a:lnTo>
                <a:lnTo>
                  <a:pt x="5288" y="1793"/>
                </a:lnTo>
                <a:lnTo>
                  <a:pt x="5291" y="1792"/>
                </a:lnTo>
                <a:lnTo>
                  <a:pt x="5294" y="1792"/>
                </a:lnTo>
                <a:lnTo>
                  <a:pt x="5296" y="1793"/>
                </a:lnTo>
                <a:lnTo>
                  <a:pt x="5299" y="1795"/>
                </a:lnTo>
                <a:lnTo>
                  <a:pt x="5308" y="1802"/>
                </a:lnTo>
                <a:lnTo>
                  <a:pt x="5307" y="1797"/>
                </a:lnTo>
                <a:lnTo>
                  <a:pt x="5305" y="1792"/>
                </a:lnTo>
                <a:lnTo>
                  <a:pt x="5305" y="1790"/>
                </a:lnTo>
                <a:lnTo>
                  <a:pt x="5306" y="1790"/>
                </a:lnTo>
                <a:lnTo>
                  <a:pt x="5308" y="1791"/>
                </a:lnTo>
                <a:lnTo>
                  <a:pt x="5310" y="1793"/>
                </a:lnTo>
                <a:lnTo>
                  <a:pt x="5313" y="1796"/>
                </a:lnTo>
                <a:lnTo>
                  <a:pt x="5317" y="1802"/>
                </a:lnTo>
                <a:lnTo>
                  <a:pt x="5321" y="1808"/>
                </a:lnTo>
                <a:lnTo>
                  <a:pt x="5325" y="1813"/>
                </a:lnTo>
                <a:lnTo>
                  <a:pt x="5326" y="1813"/>
                </a:lnTo>
                <a:lnTo>
                  <a:pt x="5327" y="1814"/>
                </a:lnTo>
                <a:lnTo>
                  <a:pt x="5330" y="1816"/>
                </a:lnTo>
                <a:lnTo>
                  <a:pt x="5331" y="1813"/>
                </a:lnTo>
                <a:lnTo>
                  <a:pt x="5330" y="1811"/>
                </a:lnTo>
                <a:lnTo>
                  <a:pt x="5331" y="1810"/>
                </a:lnTo>
                <a:lnTo>
                  <a:pt x="5333" y="1808"/>
                </a:lnTo>
                <a:lnTo>
                  <a:pt x="5327" y="1795"/>
                </a:lnTo>
                <a:lnTo>
                  <a:pt x="5326" y="1789"/>
                </a:lnTo>
                <a:lnTo>
                  <a:pt x="5325" y="1783"/>
                </a:lnTo>
                <a:lnTo>
                  <a:pt x="5313" y="1785"/>
                </a:lnTo>
                <a:lnTo>
                  <a:pt x="5313" y="1777"/>
                </a:lnTo>
                <a:lnTo>
                  <a:pt x="5306" y="1779"/>
                </a:lnTo>
                <a:lnTo>
                  <a:pt x="5300" y="1780"/>
                </a:lnTo>
                <a:lnTo>
                  <a:pt x="5295" y="1781"/>
                </a:lnTo>
                <a:lnTo>
                  <a:pt x="5288" y="1783"/>
                </a:lnTo>
                <a:lnTo>
                  <a:pt x="5287" y="1775"/>
                </a:lnTo>
                <a:lnTo>
                  <a:pt x="5286" y="1771"/>
                </a:lnTo>
                <a:lnTo>
                  <a:pt x="5286" y="1769"/>
                </a:lnTo>
                <a:lnTo>
                  <a:pt x="5285" y="1768"/>
                </a:lnTo>
                <a:lnTo>
                  <a:pt x="5285" y="1769"/>
                </a:lnTo>
                <a:lnTo>
                  <a:pt x="5284" y="1766"/>
                </a:lnTo>
                <a:lnTo>
                  <a:pt x="5282" y="1760"/>
                </a:lnTo>
                <a:lnTo>
                  <a:pt x="5285" y="1758"/>
                </a:lnTo>
                <a:lnTo>
                  <a:pt x="5286" y="1757"/>
                </a:lnTo>
                <a:lnTo>
                  <a:pt x="5286" y="1755"/>
                </a:lnTo>
                <a:lnTo>
                  <a:pt x="5285" y="1753"/>
                </a:lnTo>
                <a:lnTo>
                  <a:pt x="5283" y="1749"/>
                </a:lnTo>
                <a:lnTo>
                  <a:pt x="5283" y="1747"/>
                </a:lnTo>
                <a:lnTo>
                  <a:pt x="5282" y="1746"/>
                </a:lnTo>
                <a:lnTo>
                  <a:pt x="5285" y="1746"/>
                </a:lnTo>
                <a:lnTo>
                  <a:pt x="5289" y="1738"/>
                </a:lnTo>
                <a:lnTo>
                  <a:pt x="5294" y="1731"/>
                </a:lnTo>
                <a:lnTo>
                  <a:pt x="5299" y="1724"/>
                </a:lnTo>
                <a:lnTo>
                  <a:pt x="5302" y="1721"/>
                </a:lnTo>
                <a:lnTo>
                  <a:pt x="5305" y="1718"/>
                </a:lnTo>
                <a:lnTo>
                  <a:pt x="5305" y="1717"/>
                </a:lnTo>
                <a:lnTo>
                  <a:pt x="5305" y="1715"/>
                </a:lnTo>
                <a:lnTo>
                  <a:pt x="5302" y="1710"/>
                </a:lnTo>
                <a:lnTo>
                  <a:pt x="5297" y="1704"/>
                </a:lnTo>
                <a:lnTo>
                  <a:pt x="5296" y="1696"/>
                </a:lnTo>
                <a:lnTo>
                  <a:pt x="5297" y="1690"/>
                </a:lnTo>
                <a:lnTo>
                  <a:pt x="5298" y="1684"/>
                </a:lnTo>
                <a:lnTo>
                  <a:pt x="5299" y="1678"/>
                </a:lnTo>
                <a:lnTo>
                  <a:pt x="5297" y="1679"/>
                </a:lnTo>
                <a:lnTo>
                  <a:pt x="5296" y="1681"/>
                </a:lnTo>
                <a:lnTo>
                  <a:pt x="5294" y="1684"/>
                </a:lnTo>
                <a:lnTo>
                  <a:pt x="5290" y="1685"/>
                </a:lnTo>
                <a:lnTo>
                  <a:pt x="5287" y="1685"/>
                </a:lnTo>
                <a:lnTo>
                  <a:pt x="5284" y="1684"/>
                </a:lnTo>
                <a:lnTo>
                  <a:pt x="5282" y="1683"/>
                </a:lnTo>
                <a:lnTo>
                  <a:pt x="5277" y="1681"/>
                </a:lnTo>
                <a:lnTo>
                  <a:pt x="5271" y="1678"/>
                </a:lnTo>
                <a:close/>
                <a:moveTo>
                  <a:pt x="1635" y="1673"/>
                </a:moveTo>
                <a:lnTo>
                  <a:pt x="1630" y="1681"/>
                </a:lnTo>
                <a:lnTo>
                  <a:pt x="1635" y="1684"/>
                </a:lnTo>
                <a:lnTo>
                  <a:pt x="1640" y="1685"/>
                </a:lnTo>
                <a:lnTo>
                  <a:pt x="1644" y="1687"/>
                </a:lnTo>
                <a:lnTo>
                  <a:pt x="1649" y="1690"/>
                </a:lnTo>
                <a:lnTo>
                  <a:pt x="1649" y="1692"/>
                </a:lnTo>
                <a:lnTo>
                  <a:pt x="1652" y="1693"/>
                </a:lnTo>
                <a:lnTo>
                  <a:pt x="1655" y="1693"/>
                </a:lnTo>
                <a:lnTo>
                  <a:pt x="1660" y="1692"/>
                </a:lnTo>
                <a:lnTo>
                  <a:pt x="1665" y="1690"/>
                </a:lnTo>
                <a:lnTo>
                  <a:pt x="1669" y="1687"/>
                </a:lnTo>
                <a:lnTo>
                  <a:pt x="1671" y="1685"/>
                </a:lnTo>
                <a:lnTo>
                  <a:pt x="1671" y="1684"/>
                </a:lnTo>
                <a:lnTo>
                  <a:pt x="1671" y="1683"/>
                </a:lnTo>
                <a:lnTo>
                  <a:pt x="1670" y="1682"/>
                </a:lnTo>
                <a:lnTo>
                  <a:pt x="1669" y="1681"/>
                </a:lnTo>
                <a:lnTo>
                  <a:pt x="1663" y="1681"/>
                </a:lnTo>
                <a:lnTo>
                  <a:pt x="1663" y="1676"/>
                </a:lnTo>
                <a:lnTo>
                  <a:pt x="1660" y="1674"/>
                </a:lnTo>
                <a:lnTo>
                  <a:pt x="1657" y="1674"/>
                </a:lnTo>
                <a:lnTo>
                  <a:pt x="1650" y="1673"/>
                </a:lnTo>
                <a:lnTo>
                  <a:pt x="1643" y="1673"/>
                </a:lnTo>
                <a:lnTo>
                  <a:pt x="1639" y="1673"/>
                </a:lnTo>
                <a:lnTo>
                  <a:pt x="1635" y="1673"/>
                </a:lnTo>
                <a:close/>
                <a:moveTo>
                  <a:pt x="5083" y="1647"/>
                </a:moveTo>
                <a:lnTo>
                  <a:pt x="5080" y="1648"/>
                </a:lnTo>
                <a:lnTo>
                  <a:pt x="5075" y="1650"/>
                </a:lnTo>
                <a:lnTo>
                  <a:pt x="5071" y="1653"/>
                </a:lnTo>
                <a:lnTo>
                  <a:pt x="5066" y="1656"/>
                </a:lnTo>
                <a:lnTo>
                  <a:pt x="5056" y="1662"/>
                </a:lnTo>
                <a:lnTo>
                  <a:pt x="5049" y="1667"/>
                </a:lnTo>
                <a:lnTo>
                  <a:pt x="5052" y="1677"/>
                </a:lnTo>
                <a:lnTo>
                  <a:pt x="5054" y="1682"/>
                </a:lnTo>
                <a:lnTo>
                  <a:pt x="5056" y="1686"/>
                </a:lnTo>
                <a:lnTo>
                  <a:pt x="5058" y="1690"/>
                </a:lnTo>
                <a:lnTo>
                  <a:pt x="5060" y="1691"/>
                </a:lnTo>
                <a:lnTo>
                  <a:pt x="5062" y="1692"/>
                </a:lnTo>
                <a:lnTo>
                  <a:pt x="5065" y="1693"/>
                </a:lnTo>
                <a:lnTo>
                  <a:pt x="5067" y="1693"/>
                </a:lnTo>
                <a:lnTo>
                  <a:pt x="5071" y="1693"/>
                </a:lnTo>
                <a:lnTo>
                  <a:pt x="5074" y="1692"/>
                </a:lnTo>
                <a:lnTo>
                  <a:pt x="5077" y="1692"/>
                </a:lnTo>
                <a:lnTo>
                  <a:pt x="5079" y="1691"/>
                </a:lnTo>
                <a:lnTo>
                  <a:pt x="5083" y="1688"/>
                </a:lnTo>
                <a:lnTo>
                  <a:pt x="5086" y="1685"/>
                </a:lnTo>
                <a:lnTo>
                  <a:pt x="5088" y="1680"/>
                </a:lnTo>
                <a:lnTo>
                  <a:pt x="5090" y="1675"/>
                </a:lnTo>
                <a:lnTo>
                  <a:pt x="5091" y="1670"/>
                </a:lnTo>
                <a:lnTo>
                  <a:pt x="5094" y="1659"/>
                </a:lnTo>
                <a:lnTo>
                  <a:pt x="5095" y="1659"/>
                </a:lnTo>
                <a:lnTo>
                  <a:pt x="5096" y="1659"/>
                </a:lnTo>
                <a:lnTo>
                  <a:pt x="5097" y="1659"/>
                </a:lnTo>
                <a:lnTo>
                  <a:pt x="5098" y="1658"/>
                </a:lnTo>
                <a:lnTo>
                  <a:pt x="5100" y="1656"/>
                </a:lnTo>
                <a:lnTo>
                  <a:pt x="5100" y="1654"/>
                </a:lnTo>
                <a:lnTo>
                  <a:pt x="5099" y="1653"/>
                </a:lnTo>
                <a:lnTo>
                  <a:pt x="5098" y="1651"/>
                </a:lnTo>
                <a:lnTo>
                  <a:pt x="5095" y="1649"/>
                </a:lnTo>
                <a:lnTo>
                  <a:pt x="5093" y="1648"/>
                </a:lnTo>
                <a:lnTo>
                  <a:pt x="5090" y="1648"/>
                </a:lnTo>
                <a:lnTo>
                  <a:pt x="5083" y="1647"/>
                </a:lnTo>
                <a:close/>
                <a:moveTo>
                  <a:pt x="1551" y="1566"/>
                </a:moveTo>
                <a:lnTo>
                  <a:pt x="1545" y="1568"/>
                </a:lnTo>
                <a:lnTo>
                  <a:pt x="1542" y="1569"/>
                </a:lnTo>
                <a:lnTo>
                  <a:pt x="1540" y="1571"/>
                </a:lnTo>
                <a:lnTo>
                  <a:pt x="1538" y="1573"/>
                </a:lnTo>
                <a:lnTo>
                  <a:pt x="1536" y="1575"/>
                </a:lnTo>
                <a:lnTo>
                  <a:pt x="1532" y="1579"/>
                </a:lnTo>
                <a:lnTo>
                  <a:pt x="1529" y="1583"/>
                </a:lnTo>
                <a:lnTo>
                  <a:pt x="1526" y="1588"/>
                </a:lnTo>
                <a:lnTo>
                  <a:pt x="1523" y="1597"/>
                </a:lnTo>
                <a:lnTo>
                  <a:pt x="1525" y="1596"/>
                </a:lnTo>
                <a:lnTo>
                  <a:pt x="1526" y="1596"/>
                </a:lnTo>
                <a:lnTo>
                  <a:pt x="1530" y="1596"/>
                </a:lnTo>
                <a:lnTo>
                  <a:pt x="1533" y="1595"/>
                </a:lnTo>
                <a:lnTo>
                  <a:pt x="1535" y="1595"/>
                </a:lnTo>
                <a:lnTo>
                  <a:pt x="1537" y="1594"/>
                </a:lnTo>
                <a:lnTo>
                  <a:pt x="1537" y="1588"/>
                </a:lnTo>
                <a:lnTo>
                  <a:pt x="1542" y="1585"/>
                </a:lnTo>
                <a:lnTo>
                  <a:pt x="1544" y="1583"/>
                </a:lnTo>
                <a:lnTo>
                  <a:pt x="1546" y="1582"/>
                </a:lnTo>
                <a:lnTo>
                  <a:pt x="1554" y="1574"/>
                </a:lnTo>
                <a:lnTo>
                  <a:pt x="1558" y="1575"/>
                </a:lnTo>
                <a:lnTo>
                  <a:pt x="1562" y="1575"/>
                </a:lnTo>
                <a:lnTo>
                  <a:pt x="1566" y="1576"/>
                </a:lnTo>
                <a:lnTo>
                  <a:pt x="1571" y="1577"/>
                </a:lnTo>
                <a:lnTo>
                  <a:pt x="1572" y="1579"/>
                </a:lnTo>
                <a:lnTo>
                  <a:pt x="1573" y="1581"/>
                </a:lnTo>
                <a:lnTo>
                  <a:pt x="1575" y="1584"/>
                </a:lnTo>
                <a:lnTo>
                  <a:pt x="1576" y="1586"/>
                </a:lnTo>
                <a:lnTo>
                  <a:pt x="1579" y="1586"/>
                </a:lnTo>
                <a:lnTo>
                  <a:pt x="1582" y="1586"/>
                </a:lnTo>
                <a:lnTo>
                  <a:pt x="1585" y="1585"/>
                </a:lnTo>
                <a:lnTo>
                  <a:pt x="1587" y="1586"/>
                </a:lnTo>
                <a:lnTo>
                  <a:pt x="1590" y="1591"/>
                </a:lnTo>
                <a:lnTo>
                  <a:pt x="1592" y="1591"/>
                </a:lnTo>
                <a:lnTo>
                  <a:pt x="1595" y="1591"/>
                </a:lnTo>
                <a:lnTo>
                  <a:pt x="1597" y="1591"/>
                </a:lnTo>
                <a:lnTo>
                  <a:pt x="1599" y="1591"/>
                </a:lnTo>
                <a:lnTo>
                  <a:pt x="1601" y="1594"/>
                </a:lnTo>
                <a:lnTo>
                  <a:pt x="1603" y="1598"/>
                </a:lnTo>
                <a:lnTo>
                  <a:pt x="1605" y="1601"/>
                </a:lnTo>
                <a:lnTo>
                  <a:pt x="1607" y="1603"/>
                </a:lnTo>
                <a:lnTo>
                  <a:pt x="1608" y="1604"/>
                </a:lnTo>
                <a:lnTo>
                  <a:pt x="1610" y="1605"/>
                </a:lnTo>
                <a:lnTo>
                  <a:pt x="1615" y="1605"/>
                </a:lnTo>
                <a:lnTo>
                  <a:pt x="1620" y="1605"/>
                </a:lnTo>
                <a:lnTo>
                  <a:pt x="1625" y="1604"/>
                </a:lnTo>
                <a:lnTo>
                  <a:pt x="1628" y="1605"/>
                </a:lnTo>
                <a:lnTo>
                  <a:pt x="1630" y="1605"/>
                </a:lnTo>
                <a:lnTo>
                  <a:pt x="1630" y="1607"/>
                </a:lnTo>
                <a:lnTo>
                  <a:pt x="1630" y="1609"/>
                </a:lnTo>
                <a:lnTo>
                  <a:pt x="1630" y="1612"/>
                </a:lnTo>
                <a:lnTo>
                  <a:pt x="1630" y="1614"/>
                </a:lnTo>
                <a:lnTo>
                  <a:pt x="1631" y="1617"/>
                </a:lnTo>
                <a:lnTo>
                  <a:pt x="1634" y="1620"/>
                </a:lnTo>
                <a:lnTo>
                  <a:pt x="1637" y="1622"/>
                </a:lnTo>
                <a:lnTo>
                  <a:pt x="1640" y="1624"/>
                </a:lnTo>
                <a:lnTo>
                  <a:pt x="1648" y="1628"/>
                </a:lnTo>
                <a:lnTo>
                  <a:pt x="1655" y="1631"/>
                </a:lnTo>
                <a:lnTo>
                  <a:pt x="1653" y="1635"/>
                </a:lnTo>
                <a:lnTo>
                  <a:pt x="1651" y="1639"/>
                </a:lnTo>
                <a:lnTo>
                  <a:pt x="1647" y="1647"/>
                </a:lnTo>
                <a:lnTo>
                  <a:pt x="1661" y="1646"/>
                </a:lnTo>
                <a:lnTo>
                  <a:pt x="1676" y="1643"/>
                </a:lnTo>
                <a:lnTo>
                  <a:pt x="1691" y="1641"/>
                </a:lnTo>
                <a:lnTo>
                  <a:pt x="1706" y="1639"/>
                </a:lnTo>
                <a:lnTo>
                  <a:pt x="1703" y="1628"/>
                </a:lnTo>
                <a:lnTo>
                  <a:pt x="1693" y="1629"/>
                </a:lnTo>
                <a:lnTo>
                  <a:pt x="1687" y="1629"/>
                </a:lnTo>
                <a:lnTo>
                  <a:pt x="1685" y="1628"/>
                </a:lnTo>
                <a:lnTo>
                  <a:pt x="1683" y="1628"/>
                </a:lnTo>
                <a:lnTo>
                  <a:pt x="1680" y="1614"/>
                </a:lnTo>
                <a:lnTo>
                  <a:pt x="1676" y="1613"/>
                </a:lnTo>
                <a:lnTo>
                  <a:pt x="1672" y="1613"/>
                </a:lnTo>
                <a:lnTo>
                  <a:pt x="1663" y="1614"/>
                </a:lnTo>
                <a:lnTo>
                  <a:pt x="1663" y="1611"/>
                </a:lnTo>
                <a:lnTo>
                  <a:pt x="1662" y="1609"/>
                </a:lnTo>
                <a:lnTo>
                  <a:pt x="1662" y="1607"/>
                </a:lnTo>
                <a:lnTo>
                  <a:pt x="1661" y="1605"/>
                </a:lnTo>
                <a:lnTo>
                  <a:pt x="1657" y="1603"/>
                </a:lnTo>
                <a:lnTo>
                  <a:pt x="1653" y="1600"/>
                </a:lnTo>
                <a:lnTo>
                  <a:pt x="1645" y="1595"/>
                </a:lnTo>
                <a:lnTo>
                  <a:pt x="1636" y="1591"/>
                </a:lnTo>
                <a:lnTo>
                  <a:pt x="1631" y="1590"/>
                </a:lnTo>
                <a:lnTo>
                  <a:pt x="1627" y="1588"/>
                </a:lnTo>
                <a:lnTo>
                  <a:pt x="1625" y="1588"/>
                </a:lnTo>
                <a:lnTo>
                  <a:pt x="1623" y="1589"/>
                </a:lnTo>
                <a:lnTo>
                  <a:pt x="1620" y="1589"/>
                </a:lnTo>
                <a:lnTo>
                  <a:pt x="1619" y="1589"/>
                </a:lnTo>
                <a:lnTo>
                  <a:pt x="1618" y="1588"/>
                </a:lnTo>
                <a:lnTo>
                  <a:pt x="1617" y="1587"/>
                </a:lnTo>
                <a:lnTo>
                  <a:pt x="1616" y="1586"/>
                </a:lnTo>
                <a:lnTo>
                  <a:pt x="1614" y="1581"/>
                </a:lnTo>
                <a:lnTo>
                  <a:pt x="1612" y="1577"/>
                </a:lnTo>
                <a:lnTo>
                  <a:pt x="1610" y="1574"/>
                </a:lnTo>
                <a:lnTo>
                  <a:pt x="1606" y="1573"/>
                </a:lnTo>
                <a:lnTo>
                  <a:pt x="1598" y="1572"/>
                </a:lnTo>
                <a:lnTo>
                  <a:pt x="1579" y="1569"/>
                </a:lnTo>
                <a:lnTo>
                  <a:pt x="1560" y="1567"/>
                </a:lnTo>
                <a:lnTo>
                  <a:pt x="1551" y="1566"/>
                </a:lnTo>
                <a:close/>
                <a:moveTo>
                  <a:pt x="5280" y="1524"/>
                </a:moveTo>
                <a:lnTo>
                  <a:pt x="5277" y="1529"/>
                </a:lnTo>
                <a:lnTo>
                  <a:pt x="5274" y="1533"/>
                </a:lnTo>
                <a:lnTo>
                  <a:pt x="5269" y="1543"/>
                </a:lnTo>
                <a:lnTo>
                  <a:pt x="5264" y="1552"/>
                </a:lnTo>
                <a:lnTo>
                  <a:pt x="5262" y="1558"/>
                </a:lnTo>
                <a:lnTo>
                  <a:pt x="5260" y="1563"/>
                </a:lnTo>
                <a:lnTo>
                  <a:pt x="5259" y="1570"/>
                </a:lnTo>
                <a:lnTo>
                  <a:pt x="5258" y="1575"/>
                </a:lnTo>
                <a:lnTo>
                  <a:pt x="5258" y="1579"/>
                </a:lnTo>
                <a:lnTo>
                  <a:pt x="5259" y="1582"/>
                </a:lnTo>
                <a:lnTo>
                  <a:pt x="5260" y="1585"/>
                </a:lnTo>
                <a:lnTo>
                  <a:pt x="5261" y="1589"/>
                </a:lnTo>
                <a:lnTo>
                  <a:pt x="5266" y="1597"/>
                </a:lnTo>
                <a:lnTo>
                  <a:pt x="5271" y="1597"/>
                </a:lnTo>
                <a:lnTo>
                  <a:pt x="5275" y="1588"/>
                </a:lnTo>
                <a:lnTo>
                  <a:pt x="5278" y="1580"/>
                </a:lnTo>
                <a:lnTo>
                  <a:pt x="5281" y="1570"/>
                </a:lnTo>
                <a:lnTo>
                  <a:pt x="5283" y="1561"/>
                </a:lnTo>
                <a:lnTo>
                  <a:pt x="5285" y="1551"/>
                </a:lnTo>
                <a:lnTo>
                  <a:pt x="5287" y="1542"/>
                </a:lnTo>
                <a:lnTo>
                  <a:pt x="5288" y="1524"/>
                </a:lnTo>
                <a:lnTo>
                  <a:pt x="5284" y="1524"/>
                </a:lnTo>
                <a:lnTo>
                  <a:pt x="5280" y="1524"/>
                </a:lnTo>
                <a:close/>
                <a:moveTo>
                  <a:pt x="5448" y="1313"/>
                </a:moveTo>
                <a:lnTo>
                  <a:pt x="5443" y="1324"/>
                </a:lnTo>
                <a:lnTo>
                  <a:pt x="5441" y="1324"/>
                </a:lnTo>
                <a:lnTo>
                  <a:pt x="5440" y="1325"/>
                </a:lnTo>
                <a:lnTo>
                  <a:pt x="5439" y="1324"/>
                </a:lnTo>
                <a:lnTo>
                  <a:pt x="5438" y="1324"/>
                </a:lnTo>
                <a:lnTo>
                  <a:pt x="5436" y="1322"/>
                </a:lnTo>
                <a:lnTo>
                  <a:pt x="5434" y="1321"/>
                </a:lnTo>
                <a:lnTo>
                  <a:pt x="5435" y="1323"/>
                </a:lnTo>
                <a:lnTo>
                  <a:pt x="5434" y="1324"/>
                </a:lnTo>
                <a:lnTo>
                  <a:pt x="5434" y="1326"/>
                </a:lnTo>
                <a:lnTo>
                  <a:pt x="5433" y="1327"/>
                </a:lnTo>
                <a:lnTo>
                  <a:pt x="5431" y="1328"/>
                </a:lnTo>
                <a:lnTo>
                  <a:pt x="5432" y="1330"/>
                </a:lnTo>
                <a:lnTo>
                  <a:pt x="5434" y="1333"/>
                </a:lnTo>
                <a:lnTo>
                  <a:pt x="5436" y="1336"/>
                </a:lnTo>
                <a:lnTo>
                  <a:pt x="5440" y="1344"/>
                </a:lnTo>
                <a:lnTo>
                  <a:pt x="5437" y="1342"/>
                </a:lnTo>
                <a:lnTo>
                  <a:pt x="5436" y="1341"/>
                </a:lnTo>
                <a:lnTo>
                  <a:pt x="5435" y="1342"/>
                </a:lnTo>
                <a:lnTo>
                  <a:pt x="5435" y="1344"/>
                </a:lnTo>
                <a:lnTo>
                  <a:pt x="5436" y="1346"/>
                </a:lnTo>
                <a:lnTo>
                  <a:pt x="5437" y="1349"/>
                </a:lnTo>
                <a:lnTo>
                  <a:pt x="5438" y="1351"/>
                </a:lnTo>
                <a:lnTo>
                  <a:pt x="5440" y="1352"/>
                </a:lnTo>
                <a:lnTo>
                  <a:pt x="5441" y="1352"/>
                </a:lnTo>
                <a:lnTo>
                  <a:pt x="5442" y="1352"/>
                </a:lnTo>
                <a:lnTo>
                  <a:pt x="5443" y="1352"/>
                </a:lnTo>
                <a:lnTo>
                  <a:pt x="5445" y="1351"/>
                </a:lnTo>
                <a:lnTo>
                  <a:pt x="5448" y="1352"/>
                </a:lnTo>
                <a:lnTo>
                  <a:pt x="5448" y="1341"/>
                </a:lnTo>
                <a:lnTo>
                  <a:pt x="5447" y="1341"/>
                </a:lnTo>
                <a:lnTo>
                  <a:pt x="5446" y="1341"/>
                </a:lnTo>
                <a:lnTo>
                  <a:pt x="5445" y="1340"/>
                </a:lnTo>
                <a:lnTo>
                  <a:pt x="5446" y="1339"/>
                </a:lnTo>
                <a:lnTo>
                  <a:pt x="5447" y="1339"/>
                </a:lnTo>
                <a:lnTo>
                  <a:pt x="5448" y="1338"/>
                </a:lnTo>
                <a:lnTo>
                  <a:pt x="5451" y="1338"/>
                </a:lnTo>
                <a:lnTo>
                  <a:pt x="5451" y="1341"/>
                </a:lnTo>
                <a:lnTo>
                  <a:pt x="5451" y="1343"/>
                </a:lnTo>
                <a:lnTo>
                  <a:pt x="5451" y="1344"/>
                </a:lnTo>
                <a:lnTo>
                  <a:pt x="5452" y="1345"/>
                </a:lnTo>
                <a:lnTo>
                  <a:pt x="5454" y="1346"/>
                </a:lnTo>
                <a:lnTo>
                  <a:pt x="5447" y="1355"/>
                </a:lnTo>
                <a:lnTo>
                  <a:pt x="5445" y="1359"/>
                </a:lnTo>
                <a:lnTo>
                  <a:pt x="5444" y="1362"/>
                </a:lnTo>
                <a:lnTo>
                  <a:pt x="5443" y="1369"/>
                </a:lnTo>
                <a:lnTo>
                  <a:pt x="5443" y="1380"/>
                </a:lnTo>
                <a:lnTo>
                  <a:pt x="5445" y="1379"/>
                </a:lnTo>
                <a:lnTo>
                  <a:pt x="5446" y="1378"/>
                </a:lnTo>
                <a:lnTo>
                  <a:pt x="5448" y="1377"/>
                </a:lnTo>
                <a:lnTo>
                  <a:pt x="5450" y="1377"/>
                </a:lnTo>
                <a:lnTo>
                  <a:pt x="5451" y="1377"/>
                </a:lnTo>
                <a:lnTo>
                  <a:pt x="5450" y="1378"/>
                </a:lnTo>
                <a:lnTo>
                  <a:pt x="5449" y="1379"/>
                </a:lnTo>
                <a:lnTo>
                  <a:pt x="5448" y="1380"/>
                </a:lnTo>
                <a:lnTo>
                  <a:pt x="5448" y="1381"/>
                </a:lnTo>
                <a:lnTo>
                  <a:pt x="5449" y="1382"/>
                </a:lnTo>
                <a:lnTo>
                  <a:pt x="5451" y="1384"/>
                </a:lnTo>
                <a:lnTo>
                  <a:pt x="5454" y="1386"/>
                </a:lnTo>
                <a:lnTo>
                  <a:pt x="5456" y="1382"/>
                </a:lnTo>
                <a:lnTo>
                  <a:pt x="5460" y="1378"/>
                </a:lnTo>
                <a:lnTo>
                  <a:pt x="5463" y="1373"/>
                </a:lnTo>
                <a:lnTo>
                  <a:pt x="5464" y="1371"/>
                </a:lnTo>
                <a:lnTo>
                  <a:pt x="5465" y="1369"/>
                </a:lnTo>
                <a:lnTo>
                  <a:pt x="5466" y="1366"/>
                </a:lnTo>
                <a:lnTo>
                  <a:pt x="5466" y="1363"/>
                </a:lnTo>
                <a:lnTo>
                  <a:pt x="5467" y="1357"/>
                </a:lnTo>
                <a:lnTo>
                  <a:pt x="5467" y="1352"/>
                </a:lnTo>
                <a:lnTo>
                  <a:pt x="5467" y="1349"/>
                </a:lnTo>
                <a:lnTo>
                  <a:pt x="5468" y="1346"/>
                </a:lnTo>
                <a:lnTo>
                  <a:pt x="5474" y="1344"/>
                </a:lnTo>
                <a:lnTo>
                  <a:pt x="5474" y="1340"/>
                </a:lnTo>
                <a:lnTo>
                  <a:pt x="5472" y="1338"/>
                </a:lnTo>
                <a:lnTo>
                  <a:pt x="5471" y="1336"/>
                </a:lnTo>
                <a:lnTo>
                  <a:pt x="5471" y="1334"/>
                </a:lnTo>
                <a:lnTo>
                  <a:pt x="5471" y="1332"/>
                </a:lnTo>
                <a:lnTo>
                  <a:pt x="5465" y="1332"/>
                </a:lnTo>
                <a:lnTo>
                  <a:pt x="5466" y="1330"/>
                </a:lnTo>
                <a:lnTo>
                  <a:pt x="5468" y="1328"/>
                </a:lnTo>
                <a:lnTo>
                  <a:pt x="5468" y="1326"/>
                </a:lnTo>
                <a:lnTo>
                  <a:pt x="5469" y="1325"/>
                </a:lnTo>
                <a:lnTo>
                  <a:pt x="5469" y="1323"/>
                </a:lnTo>
                <a:lnTo>
                  <a:pt x="5468" y="1321"/>
                </a:lnTo>
                <a:lnTo>
                  <a:pt x="5464" y="1321"/>
                </a:lnTo>
                <a:lnTo>
                  <a:pt x="5460" y="1321"/>
                </a:lnTo>
                <a:lnTo>
                  <a:pt x="5458" y="1320"/>
                </a:lnTo>
                <a:lnTo>
                  <a:pt x="5457" y="1318"/>
                </a:lnTo>
                <a:lnTo>
                  <a:pt x="5456" y="1315"/>
                </a:lnTo>
                <a:lnTo>
                  <a:pt x="5455" y="1314"/>
                </a:lnTo>
                <a:lnTo>
                  <a:pt x="5454" y="1313"/>
                </a:lnTo>
                <a:lnTo>
                  <a:pt x="5451" y="1313"/>
                </a:lnTo>
                <a:lnTo>
                  <a:pt x="5448" y="1313"/>
                </a:lnTo>
                <a:close/>
                <a:moveTo>
                  <a:pt x="5628" y="1130"/>
                </a:moveTo>
                <a:lnTo>
                  <a:pt x="5628" y="1131"/>
                </a:lnTo>
                <a:lnTo>
                  <a:pt x="5628" y="1132"/>
                </a:lnTo>
                <a:lnTo>
                  <a:pt x="5628" y="1134"/>
                </a:lnTo>
                <a:lnTo>
                  <a:pt x="5629" y="1136"/>
                </a:lnTo>
                <a:lnTo>
                  <a:pt x="5628" y="1138"/>
                </a:lnTo>
                <a:lnTo>
                  <a:pt x="5627" y="1140"/>
                </a:lnTo>
                <a:lnTo>
                  <a:pt x="5625" y="1141"/>
                </a:lnTo>
                <a:lnTo>
                  <a:pt x="5620" y="1144"/>
                </a:lnTo>
                <a:lnTo>
                  <a:pt x="5622" y="1152"/>
                </a:lnTo>
                <a:lnTo>
                  <a:pt x="5623" y="1161"/>
                </a:lnTo>
                <a:lnTo>
                  <a:pt x="5618" y="1163"/>
                </a:lnTo>
                <a:lnTo>
                  <a:pt x="5616" y="1164"/>
                </a:lnTo>
                <a:lnTo>
                  <a:pt x="5614" y="1166"/>
                </a:lnTo>
                <a:lnTo>
                  <a:pt x="5617" y="1167"/>
                </a:lnTo>
                <a:lnTo>
                  <a:pt x="5620" y="1168"/>
                </a:lnTo>
                <a:lnTo>
                  <a:pt x="5622" y="1171"/>
                </a:lnTo>
                <a:lnTo>
                  <a:pt x="5623" y="1172"/>
                </a:lnTo>
                <a:lnTo>
                  <a:pt x="5623" y="1173"/>
                </a:lnTo>
                <a:lnTo>
                  <a:pt x="5623" y="1175"/>
                </a:lnTo>
                <a:lnTo>
                  <a:pt x="5622" y="1177"/>
                </a:lnTo>
                <a:lnTo>
                  <a:pt x="5620" y="1179"/>
                </a:lnTo>
                <a:lnTo>
                  <a:pt x="5618" y="1180"/>
                </a:lnTo>
                <a:lnTo>
                  <a:pt x="5617" y="1180"/>
                </a:lnTo>
                <a:lnTo>
                  <a:pt x="5618" y="1186"/>
                </a:lnTo>
                <a:lnTo>
                  <a:pt x="5617" y="1192"/>
                </a:lnTo>
                <a:lnTo>
                  <a:pt x="5597" y="1220"/>
                </a:lnTo>
                <a:lnTo>
                  <a:pt x="5592" y="1220"/>
                </a:lnTo>
                <a:lnTo>
                  <a:pt x="5591" y="1222"/>
                </a:lnTo>
                <a:lnTo>
                  <a:pt x="5590" y="1224"/>
                </a:lnTo>
                <a:lnTo>
                  <a:pt x="5590" y="1228"/>
                </a:lnTo>
                <a:lnTo>
                  <a:pt x="5590" y="1230"/>
                </a:lnTo>
                <a:lnTo>
                  <a:pt x="5589" y="1231"/>
                </a:lnTo>
                <a:lnTo>
                  <a:pt x="5588" y="1233"/>
                </a:lnTo>
                <a:lnTo>
                  <a:pt x="5586" y="1234"/>
                </a:lnTo>
                <a:lnTo>
                  <a:pt x="5586" y="1237"/>
                </a:lnTo>
                <a:lnTo>
                  <a:pt x="5584" y="1238"/>
                </a:lnTo>
                <a:lnTo>
                  <a:pt x="5583" y="1238"/>
                </a:lnTo>
                <a:lnTo>
                  <a:pt x="5579" y="1238"/>
                </a:lnTo>
                <a:lnTo>
                  <a:pt x="5576" y="1238"/>
                </a:lnTo>
                <a:lnTo>
                  <a:pt x="5572" y="1240"/>
                </a:lnTo>
                <a:lnTo>
                  <a:pt x="5572" y="1245"/>
                </a:lnTo>
                <a:lnTo>
                  <a:pt x="5567" y="1245"/>
                </a:lnTo>
                <a:lnTo>
                  <a:pt x="5561" y="1245"/>
                </a:lnTo>
                <a:lnTo>
                  <a:pt x="5561" y="1243"/>
                </a:lnTo>
                <a:lnTo>
                  <a:pt x="5561" y="1240"/>
                </a:lnTo>
                <a:lnTo>
                  <a:pt x="5561" y="1237"/>
                </a:lnTo>
                <a:lnTo>
                  <a:pt x="5561" y="1234"/>
                </a:lnTo>
                <a:lnTo>
                  <a:pt x="5562" y="1232"/>
                </a:lnTo>
                <a:lnTo>
                  <a:pt x="5565" y="1230"/>
                </a:lnTo>
                <a:lnTo>
                  <a:pt x="5568" y="1228"/>
                </a:lnTo>
                <a:lnTo>
                  <a:pt x="5569" y="1225"/>
                </a:lnTo>
                <a:lnTo>
                  <a:pt x="5566" y="1227"/>
                </a:lnTo>
                <a:lnTo>
                  <a:pt x="5562" y="1229"/>
                </a:lnTo>
                <a:lnTo>
                  <a:pt x="5558" y="1231"/>
                </a:lnTo>
                <a:lnTo>
                  <a:pt x="5556" y="1232"/>
                </a:lnTo>
                <a:lnTo>
                  <a:pt x="5555" y="1234"/>
                </a:lnTo>
                <a:lnTo>
                  <a:pt x="5555" y="1235"/>
                </a:lnTo>
                <a:lnTo>
                  <a:pt x="5555" y="1237"/>
                </a:lnTo>
                <a:lnTo>
                  <a:pt x="5555" y="1241"/>
                </a:lnTo>
                <a:lnTo>
                  <a:pt x="5555" y="1244"/>
                </a:lnTo>
                <a:lnTo>
                  <a:pt x="5555" y="1248"/>
                </a:lnTo>
                <a:lnTo>
                  <a:pt x="5555" y="1250"/>
                </a:lnTo>
                <a:lnTo>
                  <a:pt x="5553" y="1252"/>
                </a:lnTo>
                <a:lnTo>
                  <a:pt x="5550" y="1255"/>
                </a:lnTo>
                <a:lnTo>
                  <a:pt x="5546" y="1259"/>
                </a:lnTo>
                <a:lnTo>
                  <a:pt x="5544" y="1262"/>
                </a:lnTo>
                <a:lnTo>
                  <a:pt x="5544" y="1264"/>
                </a:lnTo>
                <a:lnTo>
                  <a:pt x="5544" y="1266"/>
                </a:lnTo>
                <a:lnTo>
                  <a:pt x="5545" y="1268"/>
                </a:lnTo>
                <a:lnTo>
                  <a:pt x="5547" y="1270"/>
                </a:lnTo>
                <a:lnTo>
                  <a:pt x="5547" y="1271"/>
                </a:lnTo>
                <a:lnTo>
                  <a:pt x="5547" y="1273"/>
                </a:lnTo>
                <a:lnTo>
                  <a:pt x="5547" y="1274"/>
                </a:lnTo>
                <a:lnTo>
                  <a:pt x="5546" y="1275"/>
                </a:lnTo>
                <a:lnTo>
                  <a:pt x="5544" y="1276"/>
                </a:lnTo>
                <a:lnTo>
                  <a:pt x="5543" y="1278"/>
                </a:lnTo>
                <a:lnTo>
                  <a:pt x="5541" y="1282"/>
                </a:lnTo>
                <a:lnTo>
                  <a:pt x="5531" y="1277"/>
                </a:lnTo>
                <a:lnTo>
                  <a:pt x="5527" y="1276"/>
                </a:lnTo>
                <a:lnTo>
                  <a:pt x="5524" y="1275"/>
                </a:lnTo>
                <a:lnTo>
                  <a:pt x="5520" y="1276"/>
                </a:lnTo>
                <a:lnTo>
                  <a:pt x="5518" y="1276"/>
                </a:lnTo>
                <a:lnTo>
                  <a:pt x="5516" y="1277"/>
                </a:lnTo>
                <a:lnTo>
                  <a:pt x="5505" y="1282"/>
                </a:lnTo>
                <a:lnTo>
                  <a:pt x="5505" y="1279"/>
                </a:lnTo>
                <a:lnTo>
                  <a:pt x="5505" y="1277"/>
                </a:lnTo>
                <a:lnTo>
                  <a:pt x="5504" y="1276"/>
                </a:lnTo>
                <a:lnTo>
                  <a:pt x="5502" y="1276"/>
                </a:lnTo>
                <a:lnTo>
                  <a:pt x="5497" y="1278"/>
                </a:lnTo>
                <a:lnTo>
                  <a:pt x="5495" y="1279"/>
                </a:lnTo>
                <a:lnTo>
                  <a:pt x="5493" y="1281"/>
                </a:lnTo>
                <a:lnTo>
                  <a:pt x="5489" y="1285"/>
                </a:lnTo>
                <a:lnTo>
                  <a:pt x="5485" y="1289"/>
                </a:lnTo>
                <a:lnTo>
                  <a:pt x="5477" y="1298"/>
                </a:lnTo>
                <a:lnTo>
                  <a:pt x="5473" y="1301"/>
                </a:lnTo>
                <a:lnTo>
                  <a:pt x="5468" y="1304"/>
                </a:lnTo>
                <a:lnTo>
                  <a:pt x="5466" y="1305"/>
                </a:lnTo>
                <a:lnTo>
                  <a:pt x="5464" y="1305"/>
                </a:lnTo>
                <a:lnTo>
                  <a:pt x="5463" y="1305"/>
                </a:lnTo>
                <a:lnTo>
                  <a:pt x="5462" y="1304"/>
                </a:lnTo>
                <a:lnTo>
                  <a:pt x="5459" y="1302"/>
                </a:lnTo>
                <a:lnTo>
                  <a:pt x="5457" y="1301"/>
                </a:lnTo>
                <a:lnTo>
                  <a:pt x="5457" y="1307"/>
                </a:lnTo>
                <a:lnTo>
                  <a:pt x="5457" y="1313"/>
                </a:lnTo>
                <a:lnTo>
                  <a:pt x="5467" y="1312"/>
                </a:lnTo>
                <a:lnTo>
                  <a:pt x="5474" y="1312"/>
                </a:lnTo>
                <a:lnTo>
                  <a:pt x="5482" y="1313"/>
                </a:lnTo>
                <a:lnTo>
                  <a:pt x="5483" y="1308"/>
                </a:lnTo>
                <a:lnTo>
                  <a:pt x="5484" y="1305"/>
                </a:lnTo>
                <a:lnTo>
                  <a:pt x="5485" y="1304"/>
                </a:lnTo>
                <a:lnTo>
                  <a:pt x="5498" y="1303"/>
                </a:lnTo>
                <a:lnTo>
                  <a:pt x="5508" y="1303"/>
                </a:lnTo>
                <a:lnTo>
                  <a:pt x="5516" y="1301"/>
                </a:lnTo>
                <a:lnTo>
                  <a:pt x="5533" y="1301"/>
                </a:lnTo>
                <a:lnTo>
                  <a:pt x="5532" y="1304"/>
                </a:lnTo>
                <a:lnTo>
                  <a:pt x="5531" y="1305"/>
                </a:lnTo>
                <a:lnTo>
                  <a:pt x="5527" y="1307"/>
                </a:lnTo>
                <a:lnTo>
                  <a:pt x="5528" y="1309"/>
                </a:lnTo>
                <a:lnTo>
                  <a:pt x="5528" y="1313"/>
                </a:lnTo>
                <a:lnTo>
                  <a:pt x="5527" y="1318"/>
                </a:lnTo>
                <a:lnTo>
                  <a:pt x="5530" y="1320"/>
                </a:lnTo>
                <a:lnTo>
                  <a:pt x="5531" y="1321"/>
                </a:lnTo>
                <a:lnTo>
                  <a:pt x="5531" y="1323"/>
                </a:lnTo>
                <a:lnTo>
                  <a:pt x="5533" y="1327"/>
                </a:lnTo>
                <a:lnTo>
                  <a:pt x="5534" y="1326"/>
                </a:lnTo>
                <a:lnTo>
                  <a:pt x="5535" y="1326"/>
                </a:lnTo>
                <a:lnTo>
                  <a:pt x="5538" y="1327"/>
                </a:lnTo>
                <a:lnTo>
                  <a:pt x="5541" y="1327"/>
                </a:lnTo>
                <a:lnTo>
                  <a:pt x="5544" y="1327"/>
                </a:lnTo>
                <a:lnTo>
                  <a:pt x="5545" y="1326"/>
                </a:lnTo>
                <a:lnTo>
                  <a:pt x="5546" y="1325"/>
                </a:lnTo>
                <a:lnTo>
                  <a:pt x="5547" y="1321"/>
                </a:lnTo>
                <a:lnTo>
                  <a:pt x="5548" y="1318"/>
                </a:lnTo>
                <a:lnTo>
                  <a:pt x="5549" y="1317"/>
                </a:lnTo>
                <a:lnTo>
                  <a:pt x="5550" y="1315"/>
                </a:lnTo>
                <a:lnTo>
                  <a:pt x="5552" y="1314"/>
                </a:lnTo>
                <a:lnTo>
                  <a:pt x="5555" y="1313"/>
                </a:lnTo>
                <a:lnTo>
                  <a:pt x="5558" y="1312"/>
                </a:lnTo>
                <a:lnTo>
                  <a:pt x="5561" y="1310"/>
                </a:lnTo>
                <a:lnTo>
                  <a:pt x="5559" y="1304"/>
                </a:lnTo>
                <a:lnTo>
                  <a:pt x="5558" y="1302"/>
                </a:lnTo>
                <a:lnTo>
                  <a:pt x="5558" y="1299"/>
                </a:lnTo>
                <a:lnTo>
                  <a:pt x="5564" y="1299"/>
                </a:lnTo>
                <a:lnTo>
                  <a:pt x="5567" y="1299"/>
                </a:lnTo>
                <a:lnTo>
                  <a:pt x="5570" y="1300"/>
                </a:lnTo>
                <a:lnTo>
                  <a:pt x="5572" y="1301"/>
                </a:lnTo>
                <a:lnTo>
                  <a:pt x="5570" y="1301"/>
                </a:lnTo>
                <a:lnTo>
                  <a:pt x="5569" y="1302"/>
                </a:lnTo>
                <a:lnTo>
                  <a:pt x="5569" y="1303"/>
                </a:lnTo>
                <a:lnTo>
                  <a:pt x="5569" y="1305"/>
                </a:lnTo>
                <a:lnTo>
                  <a:pt x="5569" y="1307"/>
                </a:lnTo>
                <a:lnTo>
                  <a:pt x="5571" y="1307"/>
                </a:lnTo>
                <a:lnTo>
                  <a:pt x="5572" y="1306"/>
                </a:lnTo>
                <a:lnTo>
                  <a:pt x="5573" y="1304"/>
                </a:lnTo>
                <a:lnTo>
                  <a:pt x="5574" y="1302"/>
                </a:lnTo>
                <a:lnTo>
                  <a:pt x="5575" y="1301"/>
                </a:lnTo>
                <a:lnTo>
                  <a:pt x="5578" y="1301"/>
                </a:lnTo>
                <a:lnTo>
                  <a:pt x="5582" y="1302"/>
                </a:lnTo>
                <a:lnTo>
                  <a:pt x="5585" y="1303"/>
                </a:lnTo>
                <a:lnTo>
                  <a:pt x="5589" y="1304"/>
                </a:lnTo>
                <a:lnTo>
                  <a:pt x="5593" y="1298"/>
                </a:lnTo>
                <a:lnTo>
                  <a:pt x="5595" y="1295"/>
                </a:lnTo>
                <a:lnTo>
                  <a:pt x="5597" y="1293"/>
                </a:lnTo>
                <a:lnTo>
                  <a:pt x="5600" y="1298"/>
                </a:lnTo>
                <a:lnTo>
                  <a:pt x="5601" y="1302"/>
                </a:lnTo>
                <a:lnTo>
                  <a:pt x="5601" y="1304"/>
                </a:lnTo>
                <a:lnTo>
                  <a:pt x="5600" y="1304"/>
                </a:lnTo>
                <a:lnTo>
                  <a:pt x="5606" y="1304"/>
                </a:lnTo>
                <a:lnTo>
                  <a:pt x="5607" y="1297"/>
                </a:lnTo>
                <a:lnTo>
                  <a:pt x="5607" y="1294"/>
                </a:lnTo>
                <a:lnTo>
                  <a:pt x="5609" y="1290"/>
                </a:lnTo>
                <a:lnTo>
                  <a:pt x="5617" y="1290"/>
                </a:lnTo>
                <a:lnTo>
                  <a:pt x="5618" y="1288"/>
                </a:lnTo>
                <a:lnTo>
                  <a:pt x="5618" y="1285"/>
                </a:lnTo>
                <a:lnTo>
                  <a:pt x="5618" y="1281"/>
                </a:lnTo>
                <a:lnTo>
                  <a:pt x="5618" y="1277"/>
                </a:lnTo>
                <a:lnTo>
                  <a:pt x="5618" y="1276"/>
                </a:lnTo>
                <a:lnTo>
                  <a:pt x="5619" y="1275"/>
                </a:lnTo>
                <a:lnTo>
                  <a:pt x="5620" y="1273"/>
                </a:lnTo>
                <a:lnTo>
                  <a:pt x="5621" y="1272"/>
                </a:lnTo>
                <a:lnTo>
                  <a:pt x="5622" y="1272"/>
                </a:lnTo>
                <a:lnTo>
                  <a:pt x="5623" y="1273"/>
                </a:lnTo>
                <a:lnTo>
                  <a:pt x="5624" y="1273"/>
                </a:lnTo>
                <a:lnTo>
                  <a:pt x="5625" y="1275"/>
                </a:lnTo>
                <a:lnTo>
                  <a:pt x="5626" y="1276"/>
                </a:lnTo>
                <a:lnTo>
                  <a:pt x="5624" y="1279"/>
                </a:lnTo>
                <a:lnTo>
                  <a:pt x="5620" y="1286"/>
                </a:lnTo>
                <a:lnTo>
                  <a:pt x="5619" y="1290"/>
                </a:lnTo>
                <a:lnTo>
                  <a:pt x="5619" y="1291"/>
                </a:lnTo>
                <a:lnTo>
                  <a:pt x="5619" y="1293"/>
                </a:lnTo>
                <a:lnTo>
                  <a:pt x="5619" y="1294"/>
                </a:lnTo>
                <a:lnTo>
                  <a:pt x="5620" y="1295"/>
                </a:lnTo>
                <a:lnTo>
                  <a:pt x="5621" y="1296"/>
                </a:lnTo>
                <a:lnTo>
                  <a:pt x="5623" y="1296"/>
                </a:lnTo>
                <a:lnTo>
                  <a:pt x="5631" y="1287"/>
                </a:lnTo>
                <a:lnTo>
                  <a:pt x="5635" y="1281"/>
                </a:lnTo>
                <a:lnTo>
                  <a:pt x="5635" y="1278"/>
                </a:lnTo>
                <a:lnTo>
                  <a:pt x="5636" y="1275"/>
                </a:lnTo>
                <a:lnTo>
                  <a:pt x="5635" y="1273"/>
                </a:lnTo>
                <a:lnTo>
                  <a:pt x="5634" y="1271"/>
                </a:lnTo>
                <a:lnTo>
                  <a:pt x="5632" y="1269"/>
                </a:lnTo>
                <a:lnTo>
                  <a:pt x="5628" y="1268"/>
                </a:lnTo>
                <a:lnTo>
                  <a:pt x="5631" y="1266"/>
                </a:lnTo>
                <a:lnTo>
                  <a:pt x="5632" y="1264"/>
                </a:lnTo>
                <a:lnTo>
                  <a:pt x="5632" y="1263"/>
                </a:lnTo>
                <a:lnTo>
                  <a:pt x="5632" y="1261"/>
                </a:lnTo>
                <a:lnTo>
                  <a:pt x="5631" y="1255"/>
                </a:lnTo>
                <a:lnTo>
                  <a:pt x="5631" y="1252"/>
                </a:lnTo>
                <a:lnTo>
                  <a:pt x="5631" y="1250"/>
                </a:lnTo>
                <a:lnTo>
                  <a:pt x="5631" y="1248"/>
                </a:lnTo>
                <a:lnTo>
                  <a:pt x="5637" y="1240"/>
                </a:lnTo>
                <a:lnTo>
                  <a:pt x="5637" y="1235"/>
                </a:lnTo>
                <a:lnTo>
                  <a:pt x="5637" y="1231"/>
                </a:lnTo>
                <a:lnTo>
                  <a:pt x="5637" y="1223"/>
                </a:lnTo>
                <a:lnTo>
                  <a:pt x="5636" y="1214"/>
                </a:lnTo>
                <a:lnTo>
                  <a:pt x="5636" y="1210"/>
                </a:lnTo>
                <a:lnTo>
                  <a:pt x="5637" y="1206"/>
                </a:lnTo>
                <a:lnTo>
                  <a:pt x="5638" y="1204"/>
                </a:lnTo>
                <a:lnTo>
                  <a:pt x="5639" y="1203"/>
                </a:lnTo>
                <a:lnTo>
                  <a:pt x="5642" y="1202"/>
                </a:lnTo>
                <a:lnTo>
                  <a:pt x="5645" y="1202"/>
                </a:lnTo>
                <a:lnTo>
                  <a:pt x="5647" y="1201"/>
                </a:lnTo>
                <a:lnTo>
                  <a:pt x="5648" y="1200"/>
                </a:lnTo>
                <a:lnTo>
                  <a:pt x="5649" y="1199"/>
                </a:lnTo>
                <a:lnTo>
                  <a:pt x="5649" y="1198"/>
                </a:lnTo>
                <a:lnTo>
                  <a:pt x="5647" y="1195"/>
                </a:lnTo>
                <a:lnTo>
                  <a:pt x="5645" y="1193"/>
                </a:lnTo>
                <a:lnTo>
                  <a:pt x="5645" y="1192"/>
                </a:lnTo>
                <a:lnTo>
                  <a:pt x="5651" y="1192"/>
                </a:lnTo>
                <a:lnTo>
                  <a:pt x="5653" y="1185"/>
                </a:lnTo>
                <a:lnTo>
                  <a:pt x="5654" y="1179"/>
                </a:lnTo>
                <a:lnTo>
                  <a:pt x="5655" y="1173"/>
                </a:lnTo>
                <a:lnTo>
                  <a:pt x="5655" y="1168"/>
                </a:lnTo>
                <a:lnTo>
                  <a:pt x="5654" y="1163"/>
                </a:lnTo>
                <a:lnTo>
                  <a:pt x="5653" y="1158"/>
                </a:lnTo>
                <a:lnTo>
                  <a:pt x="5648" y="1147"/>
                </a:lnTo>
                <a:lnTo>
                  <a:pt x="5647" y="1144"/>
                </a:lnTo>
                <a:lnTo>
                  <a:pt x="5647" y="1141"/>
                </a:lnTo>
                <a:lnTo>
                  <a:pt x="5646" y="1137"/>
                </a:lnTo>
                <a:lnTo>
                  <a:pt x="5645" y="1135"/>
                </a:lnTo>
                <a:lnTo>
                  <a:pt x="5628" y="1130"/>
                </a:lnTo>
                <a:close/>
                <a:moveTo>
                  <a:pt x="5651" y="1012"/>
                </a:moveTo>
                <a:lnTo>
                  <a:pt x="5650" y="1012"/>
                </a:lnTo>
                <a:lnTo>
                  <a:pt x="5649" y="1013"/>
                </a:lnTo>
                <a:lnTo>
                  <a:pt x="5648" y="1014"/>
                </a:lnTo>
                <a:lnTo>
                  <a:pt x="5647" y="1015"/>
                </a:lnTo>
                <a:lnTo>
                  <a:pt x="5646" y="1018"/>
                </a:lnTo>
                <a:lnTo>
                  <a:pt x="5645" y="1021"/>
                </a:lnTo>
                <a:lnTo>
                  <a:pt x="5646" y="1024"/>
                </a:lnTo>
                <a:lnTo>
                  <a:pt x="5646" y="1027"/>
                </a:lnTo>
                <a:lnTo>
                  <a:pt x="5647" y="1028"/>
                </a:lnTo>
                <a:lnTo>
                  <a:pt x="5648" y="1028"/>
                </a:lnTo>
                <a:lnTo>
                  <a:pt x="5651" y="1029"/>
                </a:lnTo>
                <a:lnTo>
                  <a:pt x="5651" y="1032"/>
                </a:lnTo>
                <a:lnTo>
                  <a:pt x="5652" y="1037"/>
                </a:lnTo>
                <a:lnTo>
                  <a:pt x="5652" y="1042"/>
                </a:lnTo>
                <a:lnTo>
                  <a:pt x="5652" y="1045"/>
                </a:lnTo>
                <a:lnTo>
                  <a:pt x="5651" y="1048"/>
                </a:lnTo>
                <a:lnTo>
                  <a:pt x="5647" y="1055"/>
                </a:lnTo>
                <a:lnTo>
                  <a:pt x="5644" y="1060"/>
                </a:lnTo>
                <a:lnTo>
                  <a:pt x="5642" y="1062"/>
                </a:lnTo>
                <a:lnTo>
                  <a:pt x="5643" y="1066"/>
                </a:lnTo>
                <a:lnTo>
                  <a:pt x="5644" y="1068"/>
                </a:lnTo>
                <a:lnTo>
                  <a:pt x="5645" y="1070"/>
                </a:lnTo>
                <a:lnTo>
                  <a:pt x="5645" y="1071"/>
                </a:lnTo>
                <a:lnTo>
                  <a:pt x="5645" y="1074"/>
                </a:lnTo>
                <a:lnTo>
                  <a:pt x="5643" y="1074"/>
                </a:lnTo>
                <a:lnTo>
                  <a:pt x="5642" y="1076"/>
                </a:lnTo>
                <a:lnTo>
                  <a:pt x="5641" y="1077"/>
                </a:lnTo>
                <a:lnTo>
                  <a:pt x="5640" y="1079"/>
                </a:lnTo>
                <a:lnTo>
                  <a:pt x="5636" y="1077"/>
                </a:lnTo>
                <a:lnTo>
                  <a:pt x="5634" y="1075"/>
                </a:lnTo>
                <a:lnTo>
                  <a:pt x="5633" y="1074"/>
                </a:lnTo>
                <a:lnTo>
                  <a:pt x="5634" y="1074"/>
                </a:lnTo>
                <a:lnTo>
                  <a:pt x="5627" y="1073"/>
                </a:lnTo>
                <a:lnTo>
                  <a:pt x="5623" y="1074"/>
                </a:lnTo>
                <a:lnTo>
                  <a:pt x="5624" y="1076"/>
                </a:lnTo>
                <a:lnTo>
                  <a:pt x="5624" y="1078"/>
                </a:lnTo>
                <a:lnTo>
                  <a:pt x="5626" y="1082"/>
                </a:lnTo>
                <a:lnTo>
                  <a:pt x="5623" y="1084"/>
                </a:lnTo>
                <a:lnTo>
                  <a:pt x="5620" y="1085"/>
                </a:lnTo>
                <a:lnTo>
                  <a:pt x="5614" y="1088"/>
                </a:lnTo>
                <a:lnTo>
                  <a:pt x="5619" y="1095"/>
                </a:lnTo>
                <a:lnTo>
                  <a:pt x="5622" y="1099"/>
                </a:lnTo>
                <a:lnTo>
                  <a:pt x="5623" y="1102"/>
                </a:lnTo>
                <a:lnTo>
                  <a:pt x="5623" y="1104"/>
                </a:lnTo>
                <a:lnTo>
                  <a:pt x="5623" y="1105"/>
                </a:lnTo>
                <a:lnTo>
                  <a:pt x="5623" y="1107"/>
                </a:lnTo>
                <a:lnTo>
                  <a:pt x="5622" y="1109"/>
                </a:lnTo>
                <a:lnTo>
                  <a:pt x="5621" y="1111"/>
                </a:lnTo>
                <a:lnTo>
                  <a:pt x="5620" y="1113"/>
                </a:lnTo>
                <a:lnTo>
                  <a:pt x="5620" y="1114"/>
                </a:lnTo>
                <a:lnTo>
                  <a:pt x="5621" y="1115"/>
                </a:lnTo>
                <a:lnTo>
                  <a:pt x="5625" y="1114"/>
                </a:lnTo>
                <a:lnTo>
                  <a:pt x="5631" y="1113"/>
                </a:lnTo>
                <a:lnTo>
                  <a:pt x="5640" y="1110"/>
                </a:lnTo>
                <a:lnTo>
                  <a:pt x="5641" y="1110"/>
                </a:lnTo>
                <a:lnTo>
                  <a:pt x="5642" y="1109"/>
                </a:lnTo>
                <a:lnTo>
                  <a:pt x="5642" y="1108"/>
                </a:lnTo>
                <a:lnTo>
                  <a:pt x="5641" y="1106"/>
                </a:lnTo>
                <a:lnTo>
                  <a:pt x="5639" y="1105"/>
                </a:lnTo>
                <a:lnTo>
                  <a:pt x="5633" y="1103"/>
                </a:lnTo>
                <a:lnTo>
                  <a:pt x="5628" y="1102"/>
                </a:lnTo>
                <a:lnTo>
                  <a:pt x="5628" y="1101"/>
                </a:lnTo>
                <a:lnTo>
                  <a:pt x="5628" y="1100"/>
                </a:lnTo>
                <a:lnTo>
                  <a:pt x="5628" y="1097"/>
                </a:lnTo>
                <a:lnTo>
                  <a:pt x="5629" y="1095"/>
                </a:lnTo>
                <a:lnTo>
                  <a:pt x="5628" y="1093"/>
                </a:lnTo>
                <a:lnTo>
                  <a:pt x="5634" y="1092"/>
                </a:lnTo>
                <a:lnTo>
                  <a:pt x="5640" y="1090"/>
                </a:lnTo>
                <a:lnTo>
                  <a:pt x="5643" y="1090"/>
                </a:lnTo>
                <a:lnTo>
                  <a:pt x="5647" y="1089"/>
                </a:lnTo>
                <a:lnTo>
                  <a:pt x="5650" y="1089"/>
                </a:lnTo>
                <a:lnTo>
                  <a:pt x="5654" y="1090"/>
                </a:lnTo>
                <a:lnTo>
                  <a:pt x="5659" y="1102"/>
                </a:lnTo>
                <a:lnTo>
                  <a:pt x="5669" y="1101"/>
                </a:lnTo>
                <a:lnTo>
                  <a:pt x="5674" y="1101"/>
                </a:lnTo>
                <a:lnTo>
                  <a:pt x="5679" y="1102"/>
                </a:lnTo>
                <a:lnTo>
                  <a:pt x="5681" y="1096"/>
                </a:lnTo>
                <a:lnTo>
                  <a:pt x="5682" y="1092"/>
                </a:lnTo>
                <a:lnTo>
                  <a:pt x="5684" y="1088"/>
                </a:lnTo>
                <a:lnTo>
                  <a:pt x="5685" y="1087"/>
                </a:lnTo>
                <a:lnTo>
                  <a:pt x="5687" y="1085"/>
                </a:lnTo>
                <a:lnTo>
                  <a:pt x="5691" y="1083"/>
                </a:lnTo>
                <a:lnTo>
                  <a:pt x="5695" y="1081"/>
                </a:lnTo>
                <a:lnTo>
                  <a:pt x="5702" y="1080"/>
                </a:lnTo>
                <a:lnTo>
                  <a:pt x="5711" y="1078"/>
                </a:lnTo>
                <a:lnTo>
                  <a:pt x="5717" y="1078"/>
                </a:lnTo>
                <a:lnTo>
                  <a:pt x="5722" y="1076"/>
                </a:lnTo>
                <a:lnTo>
                  <a:pt x="5720" y="1073"/>
                </a:lnTo>
                <a:lnTo>
                  <a:pt x="5719" y="1071"/>
                </a:lnTo>
                <a:lnTo>
                  <a:pt x="5713" y="1068"/>
                </a:lnTo>
                <a:lnTo>
                  <a:pt x="5714" y="1065"/>
                </a:lnTo>
                <a:lnTo>
                  <a:pt x="5716" y="1062"/>
                </a:lnTo>
                <a:lnTo>
                  <a:pt x="5717" y="1060"/>
                </a:lnTo>
                <a:lnTo>
                  <a:pt x="5717" y="1057"/>
                </a:lnTo>
                <a:lnTo>
                  <a:pt x="5714" y="1057"/>
                </a:lnTo>
                <a:lnTo>
                  <a:pt x="5713" y="1057"/>
                </a:lnTo>
                <a:lnTo>
                  <a:pt x="5710" y="1059"/>
                </a:lnTo>
                <a:lnTo>
                  <a:pt x="5706" y="1060"/>
                </a:lnTo>
                <a:lnTo>
                  <a:pt x="5704" y="1060"/>
                </a:lnTo>
                <a:lnTo>
                  <a:pt x="5702" y="1059"/>
                </a:lnTo>
                <a:lnTo>
                  <a:pt x="5700" y="1058"/>
                </a:lnTo>
                <a:lnTo>
                  <a:pt x="5700" y="1056"/>
                </a:lnTo>
                <a:lnTo>
                  <a:pt x="5699" y="1054"/>
                </a:lnTo>
                <a:lnTo>
                  <a:pt x="5699" y="1051"/>
                </a:lnTo>
                <a:lnTo>
                  <a:pt x="5692" y="1051"/>
                </a:lnTo>
                <a:lnTo>
                  <a:pt x="5686" y="1051"/>
                </a:lnTo>
                <a:lnTo>
                  <a:pt x="5681" y="1050"/>
                </a:lnTo>
                <a:lnTo>
                  <a:pt x="5679" y="1049"/>
                </a:lnTo>
                <a:lnTo>
                  <a:pt x="5676" y="1048"/>
                </a:lnTo>
                <a:lnTo>
                  <a:pt x="5675" y="1047"/>
                </a:lnTo>
                <a:lnTo>
                  <a:pt x="5673" y="1045"/>
                </a:lnTo>
                <a:lnTo>
                  <a:pt x="5671" y="1039"/>
                </a:lnTo>
                <a:lnTo>
                  <a:pt x="5670" y="1033"/>
                </a:lnTo>
                <a:lnTo>
                  <a:pt x="5668" y="1029"/>
                </a:lnTo>
                <a:lnTo>
                  <a:pt x="5664" y="1024"/>
                </a:lnTo>
                <a:lnTo>
                  <a:pt x="5660" y="1020"/>
                </a:lnTo>
                <a:lnTo>
                  <a:pt x="5655" y="1016"/>
                </a:lnTo>
                <a:lnTo>
                  <a:pt x="5651" y="1012"/>
                </a:lnTo>
                <a:close/>
                <a:moveTo>
                  <a:pt x="5673" y="777"/>
                </a:moveTo>
                <a:lnTo>
                  <a:pt x="5671" y="781"/>
                </a:lnTo>
                <a:lnTo>
                  <a:pt x="5670" y="783"/>
                </a:lnTo>
                <a:lnTo>
                  <a:pt x="5668" y="783"/>
                </a:lnTo>
                <a:lnTo>
                  <a:pt x="5665" y="786"/>
                </a:lnTo>
                <a:lnTo>
                  <a:pt x="5667" y="790"/>
                </a:lnTo>
                <a:lnTo>
                  <a:pt x="5669" y="796"/>
                </a:lnTo>
                <a:lnTo>
                  <a:pt x="5670" y="798"/>
                </a:lnTo>
                <a:lnTo>
                  <a:pt x="5671" y="801"/>
                </a:lnTo>
                <a:lnTo>
                  <a:pt x="5671" y="805"/>
                </a:lnTo>
                <a:lnTo>
                  <a:pt x="5671" y="808"/>
                </a:lnTo>
                <a:lnTo>
                  <a:pt x="5669" y="809"/>
                </a:lnTo>
                <a:lnTo>
                  <a:pt x="5664" y="813"/>
                </a:lnTo>
                <a:lnTo>
                  <a:pt x="5662" y="815"/>
                </a:lnTo>
                <a:lnTo>
                  <a:pt x="5660" y="817"/>
                </a:lnTo>
                <a:lnTo>
                  <a:pt x="5658" y="820"/>
                </a:lnTo>
                <a:lnTo>
                  <a:pt x="5657" y="822"/>
                </a:lnTo>
                <a:lnTo>
                  <a:pt x="5655" y="828"/>
                </a:lnTo>
                <a:lnTo>
                  <a:pt x="5655" y="834"/>
                </a:lnTo>
                <a:lnTo>
                  <a:pt x="5655" y="839"/>
                </a:lnTo>
                <a:lnTo>
                  <a:pt x="5655" y="844"/>
                </a:lnTo>
                <a:lnTo>
                  <a:pt x="5656" y="849"/>
                </a:lnTo>
                <a:lnTo>
                  <a:pt x="5658" y="853"/>
                </a:lnTo>
                <a:lnTo>
                  <a:pt x="5659" y="857"/>
                </a:lnTo>
                <a:lnTo>
                  <a:pt x="5659" y="862"/>
                </a:lnTo>
                <a:lnTo>
                  <a:pt x="5660" y="870"/>
                </a:lnTo>
                <a:lnTo>
                  <a:pt x="5660" y="878"/>
                </a:lnTo>
                <a:lnTo>
                  <a:pt x="5659" y="894"/>
                </a:lnTo>
                <a:lnTo>
                  <a:pt x="5658" y="909"/>
                </a:lnTo>
                <a:lnTo>
                  <a:pt x="5657" y="922"/>
                </a:lnTo>
                <a:lnTo>
                  <a:pt x="5658" y="921"/>
                </a:lnTo>
                <a:lnTo>
                  <a:pt x="5659" y="922"/>
                </a:lnTo>
                <a:lnTo>
                  <a:pt x="5659" y="924"/>
                </a:lnTo>
                <a:lnTo>
                  <a:pt x="5660" y="925"/>
                </a:lnTo>
                <a:lnTo>
                  <a:pt x="5659" y="930"/>
                </a:lnTo>
                <a:lnTo>
                  <a:pt x="5659" y="933"/>
                </a:lnTo>
                <a:lnTo>
                  <a:pt x="5658" y="934"/>
                </a:lnTo>
                <a:lnTo>
                  <a:pt x="5657" y="936"/>
                </a:lnTo>
                <a:lnTo>
                  <a:pt x="5657" y="939"/>
                </a:lnTo>
                <a:lnTo>
                  <a:pt x="5662" y="950"/>
                </a:lnTo>
                <a:lnTo>
                  <a:pt x="5662" y="955"/>
                </a:lnTo>
                <a:lnTo>
                  <a:pt x="5661" y="962"/>
                </a:lnTo>
                <a:lnTo>
                  <a:pt x="5659" y="975"/>
                </a:lnTo>
                <a:lnTo>
                  <a:pt x="5656" y="990"/>
                </a:lnTo>
                <a:lnTo>
                  <a:pt x="5654" y="1003"/>
                </a:lnTo>
                <a:lnTo>
                  <a:pt x="5657" y="997"/>
                </a:lnTo>
                <a:lnTo>
                  <a:pt x="5660" y="992"/>
                </a:lnTo>
                <a:lnTo>
                  <a:pt x="5662" y="989"/>
                </a:lnTo>
                <a:lnTo>
                  <a:pt x="5663" y="989"/>
                </a:lnTo>
                <a:lnTo>
                  <a:pt x="5663" y="988"/>
                </a:lnTo>
                <a:lnTo>
                  <a:pt x="5664" y="988"/>
                </a:lnTo>
                <a:lnTo>
                  <a:pt x="5666" y="989"/>
                </a:lnTo>
                <a:lnTo>
                  <a:pt x="5668" y="991"/>
                </a:lnTo>
                <a:lnTo>
                  <a:pt x="5676" y="998"/>
                </a:lnTo>
                <a:lnTo>
                  <a:pt x="5677" y="999"/>
                </a:lnTo>
                <a:lnTo>
                  <a:pt x="5679" y="1002"/>
                </a:lnTo>
                <a:lnTo>
                  <a:pt x="5682" y="1006"/>
                </a:lnTo>
                <a:lnTo>
                  <a:pt x="5681" y="1002"/>
                </a:lnTo>
                <a:lnTo>
                  <a:pt x="5682" y="999"/>
                </a:lnTo>
                <a:lnTo>
                  <a:pt x="5682" y="996"/>
                </a:lnTo>
                <a:lnTo>
                  <a:pt x="5682" y="992"/>
                </a:lnTo>
                <a:lnTo>
                  <a:pt x="5679" y="987"/>
                </a:lnTo>
                <a:lnTo>
                  <a:pt x="5675" y="980"/>
                </a:lnTo>
                <a:lnTo>
                  <a:pt x="5670" y="973"/>
                </a:lnTo>
                <a:lnTo>
                  <a:pt x="5669" y="970"/>
                </a:lnTo>
                <a:lnTo>
                  <a:pt x="5668" y="967"/>
                </a:lnTo>
                <a:lnTo>
                  <a:pt x="5667" y="960"/>
                </a:lnTo>
                <a:lnTo>
                  <a:pt x="5668" y="954"/>
                </a:lnTo>
                <a:lnTo>
                  <a:pt x="5669" y="947"/>
                </a:lnTo>
                <a:lnTo>
                  <a:pt x="5670" y="941"/>
                </a:lnTo>
                <a:lnTo>
                  <a:pt x="5673" y="929"/>
                </a:lnTo>
                <a:lnTo>
                  <a:pt x="5675" y="923"/>
                </a:lnTo>
                <a:lnTo>
                  <a:pt x="5676" y="916"/>
                </a:lnTo>
                <a:lnTo>
                  <a:pt x="5679" y="915"/>
                </a:lnTo>
                <a:lnTo>
                  <a:pt x="5679" y="913"/>
                </a:lnTo>
                <a:lnTo>
                  <a:pt x="5679" y="910"/>
                </a:lnTo>
                <a:lnTo>
                  <a:pt x="5682" y="911"/>
                </a:lnTo>
                <a:lnTo>
                  <a:pt x="5686" y="910"/>
                </a:lnTo>
                <a:lnTo>
                  <a:pt x="5690" y="910"/>
                </a:lnTo>
                <a:lnTo>
                  <a:pt x="5692" y="910"/>
                </a:lnTo>
                <a:lnTo>
                  <a:pt x="5693" y="910"/>
                </a:lnTo>
                <a:lnTo>
                  <a:pt x="5695" y="912"/>
                </a:lnTo>
                <a:lnTo>
                  <a:pt x="5699" y="915"/>
                </a:lnTo>
                <a:lnTo>
                  <a:pt x="5704" y="922"/>
                </a:lnTo>
                <a:lnTo>
                  <a:pt x="5701" y="915"/>
                </a:lnTo>
                <a:lnTo>
                  <a:pt x="5697" y="906"/>
                </a:lnTo>
                <a:lnTo>
                  <a:pt x="5695" y="902"/>
                </a:lnTo>
                <a:lnTo>
                  <a:pt x="5693" y="898"/>
                </a:lnTo>
                <a:lnTo>
                  <a:pt x="5690" y="895"/>
                </a:lnTo>
                <a:lnTo>
                  <a:pt x="5687" y="893"/>
                </a:lnTo>
                <a:lnTo>
                  <a:pt x="5685" y="893"/>
                </a:lnTo>
                <a:lnTo>
                  <a:pt x="5684" y="889"/>
                </a:lnTo>
                <a:lnTo>
                  <a:pt x="5684" y="882"/>
                </a:lnTo>
                <a:lnTo>
                  <a:pt x="5685" y="864"/>
                </a:lnTo>
                <a:lnTo>
                  <a:pt x="5685" y="848"/>
                </a:lnTo>
                <a:lnTo>
                  <a:pt x="5684" y="843"/>
                </a:lnTo>
                <a:lnTo>
                  <a:pt x="5683" y="840"/>
                </a:lnTo>
                <a:lnTo>
                  <a:pt x="5682" y="839"/>
                </a:lnTo>
                <a:lnTo>
                  <a:pt x="5683" y="836"/>
                </a:lnTo>
                <a:lnTo>
                  <a:pt x="5685" y="833"/>
                </a:lnTo>
                <a:lnTo>
                  <a:pt x="5687" y="829"/>
                </a:lnTo>
                <a:lnTo>
                  <a:pt x="5687" y="827"/>
                </a:lnTo>
                <a:lnTo>
                  <a:pt x="5687" y="825"/>
                </a:lnTo>
                <a:lnTo>
                  <a:pt x="5687" y="823"/>
                </a:lnTo>
                <a:lnTo>
                  <a:pt x="5686" y="821"/>
                </a:lnTo>
                <a:lnTo>
                  <a:pt x="5682" y="815"/>
                </a:lnTo>
                <a:lnTo>
                  <a:pt x="5678" y="810"/>
                </a:lnTo>
                <a:lnTo>
                  <a:pt x="5677" y="807"/>
                </a:lnTo>
                <a:lnTo>
                  <a:pt x="5676" y="805"/>
                </a:lnTo>
                <a:lnTo>
                  <a:pt x="5676" y="803"/>
                </a:lnTo>
                <a:lnTo>
                  <a:pt x="5677" y="801"/>
                </a:lnTo>
                <a:lnTo>
                  <a:pt x="5679" y="797"/>
                </a:lnTo>
                <a:lnTo>
                  <a:pt x="5681" y="793"/>
                </a:lnTo>
                <a:lnTo>
                  <a:pt x="5682" y="788"/>
                </a:lnTo>
                <a:lnTo>
                  <a:pt x="5681" y="787"/>
                </a:lnTo>
                <a:lnTo>
                  <a:pt x="5681" y="786"/>
                </a:lnTo>
                <a:lnTo>
                  <a:pt x="5678" y="783"/>
                </a:lnTo>
                <a:lnTo>
                  <a:pt x="5675" y="780"/>
                </a:lnTo>
                <a:lnTo>
                  <a:pt x="5673" y="777"/>
                </a:lnTo>
                <a:close/>
                <a:moveTo>
                  <a:pt x="2998" y="634"/>
                </a:moveTo>
                <a:lnTo>
                  <a:pt x="2994" y="638"/>
                </a:lnTo>
                <a:lnTo>
                  <a:pt x="2991" y="641"/>
                </a:lnTo>
                <a:lnTo>
                  <a:pt x="2989" y="642"/>
                </a:lnTo>
                <a:lnTo>
                  <a:pt x="2981" y="636"/>
                </a:lnTo>
                <a:lnTo>
                  <a:pt x="2980" y="639"/>
                </a:lnTo>
                <a:lnTo>
                  <a:pt x="2981" y="642"/>
                </a:lnTo>
                <a:lnTo>
                  <a:pt x="2981" y="645"/>
                </a:lnTo>
                <a:lnTo>
                  <a:pt x="2981" y="648"/>
                </a:lnTo>
                <a:lnTo>
                  <a:pt x="2975" y="651"/>
                </a:lnTo>
                <a:lnTo>
                  <a:pt x="2974" y="653"/>
                </a:lnTo>
                <a:lnTo>
                  <a:pt x="2973" y="655"/>
                </a:lnTo>
                <a:lnTo>
                  <a:pt x="2974" y="657"/>
                </a:lnTo>
                <a:lnTo>
                  <a:pt x="2974" y="658"/>
                </a:lnTo>
                <a:lnTo>
                  <a:pt x="2976" y="661"/>
                </a:lnTo>
                <a:lnTo>
                  <a:pt x="2976" y="662"/>
                </a:lnTo>
                <a:lnTo>
                  <a:pt x="2975" y="665"/>
                </a:lnTo>
                <a:lnTo>
                  <a:pt x="2967" y="665"/>
                </a:lnTo>
                <a:lnTo>
                  <a:pt x="2967" y="669"/>
                </a:lnTo>
                <a:lnTo>
                  <a:pt x="2967" y="673"/>
                </a:lnTo>
                <a:lnTo>
                  <a:pt x="2964" y="673"/>
                </a:lnTo>
                <a:lnTo>
                  <a:pt x="2965" y="674"/>
                </a:lnTo>
                <a:lnTo>
                  <a:pt x="2966" y="676"/>
                </a:lnTo>
                <a:lnTo>
                  <a:pt x="2967" y="681"/>
                </a:lnTo>
                <a:lnTo>
                  <a:pt x="2971" y="681"/>
                </a:lnTo>
                <a:lnTo>
                  <a:pt x="2968" y="681"/>
                </a:lnTo>
                <a:lnTo>
                  <a:pt x="2967" y="682"/>
                </a:lnTo>
                <a:lnTo>
                  <a:pt x="2969" y="684"/>
                </a:lnTo>
                <a:lnTo>
                  <a:pt x="2966" y="685"/>
                </a:lnTo>
                <a:lnTo>
                  <a:pt x="2964" y="685"/>
                </a:lnTo>
                <a:lnTo>
                  <a:pt x="2964" y="686"/>
                </a:lnTo>
                <a:lnTo>
                  <a:pt x="2964" y="687"/>
                </a:lnTo>
                <a:lnTo>
                  <a:pt x="2964" y="688"/>
                </a:lnTo>
                <a:lnTo>
                  <a:pt x="2965" y="690"/>
                </a:lnTo>
                <a:lnTo>
                  <a:pt x="2967" y="691"/>
                </a:lnTo>
                <a:lnTo>
                  <a:pt x="2969" y="693"/>
                </a:lnTo>
                <a:lnTo>
                  <a:pt x="2964" y="696"/>
                </a:lnTo>
                <a:lnTo>
                  <a:pt x="2964" y="700"/>
                </a:lnTo>
                <a:lnTo>
                  <a:pt x="2964" y="707"/>
                </a:lnTo>
                <a:lnTo>
                  <a:pt x="2969" y="707"/>
                </a:lnTo>
                <a:lnTo>
                  <a:pt x="2974" y="706"/>
                </a:lnTo>
                <a:lnTo>
                  <a:pt x="2975" y="706"/>
                </a:lnTo>
                <a:lnTo>
                  <a:pt x="2974" y="707"/>
                </a:lnTo>
                <a:lnTo>
                  <a:pt x="2972" y="710"/>
                </a:lnTo>
                <a:lnTo>
                  <a:pt x="2969" y="711"/>
                </a:lnTo>
                <a:lnTo>
                  <a:pt x="2967" y="712"/>
                </a:lnTo>
                <a:lnTo>
                  <a:pt x="2967" y="715"/>
                </a:lnTo>
                <a:lnTo>
                  <a:pt x="2967" y="718"/>
                </a:lnTo>
                <a:lnTo>
                  <a:pt x="2968" y="721"/>
                </a:lnTo>
                <a:lnTo>
                  <a:pt x="2967" y="724"/>
                </a:lnTo>
                <a:lnTo>
                  <a:pt x="2967" y="726"/>
                </a:lnTo>
                <a:lnTo>
                  <a:pt x="2969" y="725"/>
                </a:lnTo>
                <a:lnTo>
                  <a:pt x="2970" y="723"/>
                </a:lnTo>
                <a:lnTo>
                  <a:pt x="2972" y="718"/>
                </a:lnTo>
                <a:lnTo>
                  <a:pt x="2975" y="719"/>
                </a:lnTo>
                <a:lnTo>
                  <a:pt x="2977" y="718"/>
                </a:lnTo>
                <a:lnTo>
                  <a:pt x="2979" y="718"/>
                </a:lnTo>
                <a:lnTo>
                  <a:pt x="2981" y="718"/>
                </a:lnTo>
                <a:lnTo>
                  <a:pt x="2981" y="724"/>
                </a:lnTo>
                <a:lnTo>
                  <a:pt x="2980" y="727"/>
                </a:lnTo>
                <a:lnTo>
                  <a:pt x="2979" y="735"/>
                </a:lnTo>
                <a:lnTo>
                  <a:pt x="2977" y="746"/>
                </a:lnTo>
                <a:lnTo>
                  <a:pt x="2975" y="755"/>
                </a:lnTo>
                <a:lnTo>
                  <a:pt x="2991" y="753"/>
                </a:lnTo>
                <a:lnTo>
                  <a:pt x="3012" y="752"/>
                </a:lnTo>
                <a:lnTo>
                  <a:pt x="3008" y="759"/>
                </a:lnTo>
                <a:lnTo>
                  <a:pt x="3003" y="766"/>
                </a:lnTo>
                <a:lnTo>
                  <a:pt x="3007" y="767"/>
                </a:lnTo>
                <a:lnTo>
                  <a:pt x="3011" y="767"/>
                </a:lnTo>
                <a:lnTo>
                  <a:pt x="3020" y="769"/>
                </a:lnTo>
                <a:lnTo>
                  <a:pt x="3017" y="783"/>
                </a:lnTo>
                <a:lnTo>
                  <a:pt x="3015" y="788"/>
                </a:lnTo>
                <a:lnTo>
                  <a:pt x="3014" y="789"/>
                </a:lnTo>
                <a:lnTo>
                  <a:pt x="3012" y="791"/>
                </a:lnTo>
                <a:lnTo>
                  <a:pt x="3011" y="792"/>
                </a:lnTo>
                <a:lnTo>
                  <a:pt x="3009" y="792"/>
                </a:lnTo>
                <a:lnTo>
                  <a:pt x="3003" y="792"/>
                </a:lnTo>
                <a:lnTo>
                  <a:pt x="2996" y="791"/>
                </a:lnTo>
                <a:lnTo>
                  <a:pt x="2986" y="788"/>
                </a:lnTo>
                <a:lnTo>
                  <a:pt x="2987" y="792"/>
                </a:lnTo>
                <a:lnTo>
                  <a:pt x="2986" y="797"/>
                </a:lnTo>
                <a:lnTo>
                  <a:pt x="2988" y="796"/>
                </a:lnTo>
                <a:lnTo>
                  <a:pt x="2989" y="796"/>
                </a:lnTo>
                <a:lnTo>
                  <a:pt x="2990" y="796"/>
                </a:lnTo>
                <a:lnTo>
                  <a:pt x="2991" y="797"/>
                </a:lnTo>
                <a:lnTo>
                  <a:pt x="2992" y="800"/>
                </a:lnTo>
                <a:lnTo>
                  <a:pt x="2989" y="803"/>
                </a:lnTo>
                <a:lnTo>
                  <a:pt x="2986" y="806"/>
                </a:lnTo>
                <a:lnTo>
                  <a:pt x="2981" y="814"/>
                </a:lnTo>
                <a:lnTo>
                  <a:pt x="2986" y="812"/>
                </a:lnTo>
                <a:lnTo>
                  <a:pt x="2988" y="811"/>
                </a:lnTo>
                <a:lnTo>
                  <a:pt x="2992" y="811"/>
                </a:lnTo>
                <a:lnTo>
                  <a:pt x="2992" y="817"/>
                </a:lnTo>
                <a:lnTo>
                  <a:pt x="2992" y="822"/>
                </a:lnTo>
                <a:lnTo>
                  <a:pt x="2987" y="825"/>
                </a:lnTo>
                <a:lnTo>
                  <a:pt x="2982" y="828"/>
                </a:lnTo>
                <a:lnTo>
                  <a:pt x="2978" y="830"/>
                </a:lnTo>
                <a:lnTo>
                  <a:pt x="2972" y="833"/>
                </a:lnTo>
                <a:lnTo>
                  <a:pt x="2974" y="842"/>
                </a:lnTo>
                <a:lnTo>
                  <a:pt x="2975" y="844"/>
                </a:lnTo>
                <a:lnTo>
                  <a:pt x="2977" y="845"/>
                </a:lnTo>
                <a:lnTo>
                  <a:pt x="2978" y="845"/>
                </a:lnTo>
                <a:lnTo>
                  <a:pt x="2981" y="844"/>
                </a:lnTo>
                <a:lnTo>
                  <a:pt x="2989" y="839"/>
                </a:lnTo>
                <a:lnTo>
                  <a:pt x="2989" y="847"/>
                </a:lnTo>
                <a:lnTo>
                  <a:pt x="2995" y="846"/>
                </a:lnTo>
                <a:lnTo>
                  <a:pt x="2999" y="845"/>
                </a:lnTo>
                <a:lnTo>
                  <a:pt x="3006" y="845"/>
                </a:lnTo>
                <a:lnTo>
                  <a:pt x="3009" y="844"/>
                </a:lnTo>
                <a:lnTo>
                  <a:pt x="3012" y="843"/>
                </a:lnTo>
                <a:lnTo>
                  <a:pt x="3023" y="843"/>
                </a:lnTo>
                <a:lnTo>
                  <a:pt x="3021" y="843"/>
                </a:lnTo>
                <a:lnTo>
                  <a:pt x="3020" y="844"/>
                </a:lnTo>
                <a:lnTo>
                  <a:pt x="3019" y="847"/>
                </a:lnTo>
                <a:lnTo>
                  <a:pt x="3017" y="853"/>
                </a:lnTo>
                <a:lnTo>
                  <a:pt x="2986" y="853"/>
                </a:lnTo>
                <a:lnTo>
                  <a:pt x="2981" y="863"/>
                </a:lnTo>
                <a:lnTo>
                  <a:pt x="2978" y="869"/>
                </a:lnTo>
                <a:lnTo>
                  <a:pt x="2974" y="873"/>
                </a:lnTo>
                <a:lnTo>
                  <a:pt x="2971" y="877"/>
                </a:lnTo>
                <a:lnTo>
                  <a:pt x="2967" y="881"/>
                </a:lnTo>
                <a:lnTo>
                  <a:pt x="2963" y="885"/>
                </a:lnTo>
                <a:lnTo>
                  <a:pt x="2958" y="888"/>
                </a:lnTo>
                <a:lnTo>
                  <a:pt x="2961" y="888"/>
                </a:lnTo>
                <a:lnTo>
                  <a:pt x="2963" y="888"/>
                </a:lnTo>
                <a:lnTo>
                  <a:pt x="2967" y="890"/>
                </a:lnTo>
                <a:lnTo>
                  <a:pt x="2970" y="891"/>
                </a:lnTo>
                <a:lnTo>
                  <a:pt x="2973" y="891"/>
                </a:lnTo>
                <a:lnTo>
                  <a:pt x="2975" y="891"/>
                </a:lnTo>
                <a:lnTo>
                  <a:pt x="2975" y="882"/>
                </a:lnTo>
                <a:lnTo>
                  <a:pt x="2981" y="879"/>
                </a:lnTo>
                <a:lnTo>
                  <a:pt x="2986" y="877"/>
                </a:lnTo>
                <a:lnTo>
                  <a:pt x="2989" y="876"/>
                </a:lnTo>
                <a:lnTo>
                  <a:pt x="2992" y="877"/>
                </a:lnTo>
                <a:lnTo>
                  <a:pt x="2994" y="877"/>
                </a:lnTo>
                <a:lnTo>
                  <a:pt x="2996" y="878"/>
                </a:lnTo>
                <a:lnTo>
                  <a:pt x="2999" y="879"/>
                </a:lnTo>
                <a:lnTo>
                  <a:pt x="3001" y="880"/>
                </a:lnTo>
                <a:lnTo>
                  <a:pt x="3003" y="879"/>
                </a:lnTo>
                <a:lnTo>
                  <a:pt x="3006" y="875"/>
                </a:lnTo>
                <a:lnTo>
                  <a:pt x="3009" y="871"/>
                </a:lnTo>
                <a:lnTo>
                  <a:pt x="3012" y="871"/>
                </a:lnTo>
                <a:lnTo>
                  <a:pt x="3015" y="871"/>
                </a:lnTo>
                <a:lnTo>
                  <a:pt x="3021" y="872"/>
                </a:lnTo>
                <a:lnTo>
                  <a:pt x="3027" y="874"/>
                </a:lnTo>
                <a:lnTo>
                  <a:pt x="3029" y="874"/>
                </a:lnTo>
                <a:lnTo>
                  <a:pt x="3031" y="874"/>
                </a:lnTo>
                <a:lnTo>
                  <a:pt x="3033" y="872"/>
                </a:lnTo>
                <a:lnTo>
                  <a:pt x="3034" y="870"/>
                </a:lnTo>
                <a:lnTo>
                  <a:pt x="3036" y="867"/>
                </a:lnTo>
                <a:lnTo>
                  <a:pt x="3037" y="864"/>
                </a:lnTo>
                <a:lnTo>
                  <a:pt x="3041" y="864"/>
                </a:lnTo>
                <a:lnTo>
                  <a:pt x="3046" y="864"/>
                </a:lnTo>
                <a:lnTo>
                  <a:pt x="3057" y="865"/>
                </a:lnTo>
                <a:lnTo>
                  <a:pt x="3067" y="868"/>
                </a:lnTo>
                <a:lnTo>
                  <a:pt x="3072" y="868"/>
                </a:lnTo>
                <a:lnTo>
                  <a:pt x="3076" y="868"/>
                </a:lnTo>
                <a:lnTo>
                  <a:pt x="3080" y="867"/>
                </a:lnTo>
                <a:lnTo>
                  <a:pt x="3084" y="864"/>
                </a:lnTo>
                <a:lnTo>
                  <a:pt x="3089" y="861"/>
                </a:lnTo>
                <a:lnTo>
                  <a:pt x="3093" y="859"/>
                </a:lnTo>
                <a:lnTo>
                  <a:pt x="3093" y="853"/>
                </a:lnTo>
                <a:lnTo>
                  <a:pt x="3090" y="853"/>
                </a:lnTo>
                <a:lnTo>
                  <a:pt x="3086" y="853"/>
                </a:lnTo>
                <a:lnTo>
                  <a:pt x="3079" y="853"/>
                </a:lnTo>
                <a:lnTo>
                  <a:pt x="3081" y="850"/>
                </a:lnTo>
                <a:lnTo>
                  <a:pt x="3082" y="846"/>
                </a:lnTo>
                <a:lnTo>
                  <a:pt x="3083" y="842"/>
                </a:lnTo>
                <a:lnTo>
                  <a:pt x="3084" y="840"/>
                </a:lnTo>
                <a:lnTo>
                  <a:pt x="3085" y="839"/>
                </a:lnTo>
                <a:lnTo>
                  <a:pt x="3087" y="838"/>
                </a:lnTo>
                <a:lnTo>
                  <a:pt x="3089" y="838"/>
                </a:lnTo>
                <a:lnTo>
                  <a:pt x="3093" y="838"/>
                </a:lnTo>
                <a:lnTo>
                  <a:pt x="3096" y="838"/>
                </a:lnTo>
                <a:lnTo>
                  <a:pt x="3098" y="837"/>
                </a:lnTo>
                <a:lnTo>
                  <a:pt x="3099" y="836"/>
                </a:lnTo>
                <a:lnTo>
                  <a:pt x="3100" y="834"/>
                </a:lnTo>
                <a:lnTo>
                  <a:pt x="3101" y="832"/>
                </a:lnTo>
                <a:lnTo>
                  <a:pt x="3102" y="827"/>
                </a:lnTo>
                <a:lnTo>
                  <a:pt x="3103" y="821"/>
                </a:lnTo>
                <a:lnTo>
                  <a:pt x="3104" y="817"/>
                </a:lnTo>
                <a:lnTo>
                  <a:pt x="3103" y="816"/>
                </a:lnTo>
                <a:lnTo>
                  <a:pt x="3102" y="814"/>
                </a:lnTo>
                <a:lnTo>
                  <a:pt x="3101" y="812"/>
                </a:lnTo>
                <a:lnTo>
                  <a:pt x="3101" y="810"/>
                </a:lnTo>
                <a:lnTo>
                  <a:pt x="3099" y="808"/>
                </a:lnTo>
                <a:lnTo>
                  <a:pt x="3095" y="807"/>
                </a:lnTo>
                <a:lnTo>
                  <a:pt x="3092" y="806"/>
                </a:lnTo>
                <a:lnTo>
                  <a:pt x="3088" y="806"/>
                </a:lnTo>
                <a:lnTo>
                  <a:pt x="3087" y="806"/>
                </a:lnTo>
                <a:lnTo>
                  <a:pt x="3085" y="805"/>
                </a:lnTo>
                <a:lnTo>
                  <a:pt x="3082" y="814"/>
                </a:lnTo>
                <a:lnTo>
                  <a:pt x="3081" y="814"/>
                </a:lnTo>
                <a:lnTo>
                  <a:pt x="3080" y="814"/>
                </a:lnTo>
                <a:lnTo>
                  <a:pt x="3078" y="812"/>
                </a:lnTo>
                <a:lnTo>
                  <a:pt x="3078" y="811"/>
                </a:lnTo>
                <a:lnTo>
                  <a:pt x="3077" y="810"/>
                </a:lnTo>
                <a:lnTo>
                  <a:pt x="3076" y="810"/>
                </a:lnTo>
                <a:lnTo>
                  <a:pt x="3074" y="811"/>
                </a:lnTo>
                <a:lnTo>
                  <a:pt x="3075" y="804"/>
                </a:lnTo>
                <a:lnTo>
                  <a:pt x="3076" y="794"/>
                </a:lnTo>
                <a:lnTo>
                  <a:pt x="3073" y="793"/>
                </a:lnTo>
                <a:lnTo>
                  <a:pt x="3072" y="793"/>
                </a:lnTo>
                <a:lnTo>
                  <a:pt x="3072" y="792"/>
                </a:lnTo>
                <a:lnTo>
                  <a:pt x="3071" y="788"/>
                </a:lnTo>
                <a:lnTo>
                  <a:pt x="3073" y="788"/>
                </a:lnTo>
                <a:lnTo>
                  <a:pt x="3076" y="788"/>
                </a:lnTo>
                <a:lnTo>
                  <a:pt x="3077" y="787"/>
                </a:lnTo>
                <a:lnTo>
                  <a:pt x="3077" y="786"/>
                </a:lnTo>
                <a:lnTo>
                  <a:pt x="3077" y="785"/>
                </a:lnTo>
                <a:lnTo>
                  <a:pt x="3076" y="783"/>
                </a:lnTo>
                <a:lnTo>
                  <a:pt x="3071" y="783"/>
                </a:lnTo>
                <a:lnTo>
                  <a:pt x="3068" y="779"/>
                </a:lnTo>
                <a:lnTo>
                  <a:pt x="3062" y="772"/>
                </a:lnTo>
                <a:lnTo>
                  <a:pt x="3057" y="764"/>
                </a:lnTo>
                <a:lnTo>
                  <a:pt x="3054" y="760"/>
                </a:lnTo>
                <a:lnTo>
                  <a:pt x="3051" y="759"/>
                </a:lnTo>
                <a:lnTo>
                  <a:pt x="3049" y="759"/>
                </a:lnTo>
                <a:lnTo>
                  <a:pt x="3047" y="759"/>
                </a:lnTo>
                <a:lnTo>
                  <a:pt x="3045" y="757"/>
                </a:lnTo>
                <a:lnTo>
                  <a:pt x="3044" y="754"/>
                </a:lnTo>
                <a:lnTo>
                  <a:pt x="3042" y="751"/>
                </a:lnTo>
                <a:lnTo>
                  <a:pt x="3040" y="743"/>
                </a:lnTo>
                <a:lnTo>
                  <a:pt x="3039" y="739"/>
                </a:lnTo>
                <a:lnTo>
                  <a:pt x="3038" y="735"/>
                </a:lnTo>
                <a:lnTo>
                  <a:pt x="3036" y="732"/>
                </a:lnTo>
                <a:lnTo>
                  <a:pt x="3034" y="729"/>
                </a:lnTo>
                <a:lnTo>
                  <a:pt x="3032" y="728"/>
                </a:lnTo>
                <a:lnTo>
                  <a:pt x="3030" y="728"/>
                </a:lnTo>
                <a:lnTo>
                  <a:pt x="3027" y="728"/>
                </a:lnTo>
                <a:lnTo>
                  <a:pt x="3026" y="726"/>
                </a:lnTo>
                <a:lnTo>
                  <a:pt x="3026" y="721"/>
                </a:lnTo>
                <a:lnTo>
                  <a:pt x="3024" y="720"/>
                </a:lnTo>
                <a:lnTo>
                  <a:pt x="3022" y="720"/>
                </a:lnTo>
                <a:lnTo>
                  <a:pt x="3020" y="721"/>
                </a:lnTo>
                <a:lnTo>
                  <a:pt x="3019" y="721"/>
                </a:lnTo>
                <a:lnTo>
                  <a:pt x="3018" y="721"/>
                </a:lnTo>
                <a:lnTo>
                  <a:pt x="3016" y="721"/>
                </a:lnTo>
                <a:lnTo>
                  <a:pt x="3014" y="721"/>
                </a:lnTo>
                <a:lnTo>
                  <a:pt x="3017" y="717"/>
                </a:lnTo>
                <a:lnTo>
                  <a:pt x="3020" y="714"/>
                </a:lnTo>
                <a:lnTo>
                  <a:pt x="3021" y="711"/>
                </a:lnTo>
                <a:lnTo>
                  <a:pt x="3023" y="708"/>
                </a:lnTo>
                <a:lnTo>
                  <a:pt x="3023" y="705"/>
                </a:lnTo>
                <a:lnTo>
                  <a:pt x="3022" y="704"/>
                </a:lnTo>
                <a:lnTo>
                  <a:pt x="3021" y="703"/>
                </a:lnTo>
                <a:lnTo>
                  <a:pt x="3017" y="701"/>
                </a:lnTo>
                <a:lnTo>
                  <a:pt x="3024" y="696"/>
                </a:lnTo>
                <a:lnTo>
                  <a:pt x="3029" y="692"/>
                </a:lnTo>
                <a:lnTo>
                  <a:pt x="3031" y="690"/>
                </a:lnTo>
                <a:lnTo>
                  <a:pt x="3033" y="684"/>
                </a:lnTo>
                <a:lnTo>
                  <a:pt x="3035" y="679"/>
                </a:lnTo>
                <a:lnTo>
                  <a:pt x="3035" y="675"/>
                </a:lnTo>
                <a:lnTo>
                  <a:pt x="3034" y="673"/>
                </a:lnTo>
                <a:lnTo>
                  <a:pt x="3034" y="672"/>
                </a:lnTo>
                <a:lnTo>
                  <a:pt x="3032" y="670"/>
                </a:lnTo>
                <a:lnTo>
                  <a:pt x="3030" y="668"/>
                </a:lnTo>
                <a:lnTo>
                  <a:pt x="3028" y="668"/>
                </a:lnTo>
                <a:lnTo>
                  <a:pt x="3025" y="667"/>
                </a:lnTo>
                <a:lnTo>
                  <a:pt x="3021" y="668"/>
                </a:lnTo>
                <a:lnTo>
                  <a:pt x="3018" y="668"/>
                </a:lnTo>
                <a:lnTo>
                  <a:pt x="3010" y="670"/>
                </a:lnTo>
                <a:lnTo>
                  <a:pt x="3003" y="672"/>
                </a:lnTo>
                <a:lnTo>
                  <a:pt x="3000" y="673"/>
                </a:lnTo>
                <a:lnTo>
                  <a:pt x="2998" y="673"/>
                </a:lnTo>
                <a:lnTo>
                  <a:pt x="2996" y="673"/>
                </a:lnTo>
                <a:lnTo>
                  <a:pt x="2995" y="673"/>
                </a:lnTo>
                <a:lnTo>
                  <a:pt x="2995" y="671"/>
                </a:lnTo>
                <a:lnTo>
                  <a:pt x="2995" y="670"/>
                </a:lnTo>
                <a:lnTo>
                  <a:pt x="2992" y="670"/>
                </a:lnTo>
                <a:lnTo>
                  <a:pt x="2993" y="668"/>
                </a:lnTo>
                <a:lnTo>
                  <a:pt x="2993" y="665"/>
                </a:lnTo>
                <a:lnTo>
                  <a:pt x="2994" y="661"/>
                </a:lnTo>
                <a:lnTo>
                  <a:pt x="2995" y="659"/>
                </a:lnTo>
                <a:lnTo>
                  <a:pt x="2997" y="657"/>
                </a:lnTo>
                <a:lnTo>
                  <a:pt x="2999" y="656"/>
                </a:lnTo>
                <a:lnTo>
                  <a:pt x="3000" y="657"/>
                </a:lnTo>
                <a:lnTo>
                  <a:pt x="3001" y="657"/>
                </a:lnTo>
                <a:lnTo>
                  <a:pt x="3002" y="656"/>
                </a:lnTo>
                <a:lnTo>
                  <a:pt x="3006" y="648"/>
                </a:lnTo>
                <a:lnTo>
                  <a:pt x="3012" y="648"/>
                </a:lnTo>
                <a:lnTo>
                  <a:pt x="3011" y="640"/>
                </a:lnTo>
                <a:lnTo>
                  <a:pt x="3010" y="636"/>
                </a:lnTo>
                <a:lnTo>
                  <a:pt x="3009" y="636"/>
                </a:lnTo>
                <a:lnTo>
                  <a:pt x="3007" y="636"/>
                </a:lnTo>
                <a:lnTo>
                  <a:pt x="3004" y="635"/>
                </a:lnTo>
                <a:lnTo>
                  <a:pt x="3000" y="634"/>
                </a:lnTo>
                <a:lnTo>
                  <a:pt x="2998" y="634"/>
                </a:lnTo>
                <a:close/>
                <a:moveTo>
                  <a:pt x="2773" y="392"/>
                </a:moveTo>
                <a:lnTo>
                  <a:pt x="2773" y="403"/>
                </a:lnTo>
                <a:lnTo>
                  <a:pt x="2767" y="402"/>
                </a:lnTo>
                <a:lnTo>
                  <a:pt x="2763" y="401"/>
                </a:lnTo>
                <a:lnTo>
                  <a:pt x="2760" y="400"/>
                </a:lnTo>
                <a:lnTo>
                  <a:pt x="2756" y="400"/>
                </a:lnTo>
                <a:lnTo>
                  <a:pt x="2756" y="406"/>
                </a:lnTo>
                <a:lnTo>
                  <a:pt x="2749" y="408"/>
                </a:lnTo>
                <a:lnTo>
                  <a:pt x="2744" y="409"/>
                </a:lnTo>
                <a:lnTo>
                  <a:pt x="2744" y="408"/>
                </a:lnTo>
                <a:lnTo>
                  <a:pt x="2743" y="408"/>
                </a:lnTo>
                <a:lnTo>
                  <a:pt x="2742" y="406"/>
                </a:lnTo>
                <a:lnTo>
                  <a:pt x="2739" y="404"/>
                </a:lnTo>
                <a:lnTo>
                  <a:pt x="2736" y="403"/>
                </a:lnTo>
                <a:lnTo>
                  <a:pt x="2738" y="409"/>
                </a:lnTo>
                <a:lnTo>
                  <a:pt x="2739" y="413"/>
                </a:lnTo>
                <a:lnTo>
                  <a:pt x="2739" y="414"/>
                </a:lnTo>
                <a:lnTo>
                  <a:pt x="2735" y="413"/>
                </a:lnTo>
                <a:lnTo>
                  <a:pt x="2732" y="412"/>
                </a:lnTo>
                <a:lnTo>
                  <a:pt x="2731" y="412"/>
                </a:lnTo>
                <a:lnTo>
                  <a:pt x="2730" y="411"/>
                </a:lnTo>
                <a:lnTo>
                  <a:pt x="2729" y="404"/>
                </a:lnTo>
                <a:lnTo>
                  <a:pt x="2728" y="397"/>
                </a:lnTo>
                <a:lnTo>
                  <a:pt x="2726" y="400"/>
                </a:lnTo>
                <a:lnTo>
                  <a:pt x="2725" y="402"/>
                </a:lnTo>
                <a:lnTo>
                  <a:pt x="2724" y="402"/>
                </a:lnTo>
                <a:lnTo>
                  <a:pt x="2725" y="403"/>
                </a:lnTo>
                <a:lnTo>
                  <a:pt x="2723" y="403"/>
                </a:lnTo>
                <a:lnTo>
                  <a:pt x="2721" y="403"/>
                </a:lnTo>
                <a:lnTo>
                  <a:pt x="2718" y="403"/>
                </a:lnTo>
                <a:lnTo>
                  <a:pt x="2716" y="403"/>
                </a:lnTo>
                <a:lnTo>
                  <a:pt x="2716" y="406"/>
                </a:lnTo>
                <a:lnTo>
                  <a:pt x="2714" y="407"/>
                </a:lnTo>
                <a:lnTo>
                  <a:pt x="2714" y="408"/>
                </a:lnTo>
                <a:lnTo>
                  <a:pt x="2714" y="409"/>
                </a:lnTo>
                <a:lnTo>
                  <a:pt x="2714" y="414"/>
                </a:lnTo>
                <a:lnTo>
                  <a:pt x="2708" y="414"/>
                </a:lnTo>
                <a:lnTo>
                  <a:pt x="2707" y="411"/>
                </a:lnTo>
                <a:lnTo>
                  <a:pt x="2706" y="409"/>
                </a:lnTo>
                <a:lnTo>
                  <a:pt x="2706" y="406"/>
                </a:lnTo>
                <a:lnTo>
                  <a:pt x="2705" y="403"/>
                </a:lnTo>
                <a:lnTo>
                  <a:pt x="2699" y="403"/>
                </a:lnTo>
                <a:lnTo>
                  <a:pt x="2700" y="413"/>
                </a:lnTo>
                <a:lnTo>
                  <a:pt x="2700" y="419"/>
                </a:lnTo>
                <a:lnTo>
                  <a:pt x="2700" y="421"/>
                </a:lnTo>
                <a:lnTo>
                  <a:pt x="2699" y="423"/>
                </a:lnTo>
                <a:lnTo>
                  <a:pt x="2688" y="423"/>
                </a:lnTo>
                <a:lnTo>
                  <a:pt x="2689" y="423"/>
                </a:lnTo>
                <a:lnTo>
                  <a:pt x="2689" y="425"/>
                </a:lnTo>
                <a:lnTo>
                  <a:pt x="2689" y="426"/>
                </a:lnTo>
                <a:lnTo>
                  <a:pt x="2687" y="427"/>
                </a:lnTo>
                <a:lnTo>
                  <a:pt x="2684" y="430"/>
                </a:lnTo>
                <a:lnTo>
                  <a:pt x="2683" y="431"/>
                </a:lnTo>
                <a:lnTo>
                  <a:pt x="2681" y="424"/>
                </a:lnTo>
                <a:lnTo>
                  <a:pt x="2680" y="422"/>
                </a:lnTo>
                <a:lnTo>
                  <a:pt x="2680" y="420"/>
                </a:lnTo>
                <a:lnTo>
                  <a:pt x="2681" y="420"/>
                </a:lnTo>
                <a:lnTo>
                  <a:pt x="2681" y="419"/>
                </a:lnTo>
                <a:lnTo>
                  <a:pt x="2683" y="420"/>
                </a:lnTo>
                <a:lnTo>
                  <a:pt x="2682" y="417"/>
                </a:lnTo>
                <a:lnTo>
                  <a:pt x="2682" y="413"/>
                </a:lnTo>
                <a:lnTo>
                  <a:pt x="2683" y="409"/>
                </a:lnTo>
                <a:lnTo>
                  <a:pt x="2677" y="409"/>
                </a:lnTo>
                <a:lnTo>
                  <a:pt x="2674" y="404"/>
                </a:lnTo>
                <a:lnTo>
                  <a:pt x="2671" y="400"/>
                </a:lnTo>
                <a:lnTo>
                  <a:pt x="2668" y="400"/>
                </a:lnTo>
                <a:lnTo>
                  <a:pt x="2660" y="400"/>
                </a:lnTo>
                <a:lnTo>
                  <a:pt x="2662" y="403"/>
                </a:lnTo>
                <a:lnTo>
                  <a:pt x="2667" y="407"/>
                </a:lnTo>
                <a:lnTo>
                  <a:pt x="2668" y="410"/>
                </a:lnTo>
                <a:lnTo>
                  <a:pt x="2669" y="412"/>
                </a:lnTo>
                <a:lnTo>
                  <a:pt x="2669" y="413"/>
                </a:lnTo>
                <a:lnTo>
                  <a:pt x="2668" y="414"/>
                </a:lnTo>
                <a:lnTo>
                  <a:pt x="2667" y="414"/>
                </a:lnTo>
                <a:lnTo>
                  <a:pt x="2666" y="414"/>
                </a:lnTo>
                <a:lnTo>
                  <a:pt x="2657" y="409"/>
                </a:lnTo>
                <a:lnTo>
                  <a:pt x="2655" y="409"/>
                </a:lnTo>
                <a:lnTo>
                  <a:pt x="2651" y="410"/>
                </a:lnTo>
                <a:lnTo>
                  <a:pt x="2649" y="411"/>
                </a:lnTo>
                <a:lnTo>
                  <a:pt x="2648" y="411"/>
                </a:lnTo>
                <a:lnTo>
                  <a:pt x="2649" y="411"/>
                </a:lnTo>
                <a:lnTo>
                  <a:pt x="2647" y="411"/>
                </a:lnTo>
                <a:lnTo>
                  <a:pt x="2646" y="411"/>
                </a:lnTo>
                <a:lnTo>
                  <a:pt x="2646" y="412"/>
                </a:lnTo>
                <a:lnTo>
                  <a:pt x="2647" y="413"/>
                </a:lnTo>
                <a:lnTo>
                  <a:pt x="2649" y="417"/>
                </a:lnTo>
                <a:lnTo>
                  <a:pt x="2648" y="418"/>
                </a:lnTo>
                <a:lnTo>
                  <a:pt x="2647" y="419"/>
                </a:lnTo>
                <a:lnTo>
                  <a:pt x="2644" y="420"/>
                </a:lnTo>
                <a:lnTo>
                  <a:pt x="2640" y="421"/>
                </a:lnTo>
                <a:lnTo>
                  <a:pt x="2639" y="422"/>
                </a:lnTo>
                <a:lnTo>
                  <a:pt x="2638" y="423"/>
                </a:lnTo>
                <a:lnTo>
                  <a:pt x="2637" y="424"/>
                </a:lnTo>
                <a:lnTo>
                  <a:pt x="2634" y="426"/>
                </a:lnTo>
                <a:lnTo>
                  <a:pt x="2629" y="428"/>
                </a:lnTo>
                <a:lnTo>
                  <a:pt x="2636" y="431"/>
                </a:lnTo>
                <a:lnTo>
                  <a:pt x="2640" y="431"/>
                </a:lnTo>
                <a:lnTo>
                  <a:pt x="2643" y="431"/>
                </a:lnTo>
                <a:lnTo>
                  <a:pt x="2646" y="429"/>
                </a:lnTo>
                <a:lnTo>
                  <a:pt x="2651" y="425"/>
                </a:lnTo>
                <a:lnTo>
                  <a:pt x="2656" y="422"/>
                </a:lnTo>
                <a:lnTo>
                  <a:pt x="2658" y="420"/>
                </a:lnTo>
                <a:lnTo>
                  <a:pt x="2660" y="420"/>
                </a:lnTo>
                <a:lnTo>
                  <a:pt x="2665" y="420"/>
                </a:lnTo>
                <a:lnTo>
                  <a:pt x="2666" y="420"/>
                </a:lnTo>
                <a:lnTo>
                  <a:pt x="2666" y="421"/>
                </a:lnTo>
                <a:lnTo>
                  <a:pt x="2665" y="423"/>
                </a:lnTo>
                <a:lnTo>
                  <a:pt x="2663" y="425"/>
                </a:lnTo>
                <a:lnTo>
                  <a:pt x="2661" y="428"/>
                </a:lnTo>
                <a:lnTo>
                  <a:pt x="2661" y="431"/>
                </a:lnTo>
                <a:lnTo>
                  <a:pt x="2661" y="433"/>
                </a:lnTo>
                <a:lnTo>
                  <a:pt x="2663" y="434"/>
                </a:lnTo>
                <a:lnTo>
                  <a:pt x="2665" y="436"/>
                </a:lnTo>
                <a:lnTo>
                  <a:pt x="2669" y="437"/>
                </a:lnTo>
                <a:lnTo>
                  <a:pt x="2664" y="437"/>
                </a:lnTo>
                <a:lnTo>
                  <a:pt x="2660" y="437"/>
                </a:lnTo>
                <a:lnTo>
                  <a:pt x="2652" y="437"/>
                </a:lnTo>
                <a:lnTo>
                  <a:pt x="2649" y="442"/>
                </a:lnTo>
                <a:lnTo>
                  <a:pt x="2645" y="443"/>
                </a:lnTo>
                <a:lnTo>
                  <a:pt x="2641" y="444"/>
                </a:lnTo>
                <a:lnTo>
                  <a:pt x="2635" y="445"/>
                </a:lnTo>
                <a:lnTo>
                  <a:pt x="2638" y="451"/>
                </a:lnTo>
                <a:lnTo>
                  <a:pt x="2642" y="450"/>
                </a:lnTo>
                <a:lnTo>
                  <a:pt x="2649" y="448"/>
                </a:lnTo>
                <a:lnTo>
                  <a:pt x="2652" y="448"/>
                </a:lnTo>
                <a:lnTo>
                  <a:pt x="2656" y="447"/>
                </a:lnTo>
                <a:lnTo>
                  <a:pt x="2659" y="447"/>
                </a:lnTo>
                <a:lnTo>
                  <a:pt x="2663" y="448"/>
                </a:lnTo>
                <a:lnTo>
                  <a:pt x="2665" y="449"/>
                </a:lnTo>
                <a:lnTo>
                  <a:pt x="2666" y="450"/>
                </a:lnTo>
                <a:lnTo>
                  <a:pt x="2670" y="454"/>
                </a:lnTo>
                <a:lnTo>
                  <a:pt x="2674" y="459"/>
                </a:lnTo>
                <a:lnTo>
                  <a:pt x="2677" y="462"/>
                </a:lnTo>
                <a:lnTo>
                  <a:pt x="2667" y="465"/>
                </a:lnTo>
                <a:lnTo>
                  <a:pt x="2657" y="468"/>
                </a:lnTo>
                <a:lnTo>
                  <a:pt x="2660" y="472"/>
                </a:lnTo>
                <a:lnTo>
                  <a:pt x="2663" y="476"/>
                </a:lnTo>
                <a:lnTo>
                  <a:pt x="2668" y="474"/>
                </a:lnTo>
                <a:lnTo>
                  <a:pt x="2671" y="473"/>
                </a:lnTo>
                <a:lnTo>
                  <a:pt x="2674" y="473"/>
                </a:lnTo>
                <a:lnTo>
                  <a:pt x="2677" y="471"/>
                </a:lnTo>
                <a:lnTo>
                  <a:pt x="2681" y="470"/>
                </a:lnTo>
                <a:lnTo>
                  <a:pt x="2685" y="470"/>
                </a:lnTo>
                <a:lnTo>
                  <a:pt x="2689" y="471"/>
                </a:lnTo>
                <a:lnTo>
                  <a:pt x="2694" y="473"/>
                </a:lnTo>
                <a:lnTo>
                  <a:pt x="2705" y="476"/>
                </a:lnTo>
                <a:lnTo>
                  <a:pt x="2705" y="478"/>
                </a:lnTo>
                <a:lnTo>
                  <a:pt x="2705" y="480"/>
                </a:lnTo>
                <a:lnTo>
                  <a:pt x="2705" y="481"/>
                </a:lnTo>
                <a:lnTo>
                  <a:pt x="2705" y="482"/>
                </a:lnTo>
                <a:lnTo>
                  <a:pt x="2704" y="482"/>
                </a:lnTo>
                <a:lnTo>
                  <a:pt x="2702" y="482"/>
                </a:lnTo>
                <a:lnTo>
                  <a:pt x="2700" y="485"/>
                </a:lnTo>
                <a:lnTo>
                  <a:pt x="2700" y="486"/>
                </a:lnTo>
                <a:lnTo>
                  <a:pt x="2699" y="487"/>
                </a:lnTo>
                <a:lnTo>
                  <a:pt x="2739" y="487"/>
                </a:lnTo>
                <a:lnTo>
                  <a:pt x="2743" y="482"/>
                </a:lnTo>
                <a:lnTo>
                  <a:pt x="2744" y="479"/>
                </a:lnTo>
                <a:lnTo>
                  <a:pt x="2744" y="478"/>
                </a:lnTo>
                <a:lnTo>
                  <a:pt x="2742" y="479"/>
                </a:lnTo>
                <a:lnTo>
                  <a:pt x="2739" y="470"/>
                </a:lnTo>
                <a:lnTo>
                  <a:pt x="2743" y="472"/>
                </a:lnTo>
                <a:lnTo>
                  <a:pt x="2747" y="474"/>
                </a:lnTo>
                <a:lnTo>
                  <a:pt x="2751" y="476"/>
                </a:lnTo>
                <a:lnTo>
                  <a:pt x="2753" y="476"/>
                </a:lnTo>
                <a:lnTo>
                  <a:pt x="2756" y="476"/>
                </a:lnTo>
                <a:lnTo>
                  <a:pt x="2757" y="475"/>
                </a:lnTo>
                <a:lnTo>
                  <a:pt x="2759" y="473"/>
                </a:lnTo>
                <a:lnTo>
                  <a:pt x="2762" y="471"/>
                </a:lnTo>
                <a:lnTo>
                  <a:pt x="2764" y="470"/>
                </a:lnTo>
                <a:lnTo>
                  <a:pt x="2765" y="472"/>
                </a:lnTo>
                <a:lnTo>
                  <a:pt x="2767" y="473"/>
                </a:lnTo>
                <a:lnTo>
                  <a:pt x="2768" y="474"/>
                </a:lnTo>
                <a:lnTo>
                  <a:pt x="2770" y="473"/>
                </a:lnTo>
                <a:lnTo>
                  <a:pt x="2771" y="472"/>
                </a:lnTo>
                <a:lnTo>
                  <a:pt x="2773" y="471"/>
                </a:lnTo>
                <a:lnTo>
                  <a:pt x="2776" y="468"/>
                </a:lnTo>
                <a:lnTo>
                  <a:pt x="2780" y="464"/>
                </a:lnTo>
                <a:lnTo>
                  <a:pt x="2782" y="463"/>
                </a:lnTo>
                <a:lnTo>
                  <a:pt x="2784" y="462"/>
                </a:lnTo>
                <a:lnTo>
                  <a:pt x="2786" y="462"/>
                </a:lnTo>
                <a:lnTo>
                  <a:pt x="2788" y="462"/>
                </a:lnTo>
                <a:lnTo>
                  <a:pt x="2790" y="462"/>
                </a:lnTo>
                <a:lnTo>
                  <a:pt x="2791" y="462"/>
                </a:lnTo>
                <a:lnTo>
                  <a:pt x="2792" y="462"/>
                </a:lnTo>
                <a:lnTo>
                  <a:pt x="2795" y="460"/>
                </a:lnTo>
                <a:lnTo>
                  <a:pt x="2798" y="458"/>
                </a:lnTo>
                <a:lnTo>
                  <a:pt x="2803" y="452"/>
                </a:lnTo>
                <a:lnTo>
                  <a:pt x="2808" y="446"/>
                </a:lnTo>
                <a:lnTo>
                  <a:pt x="2812" y="440"/>
                </a:lnTo>
                <a:lnTo>
                  <a:pt x="2810" y="440"/>
                </a:lnTo>
                <a:lnTo>
                  <a:pt x="2810" y="441"/>
                </a:lnTo>
                <a:lnTo>
                  <a:pt x="2810" y="442"/>
                </a:lnTo>
                <a:lnTo>
                  <a:pt x="2811" y="442"/>
                </a:lnTo>
                <a:lnTo>
                  <a:pt x="2815" y="442"/>
                </a:lnTo>
                <a:lnTo>
                  <a:pt x="2815" y="445"/>
                </a:lnTo>
                <a:lnTo>
                  <a:pt x="2816" y="445"/>
                </a:lnTo>
                <a:lnTo>
                  <a:pt x="2817" y="445"/>
                </a:lnTo>
                <a:lnTo>
                  <a:pt x="2819" y="443"/>
                </a:lnTo>
                <a:lnTo>
                  <a:pt x="2820" y="442"/>
                </a:lnTo>
                <a:lnTo>
                  <a:pt x="2818" y="423"/>
                </a:lnTo>
                <a:lnTo>
                  <a:pt x="2814" y="421"/>
                </a:lnTo>
                <a:lnTo>
                  <a:pt x="2810" y="419"/>
                </a:lnTo>
                <a:lnTo>
                  <a:pt x="2806" y="417"/>
                </a:lnTo>
                <a:lnTo>
                  <a:pt x="2805" y="417"/>
                </a:lnTo>
                <a:lnTo>
                  <a:pt x="2804" y="418"/>
                </a:lnTo>
                <a:lnTo>
                  <a:pt x="2802" y="420"/>
                </a:lnTo>
                <a:lnTo>
                  <a:pt x="2800" y="422"/>
                </a:lnTo>
                <a:lnTo>
                  <a:pt x="2799" y="423"/>
                </a:lnTo>
                <a:lnTo>
                  <a:pt x="2798" y="423"/>
                </a:lnTo>
                <a:lnTo>
                  <a:pt x="2797" y="422"/>
                </a:lnTo>
                <a:lnTo>
                  <a:pt x="2797" y="420"/>
                </a:lnTo>
                <a:lnTo>
                  <a:pt x="2797" y="419"/>
                </a:lnTo>
                <a:lnTo>
                  <a:pt x="2798" y="418"/>
                </a:lnTo>
                <a:lnTo>
                  <a:pt x="2801" y="414"/>
                </a:lnTo>
                <a:lnTo>
                  <a:pt x="2802" y="413"/>
                </a:lnTo>
                <a:lnTo>
                  <a:pt x="2802" y="412"/>
                </a:lnTo>
                <a:lnTo>
                  <a:pt x="2799" y="409"/>
                </a:lnTo>
                <a:lnTo>
                  <a:pt x="2795" y="406"/>
                </a:lnTo>
                <a:lnTo>
                  <a:pt x="2799" y="401"/>
                </a:lnTo>
                <a:lnTo>
                  <a:pt x="2802" y="399"/>
                </a:lnTo>
                <a:lnTo>
                  <a:pt x="2804" y="397"/>
                </a:lnTo>
                <a:lnTo>
                  <a:pt x="2805" y="396"/>
                </a:lnTo>
                <a:lnTo>
                  <a:pt x="2802" y="396"/>
                </a:lnTo>
                <a:lnTo>
                  <a:pt x="2792" y="400"/>
                </a:lnTo>
                <a:lnTo>
                  <a:pt x="2794" y="401"/>
                </a:lnTo>
                <a:lnTo>
                  <a:pt x="2794" y="402"/>
                </a:lnTo>
                <a:lnTo>
                  <a:pt x="2793" y="403"/>
                </a:lnTo>
                <a:lnTo>
                  <a:pt x="2789" y="403"/>
                </a:lnTo>
                <a:lnTo>
                  <a:pt x="2787" y="401"/>
                </a:lnTo>
                <a:lnTo>
                  <a:pt x="2786" y="399"/>
                </a:lnTo>
                <a:lnTo>
                  <a:pt x="2784" y="395"/>
                </a:lnTo>
                <a:lnTo>
                  <a:pt x="2782" y="393"/>
                </a:lnTo>
                <a:lnTo>
                  <a:pt x="2780" y="392"/>
                </a:lnTo>
                <a:lnTo>
                  <a:pt x="2777" y="391"/>
                </a:lnTo>
                <a:lnTo>
                  <a:pt x="2773" y="392"/>
                </a:lnTo>
                <a:close/>
                <a:moveTo>
                  <a:pt x="2093" y="2881"/>
                </a:moveTo>
                <a:lnTo>
                  <a:pt x="2099" y="2871"/>
                </a:lnTo>
                <a:lnTo>
                  <a:pt x="2101" y="2867"/>
                </a:lnTo>
                <a:lnTo>
                  <a:pt x="2102" y="2864"/>
                </a:lnTo>
                <a:lnTo>
                  <a:pt x="2103" y="2861"/>
                </a:lnTo>
                <a:lnTo>
                  <a:pt x="2102" y="2859"/>
                </a:lnTo>
                <a:lnTo>
                  <a:pt x="2102" y="2858"/>
                </a:lnTo>
                <a:lnTo>
                  <a:pt x="2101" y="2856"/>
                </a:lnTo>
                <a:lnTo>
                  <a:pt x="2100" y="2855"/>
                </a:lnTo>
                <a:lnTo>
                  <a:pt x="2099" y="2854"/>
                </a:lnTo>
                <a:lnTo>
                  <a:pt x="2099" y="2852"/>
                </a:lnTo>
                <a:lnTo>
                  <a:pt x="2099" y="2850"/>
                </a:lnTo>
                <a:lnTo>
                  <a:pt x="2103" y="2845"/>
                </a:lnTo>
                <a:lnTo>
                  <a:pt x="2112" y="2835"/>
                </a:lnTo>
                <a:lnTo>
                  <a:pt x="2121" y="2824"/>
                </a:lnTo>
                <a:lnTo>
                  <a:pt x="2125" y="2819"/>
                </a:lnTo>
                <a:lnTo>
                  <a:pt x="2125" y="2815"/>
                </a:lnTo>
                <a:lnTo>
                  <a:pt x="2125" y="2812"/>
                </a:lnTo>
                <a:lnTo>
                  <a:pt x="2124" y="2808"/>
                </a:lnTo>
                <a:lnTo>
                  <a:pt x="2124" y="2807"/>
                </a:lnTo>
                <a:lnTo>
                  <a:pt x="2125" y="2805"/>
                </a:lnTo>
                <a:lnTo>
                  <a:pt x="2127" y="2806"/>
                </a:lnTo>
                <a:lnTo>
                  <a:pt x="2130" y="2808"/>
                </a:lnTo>
                <a:lnTo>
                  <a:pt x="2132" y="2810"/>
                </a:lnTo>
                <a:lnTo>
                  <a:pt x="2133" y="2810"/>
                </a:lnTo>
                <a:lnTo>
                  <a:pt x="2135" y="2811"/>
                </a:lnTo>
                <a:lnTo>
                  <a:pt x="2137" y="2810"/>
                </a:lnTo>
                <a:lnTo>
                  <a:pt x="2138" y="2810"/>
                </a:lnTo>
                <a:lnTo>
                  <a:pt x="2138" y="2809"/>
                </a:lnTo>
                <a:lnTo>
                  <a:pt x="2139" y="2808"/>
                </a:lnTo>
                <a:lnTo>
                  <a:pt x="2140" y="2807"/>
                </a:lnTo>
                <a:lnTo>
                  <a:pt x="2142" y="2808"/>
                </a:lnTo>
                <a:lnTo>
                  <a:pt x="2139" y="2816"/>
                </a:lnTo>
                <a:lnTo>
                  <a:pt x="2136" y="2823"/>
                </a:lnTo>
                <a:lnTo>
                  <a:pt x="2130" y="2836"/>
                </a:lnTo>
                <a:lnTo>
                  <a:pt x="2133" y="2833"/>
                </a:lnTo>
                <a:lnTo>
                  <a:pt x="2136" y="2830"/>
                </a:lnTo>
                <a:lnTo>
                  <a:pt x="2139" y="2827"/>
                </a:lnTo>
                <a:lnTo>
                  <a:pt x="2142" y="2824"/>
                </a:lnTo>
                <a:lnTo>
                  <a:pt x="2144" y="2819"/>
                </a:lnTo>
                <a:lnTo>
                  <a:pt x="2145" y="2814"/>
                </a:lnTo>
                <a:lnTo>
                  <a:pt x="2147" y="2804"/>
                </a:lnTo>
                <a:lnTo>
                  <a:pt x="2148" y="2799"/>
                </a:lnTo>
                <a:lnTo>
                  <a:pt x="2149" y="2795"/>
                </a:lnTo>
                <a:lnTo>
                  <a:pt x="2151" y="2790"/>
                </a:lnTo>
                <a:lnTo>
                  <a:pt x="2153" y="2785"/>
                </a:lnTo>
                <a:lnTo>
                  <a:pt x="2155" y="2782"/>
                </a:lnTo>
                <a:lnTo>
                  <a:pt x="2158" y="2779"/>
                </a:lnTo>
                <a:lnTo>
                  <a:pt x="2165" y="2773"/>
                </a:lnTo>
                <a:lnTo>
                  <a:pt x="2171" y="2767"/>
                </a:lnTo>
                <a:lnTo>
                  <a:pt x="2174" y="2763"/>
                </a:lnTo>
                <a:lnTo>
                  <a:pt x="2175" y="2760"/>
                </a:lnTo>
                <a:lnTo>
                  <a:pt x="2176" y="2756"/>
                </a:lnTo>
                <a:lnTo>
                  <a:pt x="2176" y="2753"/>
                </a:lnTo>
                <a:lnTo>
                  <a:pt x="2175" y="2743"/>
                </a:lnTo>
                <a:lnTo>
                  <a:pt x="2172" y="2723"/>
                </a:lnTo>
                <a:lnTo>
                  <a:pt x="2170" y="2713"/>
                </a:lnTo>
                <a:lnTo>
                  <a:pt x="2170" y="2704"/>
                </a:lnTo>
                <a:lnTo>
                  <a:pt x="2170" y="2700"/>
                </a:lnTo>
                <a:lnTo>
                  <a:pt x="2171" y="2697"/>
                </a:lnTo>
                <a:lnTo>
                  <a:pt x="2173" y="2694"/>
                </a:lnTo>
                <a:lnTo>
                  <a:pt x="2175" y="2692"/>
                </a:lnTo>
                <a:lnTo>
                  <a:pt x="2176" y="2692"/>
                </a:lnTo>
                <a:lnTo>
                  <a:pt x="2176" y="2691"/>
                </a:lnTo>
                <a:lnTo>
                  <a:pt x="2174" y="2690"/>
                </a:lnTo>
                <a:lnTo>
                  <a:pt x="2172" y="2689"/>
                </a:lnTo>
                <a:lnTo>
                  <a:pt x="2172" y="2688"/>
                </a:lnTo>
                <a:lnTo>
                  <a:pt x="2172" y="2687"/>
                </a:lnTo>
                <a:lnTo>
                  <a:pt x="2174" y="2685"/>
                </a:lnTo>
                <a:lnTo>
                  <a:pt x="2175" y="2685"/>
                </a:lnTo>
                <a:lnTo>
                  <a:pt x="2177" y="2685"/>
                </a:lnTo>
                <a:lnTo>
                  <a:pt x="2181" y="2685"/>
                </a:lnTo>
                <a:lnTo>
                  <a:pt x="2182" y="2684"/>
                </a:lnTo>
                <a:lnTo>
                  <a:pt x="2184" y="2684"/>
                </a:lnTo>
                <a:lnTo>
                  <a:pt x="2184" y="2678"/>
                </a:lnTo>
                <a:lnTo>
                  <a:pt x="2192" y="2674"/>
                </a:lnTo>
                <a:lnTo>
                  <a:pt x="2202" y="2670"/>
                </a:lnTo>
                <a:lnTo>
                  <a:pt x="2207" y="2667"/>
                </a:lnTo>
                <a:lnTo>
                  <a:pt x="2211" y="2664"/>
                </a:lnTo>
                <a:lnTo>
                  <a:pt x="2215" y="2661"/>
                </a:lnTo>
                <a:lnTo>
                  <a:pt x="2217" y="2658"/>
                </a:lnTo>
                <a:lnTo>
                  <a:pt x="2218" y="2657"/>
                </a:lnTo>
                <a:lnTo>
                  <a:pt x="2218" y="2656"/>
                </a:lnTo>
                <a:lnTo>
                  <a:pt x="2218" y="2654"/>
                </a:lnTo>
                <a:lnTo>
                  <a:pt x="2219" y="2652"/>
                </a:lnTo>
                <a:lnTo>
                  <a:pt x="2219" y="2651"/>
                </a:lnTo>
                <a:lnTo>
                  <a:pt x="2220" y="2650"/>
                </a:lnTo>
                <a:lnTo>
                  <a:pt x="2223" y="2649"/>
                </a:lnTo>
                <a:lnTo>
                  <a:pt x="2226" y="2648"/>
                </a:lnTo>
                <a:lnTo>
                  <a:pt x="2235" y="2647"/>
                </a:lnTo>
                <a:lnTo>
                  <a:pt x="2243" y="2646"/>
                </a:lnTo>
                <a:lnTo>
                  <a:pt x="2246" y="2646"/>
                </a:lnTo>
                <a:lnTo>
                  <a:pt x="2248" y="2644"/>
                </a:lnTo>
                <a:lnTo>
                  <a:pt x="2246" y="2633"/>
                </a:lnTo>
                <a:lnTo>
                  <a:pt x="2248" y="2633"/>
                </a:lnTo>
                <a:lnTo>
                  <a:pt x="2250" y="2633"/>
                </a:lnTo>
                <a:lnTo>
                  <a:pt x="2251" y="2630"/>
                </a:lnTo>
                <a:lnTo>
                  <a:pt x="2265" y="2629"/>
                </a:lnTo>
                <a:lnTo>
                  <a:pt x="2279" y="2628"/>
                </a:lnTo>
                <a:lnTo>
                  <a:pt x="2279" y="2623"/>
                </a:lnTo>
                <a:lnTo>
                  <a:pt x="2279" y="2619"/>
                </a:lnTo>
                <a:lnTo>
                  <a:pt x="2282" y="2620"/>
                </a:lnTo>
                <a:lnTo>
                  <a:pt x="2283" y="2621"/>
                </a:lnTo>
                <a:lnTo>
                  <a:pt x="2285" y="2623"/>
                </a:lnTo>
                <a:lnTo>
                  <a:pt x="2288" y="2624"/>
                </a:lnTo>
                <a:lnTo>
                  <a:pt x="2291" y="2624"/>
                </a:lnTo>
                <a:lnTo>
                  <a:pt x="2295" y="2624"/>
                </a:lnTo>
                <a:lnTo>
                  <a:pt x="2297" y="2623"/>
                </a:lnTo>
                <a:lnTo>
                  <a:pt x="2299" y="2622"/>
                </a:lnTo>
                <a:lnTo>
                  <a:pt x="2299" y="2620"/>
                </a:lnTo>
                <a:lnTo>
                  <a:pt x="2299" y="2618"/>
                </a:lnTo>
                <a:lnTo>
                  <a:pt x="2299" y="2615"/>
                </a:lnTo>
                <a:lnTo>
                  <a:pt x="2299" y="2613"/>
                </a:lnTo>
                <a:lnTo>
                  <a:pt x="2310" y="2608"/>
                </a:lnTo>
                <a:lnTo>
                  <a:pt x="2308" y="2597"/>
                </a:lnTo>
                <a:lnTo>
                  <a:pt x="2307" y="2594"/>
                </a:lnTo>
                <a:lnTo>
                  <a:pt x="2307" y="2591"/>
                </a:lnTo>
                <a:lnTo>
                  <a:pt x="2307" y="2588"/>
                </a:lnTo>
                <a:lnTo>
                  <a:pt x="2308" y="2584"/>
                </a:lnTo>
                <a:lnTo>
                  <a:pt x="2308" y="2582"/>
                </a:lnTo>
                <a:lnTo>
                  <a:pt x="2309" y="2579"/>
                </a:lnTo>
                <a:lnTo>
                  <a:pt x="2313" y="2573"/>
                </a:lnTo>
                <a:lnTo>
                  <a:pt x="2318" y="2567"/>
                </a:lnTo>
                <a:lnTo>
                  <a:pt x="2323" y="2560"/>
                </a:lnTo>
                <a:lnTo>
                  <a:pt x="2333" y="2548"/>
                </a:lnTo>
                <a:lnTo>
                  <a:pt x="2336" y="2543"/>
                </a:lnTo>
                <a:lnTo>
                  <a:pt x="2338" y="2539"/>
                </a:lnTo>
                <a:lnTo>
                  <a:pt x="2339" y="2537"/>
                </a:lnTo>
                <a:lnTo>
                  <a:pt x="2339" y="2534"/>
                </a:lnTo>
                <a:lnTo>
                  <a:pt x="2338" y="2528"/>
                </a:lnTo>
                <a:lnTo>
                  <a:pt x="2338" y="2522"/>
                </a:lnTo>
                <a:lnTo>
                  <a:pt x="2338" y="2519"/>
                </a:lnTo>
                <a:lnTo>
                  <a:pt x="2338" y="2517"/>
                </a:lnTo>
                <a:lnTo>
                  <a:pt x="2339" y="2516"/>
                </a:lnTo>
                <a:lnTo>
                  <a:pt x="2340" y="2515"/>
                </a:lnTo>
                <a:lnTo>
                  <a:pt x="2344" y="2513"/>
                </a:lnTo>
                <a:lnTo>
                  <a:pt x="2348" y="2510"/>
                </a:lnTo>
                <a:lnTo>
                  <a:pt x="2349" y="2509"/>
                </a:lnTo>
                <a:lnTo>
                  <a:pt x="2350" y="2508"/>
                </a:lnTo>
                <a:lnTo>
                  <a:pt x="2349" y="2505"/>
                </a:lnTo>
                <a:lnTo>
                  <a:pt x="2347" y="2500"/>
                </a:lnTo>
                <a:lnTo>
                  <a:pt x="2345" y="2493"/>
                </a:lnTo>
                <a:lnTo>
                  <a:pt x="2344" y="2489"/>
                </a:lnTo>
                <a:lnTo>
                  <a:pt x="2344" y="2486"/>
                </a:lnTo>
                <a:lnTo>
                  <a:pt x="2350" y="2483"/>
                </a:lnTo>
                <a:lnTo>
                  <a:pt x="2349" y="2473"/>
                </a:lnTo>
                <a:lnTo>
                  <a:pt x="2349" y="2468"/>
                </a:lnTo>
                <a:lnTo>
                  <a:pt x="2350" y="2463"/>
                </a:lnTo>
                <a:lnTo>
                  <a:pt x="2353" y="2463"/>
                </a:lnTo>
                <a:lnTo>
                  <a:pt x="2352" y="2452"/>
                </a:lnTo>
                <a:lnTo>
                  <a:pt x="2351" y="2440"/>
                </a:lnTo>
                <a:lnTo>
                  <a:pt x="2350" y="2430"/>
                </a:lnTo>
                <a:lnTo>
                  <a:pt x="2350" y="2421"/>
                </a:lnTo>
                <a:lnTo>
                  <a:pt x="2347" y="2420"/>
                </a:lnTo>
                <a:lnTo>
                  <a:pt x="2345" y="2420"/>
                </a:lnTo>
                <a:lnTo>
                  <a:pt x="2344" y="2420"/>
                </a:lnTo>
                <a:lnTo>
                  <a:pt x="2344" y="2419"/>
                </a:lnTo>
                <a:lnTo>
                  <a:pt x="2344" y="2416"/>
                </a:lnTo>
                <a:lnTo>
                  <a:pt x="2350" y="2416"/>
                </a:lnTo>
                <a:lnTo>
                  <a:pt x="2350" y="2412"/>
                </a:lnTo>
                <a:lnTo>
                  <a:pt x="2350" y="2409"/>
                </a:lnTo>
                <a:lnTo>
                  <a:pt x="2350" y="2405"/>
                </a:lnTo>
                <a:lnTo>
                  <a:pt x="2351" y="2403"/>
                </a:lnTo>
                <a:lnTo>
                  <a:pt x="2352" y="2400"/>
                </a:lnTo>
                <a:lnTo>
                  <a:pt x="2354" y="2397"/>
                </a:lnTo>
                <a:lnTo>
                  <a:pt x="2358" y="2393"/>
                </a:lnTo>
                <a:lnTo>
                  <a:pt x="2358" y="2392"/>
                </a:lnTo>
                <a:lnTo>
                  <a:pt x="2357" y="2390"/>
                </a:lnTo>
                <a:lnTo>
                  <a:pt x="2355" y="2388"/>
                </a:lnTo>
                <a:lnTo>
                  <a:pt x="2355" y="2386"/>
                </a:lnTo>
                <a:lnTo>
                  <a:pt x="2355" y="2385"/>
                </a:lnTo>
                <a:lnTo>
                  <a:pt x="2363" y="2388"/>
                </a:lnTo>
                <a:lnTo>
                  <a:pt x="2369" y="2393"/>
                </a:lnTo>
                <a:lnTo>
                  <a:pt x="2372" y="2387"/>
                </a:lnTo>
                <a:lnTo>
                  <a:pt x="2374" y="2381"/>
                </a:lnTo>
                <a:lnTo>
                  <a:pt x="2378" y="2368"/>
                </a:lnTo>
                <a:lnTo>
                  <a:pt x="2380" y="2362"/>
                </a:lnTo>
                <a:lnTo>
                  <a:pt x="2383" y="2356"/>
                </a:lnTo>
                <a:lnTo>
                  <a:pt x="2386" y="2350"/>
                </a:lnTo>
                <a:lnTo>
                  <a:pt x="2389" y="2345"/>
                </a:lnTo>
                <a:lnTo>
                  <a:pt x="2390" y="2344"/>
                </a:lnTo>
                <a:lnTo>
                  <a:pt x="2392" y="2342"/>
                </a:lnTo>
                <a:lnTo>
                  <a:pt x="2395" y="2339"/>
                </a:lnTo>
                <a:lnTo>
                  <a:pt x="2403" y="2334"/>
                </a:lnTo>
                <a:lnTo>
                  <a:pt x="2411" y="2329"/>
                </a:lnTo>
                <a:lnTo>
                  <a:pt x="2414" y="2326"/>
                </a:lnTo>
                <a:lnTo>
                  <a:pt x="2417" y="2323"/>
                </a:lnTo>
                <a:lnTo>
                  <a:pt x="2421" y="2316"/>
                </a:lnTo>
                <a:lnTo>
                  <a:pt x="2425" y="2308"/>
                </a:lnTo>
                <a:lnTo>
                  <a:pt x="2426" y="2303"/>
                </a:lnTo>
                <a:lnTo>
                  <a:pt x="2428" y="2298"/>
                </a:lnTo>
                <a:lnTo>
                  <a:pt x="2429" y="2293"/>
                </a:lnTo>
                <a:lnTo>
                  <a:pt x="2430" y="2287"/>
                </a:lnTo>
                <a:lnTo>
                  <a:pt x="2432" y="2276"/>
                </a:lnTo>
                <a:lnTo>
                  <a:pt x="2432" y="2271"/>
                </a:lnTo>
                <a:lnTo>
                  <a:pt x="2432" y="2265"/>
                </a:lnTo>
                <a:lnTo>
                  <a:pt x="2432" y="2259"/>
                </a:lnTo>
                <a:lnTo>
                  <a:pt x="2431" y="2254"/>
                </a:lnTo>
                <a:lnTo>
                  <a:pt x="2430" y="2249"/>
                </a:lnTo>
                <a:lnTo>
                  <a:pt x="2428" y="2244"/>
                </a:lnTo>
                <a:lnTo>
                  <a:pt x="2427" y="2242"/>
                </a:lnTo>
                <a:lnTo>
                  <a:pt x="2424" y="2241"/>
                </a:lnTo>
                <a:lnTo>
                  <a:pt x="2422" y="2240"/>
                </a:lnTo>
                <a:lnTo>
                  <a:pt x="2420" y="2238"/>
                </a:lnTo>
                <a:lnTo>
                  <a:pt x="2417" y="2233"/>
                </a:lnTo>
                <a:lnTo>
                  <a:pt x="2415" y="2227"/>
                </a:lnTo>
                <a:lnTo>
                  <a:pt x="2412" y="2216"/>
                </a:lnTo>
                <a:lnTo>
                  <a:pt x="2403" y="2218"/>
                </a:lnTo>
                <a:lnTo>
                  <a:pt x="2399" y="2218"/>
                </a:lnTo>
                <a:lnTo>
                  <a:pt x="2398" y="2219"/>
                </a:lnTo>
                <a:lnTo>
                  <a:pt x="2398" y="2210"/>
                </a:lnTo>
                <a:lnTo>
                  <a:pt x="2395" y="2210"/>
                </a:lnTo>
                <a:lnTo>
                  <a:pt x="2393" y="2210"/>
                </a:lnTo>
                <a:lnTo>
                  <a:pt x="2390" y="2212"/>
                </a:lnTo>
                <a:lnTo>
                  <a:pt x="2387" y="2214"/>
                </a:lnTo>
                <a:lnTo>
                  <a:pt x="2385" y="2214"/>
                </a:lnTo>
                <a:lnTo>
                  <a:pt x="2383" y="2213"/>
                </a:lnTo>
                <a:lnTo>
                  <a:pt x="2376" y="2201"/>
                </a:lnTo>
                <a:lnTo>
                  <a:pt x="2371" y="2193"/>
                </a:lnTo>
                <a:lnTo>
                  <a:pt x="2367" y="2188"/>
                </a:lnTo>
                <a:lnTo>
                  <a:pt x="2360" y="2183"/>
                </a:lnTo>
                <a:lnTo>
                  <a:pt x="2350" y="2177"/>
                </a:lnTo>
                <a:lnTo>
                  <a:pt x="2340" y="2171"/>
                </a:lnTo>
                <a:lnTo>
                  <a:pt x="2333" y="2168"/>
                </a:lnTo>
                <a:lnTo>
                  <a:pt x="2330" y="2168"/>
                </a:lnTo>
                <a:lnTo>
                  <a:pt x="2327" y="2168"/>
                </a:lnTo>
                <a:lnTo>
                  <a:pt x="2320" y="2169"/>
                </a:lnTo>
                <a:lnTo>
                  <a:pt x="2313" y="2170"/>
                </a:lnTo>
                <a:lnTo>
                  <a:pt x="2309" y="2169"/>
                </a:lnTo>
                <a:lnTo>
                  <a:pt x="2305" y="2168"/>
                </a:lnTo>
                <a:lnTo>
                  <a:pt x="2302" y="2162"/>
                </a:lnTo>
                <a:lnTo>
                  <a:pt x="2298" y="2162"/>
                </a:lnTo>
                <a:lnTo>
                  <a:pt x="2295" y="2164"/>
                </a:lnTo>
                <a:lnTo>
                  <a:pt x="2293" y="2165"/>
                </a:lnTo>
                <a:lnTo>
                  <a:pt x="2292" y="2165"/>
                </a:lnTo>
                <a:lnTo>
                  <a:pt x="2291" y="2165"/>
                </a:lnTo>
                <a:lnTo>
                  <a:pt x="2289" y="2164"/>
                </a:lnTo>
                <a:lnTo>
                  <a:pt x="2287" y="2162"/>
                </a:lnTo>
                <a:lnTo>
                  <a:pt x="2285" y="2160"/>
                </a:lnTo>
                <a:lnTo>
                  <a:pt x="2283" y="2158"/>
                </a:lnTo>
                <a:lnTo>
                  <a:pt x="2280" y="2157"/>
                </a:lnTo>
                <a:lnTo>
                  <a:pt x="2277" y="2156"/>
                </a:lnTo>
                <a:lnTo>
                  <a:pt x="2273" y="2156"/>
                </a:lnTo>
                <a:lnTo>
                  <a:pt x="2268" y="2157"/>
                </a:lnTo>
                <a:lnTo>
                  <a:pt x="2267" y="2158"/>
                </a:lnTo>
                <a:lnTo>
                  <a:pt x="2267" y="2162"/>
                </a:lnTo>
                <a:lnTo>
                  <a:pt x="2265" y="2168"/>
                </a:lnTo>
                <a:lnTo>
                  <a:pt x="2261" y="2168"/>
                </a:lnTo>
                <a:lnTo>
                  <a:pt x="2257" y="2168"/>
                </a:lnTo>
                <a:lnTo>
                  <a:pt x="2256" y="2165"/>
                </a:lnTo>
                <a:lnTo>
                  <a:pt x="2256" y="2163"/>
                </a:lnTo>
                <a:lnTo>
                  <a:pt x="2256" y="2161"/>
                </a:lnTo>
                <a:lnTo>
                  <a:pt x="2256" y="2160"/>
                </a:lnTo>
                <a:lnTo>
                  <a:pt x="2255" y="2160"/>
                </a:lnTo>
                <a:lnTo>
                  <a:pt x="2251" y="2157"/>
                </a:lnTo>
                <a:lnTo>
                  <a:pt x="2252" y="2154"/>
                </a:lnTo>
                <a:lnTo>
                  <a:pt x="2254" y="2152"/>
                </a:lnTo>
                <a:lnTo>
                  <a:pt x="2255" y="2149"/>
                </a:lnTo>
                <a:lnTo>
                  <a:pt x="2255" y="2147"/>
                </a:lnTo>
                <a:lnTo>
                  <a:pt x="2254" y="2145"/>
                </a:lnTo>
                <a:lnTo>
                  <a:pt x="2248" y="2145"/>
                </a:lnTo>
                <a:lnTo>
                  <a:pt x="2246" y="2134"/>
                </a:lnTo>
                <a:lnTo>
                  <a:pt x="2241" y="2136"/>
                </a:lnTo>
                <a:lnTo>
                  <a:pt x="2237" y="2137"/>
                </a:lnTo>
                <a:lnTo>
                  <a:pt x="2237" y="2131"/>
                </a:lnTo>
                <a:lnTo>
                  <a:pt x="2229" y="2127"/>
                </a:lnTo>
                <a:lnTo>
                  <a:pt x="2223" y="2124"/>
                </a:lnTo>
                <a:lnTo>
                  <a:pt x="2216" y="2121"/>
                </a:lnTo>
                <a:lnTo>
                  <a:pt x="2209" y="2118"/>
                </a:lnTo>
                <a:lnTo>
                  <a:pt x="2202" y="2117"/>
                </a:lnTo>
                <a:lnTo>
                  <a:pt x="2199" y="2116"/>
                </a:lnTo>
                <a:lnTo>
                  <a:pt x="2195" y="2116"/>
                </a:lnTo>
                <a:lnTo>
                  <a:pt x="2192" y="2116"/>
                </a:lnTo>
                <a:lnTo>
                  <a:pt x="2189" y="2117"/>
                </a:lnTo>
                <a:lnTo>
                  <a:pt x="2187" y="2126"/>
                </a:lnTo>
                <a:lnTo>
                  <a:pt x="2181" y="2126"/>
                </a:lnTo>
                <a:lnTo>
                  <a:pt x="2180" y="2125"/>
                </a:lnTo>
                <a:lnTo>
                  <a:pt x="2179" y="2124"/>
                </a:lnTo>
                <a:lnTo>
                  <a:pt x="2179" y="2122"/>
                </a:lnTo>
                <a:lnTo>
                  <a:pt x="2178" y="2121"/>
                </a:lnTo>
                <a:lnTo>
                  <a:pt x="2179" y="2118"/>
                </a:lnTo>
                <a:lnTo>
                  <a:pt x="2179" y="2115"/>
                </a:lnTo>
                <a:lnTo>
                  <a:pt x="2181" y="2109"/>
                </a:lnTo>
                <a:lnTo>
                  <a:pt x="2181" y="2107"/>
                </a:lnTo>
                <a:lnTo>
                  <a:pt x="2181" y="2106"/>
                </a:lnTo>
                <a:lnTo>
                  <a:pt x="2179" y="2105"/>
                </a:lnTo>
                <a:lnTo>
                  <a:pt x="2177" y="2105"/>
                </a:lnTo>
                <a:lnTo>
                  <a:pt x="2173" y="2106"/>
                </a:lnTo>
                <a:lnTo>
                  <a:pt x="2168" y="2106"/>
                </a:lnTo>
                <a:lnTo>
                  <a:pt x="2166" y="2106"/>
                </a:lnTo>
                <a:lnTo>
                  <a:pt x="2164" y="2106"/>
                </a:lnTo>
                <a:lnTo>
                  <a:pt x="2167" y="2098"/>
                </a:lnTo>
                <a:lnTo>
                  <a:pt x="2164" y="2098"/>
                </a:lnTo>
                <a:lnTo>
                  <a:pt x="2162" y="2098"/>
                </a:lnTo>
                <a:lnTo>
                  <a:pt x="2161" y="2099"/>
                </a:lnTo>
                <a:lnTo>
                  <a:pt x="2159" y="2099"/>
                </a:lnTo>
                <a:lnTo>
                  <a:pt x="2157" y="2101"/>
                </a:lnTo>
                <a:lnTo>
                  <a:pt x="2155" y="2101"/>
                </a:lnTo>
                <a:lnTo>
                  <a:pt x="2153" y="2100"/>
                </a:lnTo>
                <a:lnTo>
                  <a:pt x="2152" y="2100"/>
                </a:lnTo>
                <a:lnTo>
                  <a:pt x="2152" y="2099"/>
                </a:lnTo>
                <a:lnTo>
                  <a:pt x="2151" y="2098"/>
                </a:lnTo>
                <a:lnTo>
                  <a:pt x="2150" y="2097"/>
                </a:lnTo>
                <a:lnTo>
                  <a:pt x="2149" y="2096"/>
                </a:lnTo>
                <a:lnTo>
                  <a:pt x="2148" y="2095"/>
                </a:lnTo>
                <a:lnTo>
                  <a:pt x="2147" y="2095"/>
                </a:lnTo>
                <a:lnTo>
                  <a:pt x="2153" y="2084"/>
                </a:lnTo>
                <a:lnTo>
                  <a:pt x="2154" y="2081"/>
                </a:lnTo>
                <a:lnTo>
                  <a:pt x="2154" y="2079"/>
                </a:lnTo>
                <a:lnTo>
                  <a:pt x="2153" y="2078"/>
                </a:lnTo>
                <a:lnTo>
                  <a:pt x="2150" y="2077"/>
                </a:lnTo>
                <a:lnTo>
                  <a:pt x="2145" y="2075"/>
                </a:lnTo>
                <a:lnTo>
                  <a:pt x="2139" y="2072"/>
                </a:lnTo>
                <a:lnTo>
                  <a:pt x="2145" y="2068"/>
                </a:lnTo>
                <a:lnTo>
                  <a:pt x="2149" y="2066"/>
                </a:lnTo>
                <a:lnTo>
                  <a:pt x="2153" y="2064"/>
                </a:lnTo>
                <a:lnTo>
                  <a:pt x="2152" y="2062"/>
                </a:lnTo>
                <a:lnTo>
                  <a:pt x="2153" y="2060"/>
                </a:lnTo>
                <a:lnTo>
                  <a:pt x="2153" y="2057"/>
                </a:lnTo>
                <a:lnTo>
                  <a:pt x="2153" y="2056"/>
                </a:lnTo>
                <a:lnTo>
                  <a:pt x="2153" y="2055"/>
                </a:lnTo>
                <a:lnTo>
                  <a:pt x="2151" y="2055"/>
                </a:lnTo>
                <a:lnTo>
                  <a:pt x="2147" y="2055"/>
                </a:lnTo>
                <a:lnTo>
                  <a:pt x="2142" y="2055"/>
                </a:lnTo>
                <a:lnTo>
                  <a:pt x="2139" y="2045"/>
                </a:lnTo>
                <a:lnTo>
                  <a:pt x="2138" y="2036"/>
                </a:lnTo>
                <a:lnTo>
                  <a:pt x="2136" y="2026"/>
                </a:lnTo>
                <a:lnTo>
                  <a:pt x="2133" y="2016"/>
                </a:lnTo>
                <a:lnTo>
                  <a:pt x="2131" y="2012"/>
                </a:lnTo>
                <a:lnTo>
                  <a:pt x="2127" y="2005"/>
                </a:lnTo>
                <a:lnTo>
                  <a:pt x="2122" y="2005"/>
                </a:lnTo>
                <a:lnTo>
                  <a:pt x="2122" y="2003"/>
                </a:lnTo>
                <a:lnTo>
                  <a:pt x="2122" y="2000"/>
                </a:lnTo>
                <a:lnTo>
                  <a:pt x="2122" y="1998"/>
                </a:lnTo>
                <a:lnTo>
                  <a:pt x="2122" y="1997"/>
                </a:lnTo>
                <a:lnTo>
                  <a:pt x="2122" y="1996"/>
                </a:lnTo>
                <a:lnTo>
                  <a:pt x="2121" y="1995"/>
                </a:lnTo>
                <a:lnTo>
                  <a:pt x="2119" y="1995"/>
                </a:lnTo>
                <a:lnTo>
                  <a:pt x="2116" y="1993"/>
                </a:lnTo>
                <a:lnTo>
                  <a:pt x="2113" y="1992"/>
                </a:lnTo>
                <a:lnTo>
                  <a:pt x="2111" y="1991"/>
                </a:lnTo>
                <a:lnTo>
                  <a:pt x="2109" y="1989"/>
                </a:lnTo>
                <a:lnTo>
                  <a:pt x="2108" y="1987"/>
                </a:lnTo>
                <a:lnTo>
                  <a:pt x="2107" y="1982"/>
                </a:lnTo>
                <a:lnTo>
                  <a:pt x="2105" y="1977"/>
                </a:lnTo>
                <a:lnTo>
                  <a:pt x="2104" y="1975"/>
                </a:lnTo>
                <a:lnTo>
                  <a:pt x="2102" y="1974"/>
                </a:lnTo>
                <a:lnTo>
                  <a:pt x="2096" y="1971"/>
                </a:lnTo>
                <a:lnTo>
                  <a:pt x="2091" y="1968"/>
                </a:lnTo>
                <a:lnTo>
                  <a:pt x="2088" y="1968"/>
                </a:lnTo>
                <a:lnTo>
                  <a:pt x="2086" y="1967"/>
                </a:lnTo>
                <a:lnTo>
                  <a:pt x="2082" y="1968"/>
                </a:lnTo>
                <a:lnTo>
                  <a:pt x="2078" y="1969"/>
                </a:lnTo>
                <a:lnTo>
                  <a:pt x="2076" y="1969"/>
                </a:lnTo>
                <a:lnTo>
                  <a:pt x="2074" y="1968"/>
                </a:lnTo>
                <a:lnTo>
                  <a:pt x="2074" y="1960"/>
                </a:lnTo>
                <a:lnTo>
                  <a:pt x="2062" y="1959"/>
                </a:lnTo>
                <a:lnTo>
                  <a:pt x="2052" y="1958"/>
                </a:lnTo>
                <a:lnTo>
                  <a:pt x="2041" y="1958"/>
                </a:lnTo>
                <a:lnTo>
                  <a:pt x="2026" y="1957"/>
                </a:lnTo>
                <a:lnTo>
                  <a:pt x="2026" y="1960"/>
                </a:lnTo>
                <a:lnTo>
                  <a:pt x="2026" y="1962"/>
                </a:lnTo>
                <a:lnTo>
                  <a:pt x="2026" y="1963"/>
                </a:lnTo>
                <a:lnTo>
                  <a:pt x="2026" y="1964"/>
                </a:lnTo>
                <a:lnTo>
                  <a:pt x="2025" y="1965"/>
                </a:lnTo>
                <a:lnTo>
                  <a:pt x="2023" y="1965"/>
                </a:lnTo>
                <a:lnTo>
                  <a:pt x="2023" y="1963"/>
                </a:lnTo>
                <a:lnTo>
                  <a:pt x="2022" y="1961"/>
                </a:lnTo>
                <a:lnTo>
                  <a:pt x="2023" y="1956"/>
                </a:lnTo>
                <a:lnTo>
                  <a:pt x="2022" y="1952"/>
                </a:lnTo>
                <a:lnTo>
                  <a:pt x="2022" y="1950"/>
                </a:lnTo>
                <a:lnTo>
                  <a:pt x="2021" y="1949"/>
                </a:lnTo>
                <a:lnTo>
                  <a:pt x="2019" y="1948"/>
                </a:lnTo>
                <a:lnTo>
                  <a:pt x="2017" y="1948"/>
                </a:lnTo>
                <a:lnTo>
                  <a:pt x="2014" y="1949"/>
                </a:lnTo>
                <a:lnTo>
                  <a:pt x="2012" y="1949"/>
                </a:lnTo>
                <a:lnTo>
                  <a:pt x="2009" y="1944"/>
                </a:lnTo>
                <a:lnTo>
                  <a:pt x="2007" y="1940"/>
                </a:lnTo>
                <a:lnTo>
                  <a:pt x="2003" y="1941"/>
                </a:lnTo>
                <a:lnTo>
                  <a:pt x="2001" y="1942"/>
                </a:lnTo>
                <a:lnTo>
                  <a:pt x="1999" y="1943"/>
                </a:lnTo>
                <a:lnTo>
                  <a:pt x="1995" y="1943"/>
                </a:lnTo>
                <a:lnTo>
                  <a:pt x="1996" y="1949"/>
                </a:lnTo>
                <a:lnTo>
                  <a:pt x="1995" y="1954"/>
                </a:lnTo>
                <a:lnTo>
                  <a:pt x="1994" y="1954"/>
                </a:lnTo>
                <a:lnTo>
                  <a:pt x="1992" y="1953"/>
                </a:lnTo>
                <a:lnTo>
                  <a:pt x="1990" y="1953"/>
                </a:lnTo>
                <a:lnTo>
                  <a:pt x="1988" y="1953"/>
                </a:lnTo>
                <a:lnTo>
                  <a:pt x="1987" y="1954"/>
                </a:lnTo>
                <a:lnTo>
                  <a:pt x="1990" y="1946"/>
                </a:lnTo>
                <a:lnTo>
                  <a:pt x="1992" y="1940"/>
                </a:lnTo>
                <a:lnTo>
                  <a:pt x="1993" y="1933"/>
                </a:lnTo>
                <a:lnTo>
                  <a:pt x="1995" y="1923"/>
                </a:lnTo>
                <a:lnTo>
                  <a:pt x="1994" y="1923"/>
                </a:lnTo>
                <a:lnTo>
                  <a:pt x="1993" y="1923"/>
                </a:lnTo>
                <a:lnTo>
                  <a:pt x="1991" y="1923"/>
                </a:lnTo>
                <a:lnTo>
                  <a:pt x="1989" y="1924"/>
                </a:lnTo>
                <a:lnTo>
                  <a:pt x="1987" y="1923"/>
                </a:lnTo>
                <a:lnTo>
                  <a:pt x="1987" y="1918"/>
                </a:lnTo>
                <a:lnTo>
                  <a:pt x="1983" y="1916"/>
                </a:lnTo>
                <a:lnTo>
                  <a:pt x="1980" y="1916"/>
                </a:lnTo>
                <a:lnTo>
                  <a:pt x="1979" y="1915"/>
                </a:lnTo>
                <a:lnTo>
                  <a:pt x="1978" y="1915"/>
                </a:lnTo>
                <a:lnTo>
                  <a:pt x="1977" y="1913"/>
                </a:lnTo>
                <a:lnTo>
                  <a:pt x="1976" y="1910"/>
                </a:lnTo>
                <a:lnTo>
                  <a:pt x="1974" y="1908"/>
                </a:lnTo>
                <a:lnTo>
                  <a:pt x="1973" y="1906"/>
                </a:lnTo>
                <a:lnTo>
                  <a:pt x="1972" y="1906"/>
                </a:lnTo>
                <a:lnTo>
                  <a:pt x="1970" y="1906"/>
                </a:lnTo>
                <a:lnTo>
                  <a:pt x="1965" y="1904"/>
                </a:lnTo>
                <a:lnTo>
                  <a:pt x="1960" y="1904"/>
                </a:lnTo>
                <a:lnTo>
                  <a:pt x="1956" y="1904"/>
                </a:lnTo>
                <a:lnTo>
                  <a:pt x="1951" y="1904"/>
                </a:lnTo>
                <a:lnTo>
                  <a:pt x="1942" y="1905"/>
                </a:lnTo>
                <a:lnTo>
                  <a:pt x="1933" y="1906"/>
                </a:lnTo>
                <a:lnTo>
                  <a:pt x="1925" y="1909"/>
                </a:lnTo>
                <a:lnTo>
                  <a:pt x="1926" y="1908"/>
                </a:lnTo>
                <a:lnTo>
                  <a:pt x="1927" y="1906"/>
                </a:lnTo>
                <a:lnTo>
                  <a:pt x="1928" y="1901"/>
                </a:lnTo>
                <a:lnTo>
                  <a:pt x="1938" y="1901"/>
                </a:lnTo>
                <a:lnTo>
                  <a:pt x="1943" y="1901"/>
                </a:lnTo>
                <a:lnTo>
                  <a:pt x="1947" y="1901"/>
                </a:lnTo>
                <a:lnTo>
                  <a:pt x="1948" y="1896"/>
                </a:lnTo>
                <a:lnTo>
                  <a:pt x="1948" y="1892"/>
                </a:lnTo>
                <a:lnTo>
                  <a:pt x="1949" y="1888"/>
                </a:lnTo>
                <a:lnTo>
                  <a:pt x="1950" y="1884"/>
                </a:lnTo>
                <a:lnTo>
                  <a:pt x="1953" y="1884"/>
                </a:lnTo>
                <a:lnTo>
                  <a:pt x="1954" y="1883"/>
                </a:lnTo>
                <a:lnTo>
                  <a:pt x="1953" y="1883"/>
                </a:lnTo>
                <a:lnTo>
                  <a:pt x="1952" y="1881"/>
                </a:lnTo>
                <a:lnTo>
                  <a:pt x="1947" y="1878"/>
                </a:lnTo>
                <a:lnTo>
                  <a:pt x="1945" y="1878"/>
                </a:lnTo>
                <a:lnTo>
                  <a:pt x="1944" y="1878"/>
                </a:lnTo>
                <a:lnTo>
                  <a:pt x="1942" y="1880"/>
                </a:lnTo>
                <a:lnTo>
                  <a:pt x="1940" y="1881"/>
                </a:lnTo>
                <a:lnTo>
                  <a:pt x="1939" y="1881"/>
                </a:lnTo>
                <a:lnTo>
                  <a:pt x="1936" y="1881"/>
                </a:lnTo>
                <a:lnTo>
                  <a:pt x="1936" y="1875"/>
                </a:lnTo>
                <a:lnTo>
                  <a:pt x="1934" y="1875"/>
                </a:lnTo>
                <a:lnTo>
                  <a:pt x="1932" y="1875"/>
                </a:lnTo>
                <a:lnTo>
                  <a:pt x="1931" y="1876"/>
                </a:lnTo>
                <a:lnTo>
                  <a:pt x="1931" y="1877"/>
                </a:lnTo>
                <a:lnTo>
                  <a:pt x="1929" y="1878"/>
                </a:lnTo>
                <a:lnTo>
                  <a:pt x="1927" y="1879"/>
                </a:lnTo>
                <a:lnTo>
                  <a:pt x="1925" y="1878"/>
                </a:lnTo>
                <a:lnTo>
                  <a:pt x="1925" y="1873"/>
                </a:lnTo>
                <a:lnTo>
                  <a:pt x="1923" y="1873"/>
                </a:lnTo>
                <a:lnTo>
                  <a:pt x="1922" y="1873"/>
                </a:lnTo>
                <a:lnTo>
                  <a:pt x="1921" y="1872"/>
                </a:lnTo>
                <a:lnTo>
                  <a:pt x="1921" y="1870"/>
                </a:lnTo>
                <a:lnTo>
                  <a:pt x="1919" y="1864"/>
                </a:lnTo>
                <a:lnTo>
                  <a:pt x="1926" y="1861"/>
                </a:lnTo>
                <a:lnTo>
                  <a:pt x="1931" y="1858"/>
                </a:lnTo>
                <a:lnTo>
                  <a:pt x="1900" y="1858"/>
                </a:lnTo>
                <a:lnTo>
                  <a:pt x="1903" y="1861"/>
                </a:lnTo>
                <a:lnTo>
                  <a:pt x="1905" y="1863"/>
                </a:lnTo>
                <a:lnTo>
                  <a:pt x="1905" y="1864"/>
                </a:lnTo>
                <a:lnTo>
                  <a:pt x="1902" y="1864"/>
                </a:lnTo>
                <a:lnTo>
                  <a:pt x="1898" y="1862"/>
                </a:lnTo>
                <a:lnTo>
                  <a:pt x="1896" y="1861"/>
                </a:lnTo>
                <a:lnTo>
                  <a:pt x="1894" y="1861"/>
                </a:lnTo>
                <a:lnTo>
                  <a:pt x="1891" y="1866"/>
                </a:lnTo>
                <a:lnTo>
                  <a:pt x="1888" y="1870"/>
                </a:lnTo>
                <a:lnTo>
                  <a:pt x="1884" y="1870"/>
                </a:lnTo>
                <a:lnTo>
                  <a:pt x="1880" y="1870"/>
                </a:lnTo>
                <a:lnTo>
                  <a:pt x="1872" y="1869"/>
                </a:lnTo>
                <a:lnTo>
                  <a:pt x="1857" y="1867"/>
                </a:lnTo>
                <a:lnTo>
                  <a:pt x="1857" y="1861"/>
                </a:lnTo>
                <a:lnTo>
                  <a:pt x="1852" y="1861"/>
                </a:lnTo>
                <a:lnTo>
                  <a:pt x="1847" y="1861"/>
                </a:lnTo>
                <a:lnTo>
                  <a:pt x="1842" y="1862"/>
                </a:lnTo>
                <a:lnTo>
                  <a:pt x="1837" y="1864"/>
                </a:lnTo>
                <a:lnTo>
                  <a:pt x="1827" y="1867"/>
                </a:lnTo>
                <a:lnTo>
                  <a:pt x="1818" y="1870"/>
                </a:lnTo>
                <a:lnTo>
                  <a:pt x="1816" y="1862"/>
                </a:lnTo>
                <a:lnTo>
                  <a:pt x="1815" y="1858"/>
                </a:lnTo>
                <a:lnTo>
                  <a:pt x="1813" y="1854"/>
                </a:lnTo>
                <a:lnTo>
                  <a:pt x="1811" y="1851"/>
                </a:lnTo>
                <a:lnTo>
                  <a:pt x="1808" y="1848"/>
                </a:lnTo>
                <a:lnTo>
                  <a:pt x="1804" y="1846"/>
                </a:lnTo>
                <a:lnTo>
                  <a:pt x="1798" y="1844"/>
                </a:lnTo>
                <a:lnTo>
                  <a:pt x="1796" y="1844"/>
                </a:lnTo>
                <a:lnTo>
                  <a:pt x="1793" y="1845"/>
                </a:lnTo>
                <a:lnTo>
                  <a:pt x="1789" y="1845"/>
                </a:lnTo>
                <a:lnTo>
                  <a:pt x="1787" y="1844"/>
                </a:lnTo>
                <a:lnTo>
                  <a:pt x="1787" y="1840"/>
                </a:lnTo>
                <a:lnTo>
                  <a:pt x="1787" y="1836"/>
                </a:lnTo>
                <a:lnTo>
                  <a:pt x="1783" y="1835"/>
                </a:lnTo>
                <a:lnTo>
                  <a:pt x="1780" y="1834"/>
                </a:lnTo>
                <a:lnTo>
                  <a:pt x="1779" y="1833"/>
                </a:lnTo>
                <a:lnTo>
                  <a:pt x="1779" y="1835"/>
                </a:lnTo>
                <a:lnTo>
                  <a:pt x="1779" y="1837"/>
                </a:lnTo>
                <a:lnTo>
                  <a:pt x="1779" y="1842"/>
                </a:lnTo>
                <a:lnTo>
                  <a:pt x="1781" y="1842"/>
                </a:lnTo>
                <a:lnTo>
                  <a:pt x="1782" y="1843"/>
                </a:lnTo>
                <a:lnTo>
                  <a:pt x="1783" y="1844"/>
                </a:lnTo>
                <a:lnTo>
                  <a:pt x="1784" y="1845"/>
                </a:lnTo>
                <a:lnTo>
                  <a:pt x="1785" y="1848"/>
                </a:lnTo>
                <a:lnTo>
                  <a:pt x="1786" y="1849"/>
                </a:lnTo>
                <a:lnTo>
                  <a:pt x="1787" y="1850"/>
                </a:lnTo>
                <a:lnTo>
                  <a:pt x="1779" y="1852"/>
                </a:lnTo>
                <a:lnTo>
                  <a:pt x="1773" y="1853"/>
                </a:lnTo>
                <a:lnTo>
                  <a:pt x="1766" y="1854"/>
                </a:lnTo>
                <a:lnTo>
                  <a:pt x="1759" y="1856"/>
                </a:lnTo>
                <a:lnTo>
                  <a:pt x="1759" y="1860"/>
                </a:lnTo>
                <a:lnTo>
                  <a:pt x="1759" y="1864"/>
                </a:lnTo>
                <a:lnTo>
                  <a:pt x="1758" y="1868"/>
                </a:lnTo>
                <a:lnTo>
                  <a:pt x="1759" y="1873"/>
                </a:lnTo>
                <a:lnTo>
                  <a:pt x="1762" y="1876"/>
                </a:lnTo>
                <a:lnTo>
                  <a:pt x="1768" y="1885"/>
                </a:lnTo>
                <a:lnTo>
                  <a:pt x="1770" y="1889"/>
                </a:lnTo>
                <a:lnTo>
                  <a:pt x="1771" y="1891"/>
                </a:lnTo>
                <a:lnTo>
                  <a:pt x="1771" y="1893"/>
                </a:lnTo>
                <a:lnTo>
                  <a:pt x="1770" y="1895"/>
                </a:lnTo>
                <a:lnTo>
                  <a:pt x="1769" y="1896"/>
                </a:lnTo>
                <a:lnTo>
                  <a:pt x="1767" y="1897"/>
                </a:lnTo>
                <a:lnTo>
                  <a:pt x="1765" y="1898"/>
                </a:lnTo>
                <a:lnTo>
                  <a:pt x="1761" y="1898"/>
                </a:lnTo>
                <a:lnTo>
                  <a:pt x="1759" y="1898"/>
                </a:lnTo>
                <a:lnTo>
                  <a:pt x="1756" y="1898"/>
                </a:lnTo>
                <a:lnTo>
                  <a:pt x="1755" y="1897"/>
                </a:lnTo>
                <a:lnTo>
                  <a:pt x="1752" y="1895"/>
                </a:lnTo>
                <a:lnTo>
                  <a:pt x="1751" y="1893"/>
                </a:lnTo>
                <a:lnTo>
                  <a:pt x="1750" y="1891"/>
                </a:lnTo>
                <a:lnTo>
                  <a:pt x="1750" y="1889"/>
                </a:lnTo>
                <a:lnTo>
                  <a:pt x="1749" y="1887"/>
                </a:lnTo>
                <a:lnTo>
                  <a:pt x="1749" y="1883"/>
                </a:lnTo>
                <a:lnTo>
                  <a:pt x="1749" y="1878"/>
                </a:lnTo>
                <a:lnTo>
                  <a:pt x="1748" y="1873"/>
                </a:lnTo>
                <a:lnTo>
                  <a:pt x="1753" y="1872"/>
                </a:lnTo>
                <a:lnTo>
                  <a:pt x="1755" y="1871"/>
                </a:lnTo>
                <a:lnTo>
                  <a:pt x="1756" y="1871"/>
                </a:lnTo>
                <a:lnTo>
                  <a:pt x="1756" y="1870"/>
                </a:lnTo>
                <a:lnTo>
                  <a:pt x="1756" y="1867"/>
                </a:lnTo>
                <a:lnTo>
                  <a:pt x="1756" y="1865"/>
                </a:lnTo>
                <a:lnTo>
                  <a:pt x="1756" y="1863"/>
                </a:lnTo>
                <a:lnTo>
                  <a:pt x="1756" y="1861"/>
                </a:lnTo>
                <a:lnTo>
                  <a:pt x="1751" y="1861"/>
                </a:lnTo>
                <a:lnTo>
                  <a:pt x="1753" y="1856"/>
                </a:lnTo>
                <a:lnTo>
                  <a:pt x="1749" y="1854"/>
                </a:lnTo>
                <a:lnTo>
                  <a:pt x="1745" y="1853"/>
                </a:lnTo>
                <a:lnTo>
                  <a:pt x="1745" y="1850"/>
                </a:lnTo>
                <a:lnTo>
                  <a:pt x="1753" y="1844"/>
                </a:lnTo>
                <a:lnTo>
                  <a:pt x="1757" y="1842"/>
                </a:lnTo>
                <a:lnTo>
                  <a:pt x="1762" y="1839"/>
                </a:lnTo>
                <a:lnTo>
                  <a:pt x="1759" y="1834"/>
                </a:lnTo>
                <a:lnTo>
                  <a:pt x="1756" y="1828"/>
                </a:lnTo>
                <a:lnTo>
                  <a:pt x="1750" y="1829"/>
                </a:lnTo>
                <a:lnTo>
                  <a:pt x="1748" y="1829"/>
                </a:lnTo>
                <a:lnTo>
                  <a:pt x="1745" y="1830"/>
                </a:lnTo>
                <a:lnTo>
                  <a:pt x="1745" y="1836"/>
                </a:lnTo>
                <a:lnTo>
                  <a:pt x="1741" y="1839"/>
                </a:lnTo>
                <a:lnTo>
                  <a:pt x="1734" y="1845"/>
                </a:lnTo>
                <a:lnTo>
                  <a:pt x="1722" y="1853"/>
                </a:lnTo>
                <a:lnTo>
                  <a:pt x="1721" y="1853"/>
                </a:lnTo>
                <a:lnTo>
                  <a:pt x="1720" y="1852"/>
                </a:lnTo>
                <a:lnTo>
                  <a:pt x="1717" y="1851"/>
                </a:lnTo>
                <a:lnTo>
                  <a:pt x="1713" y="1850"/>
                </a:lnTo>
                <a:lnTo>
                  <a:pt x="1711" y="1849"/>
                </a:lnTo>
                <a:lnTo>
                  <a:pt x="1708" y="1850"/>
                </a:lnTo>
                <a:lnTo>
                  <a:pt x="1707" y="1851"/>
                </a:lnTo>
                <a:lnTo>
                  <a:pt x="1707" y="1852"/>
                </a:lnTo>
                <a:lnTo>
                  <a:pt x="1706" y="1854"/>
                </a:lnTo>
                <a:lnTo>
                  <a:pt x="1706" y="1858"/>
                </a:lnTo>
                <a:lnTo>
                  <a:pt x="1706" y="1861"/>
                </a:lnTo>
                <a:lnTo>
                  <a:pt x="1704" y="1861"/>
                </a:lnTo>
                <a:lnTo>
                  <a:pt x="1703" y="1860"/>
                </a:lnTo>
                <a:lnTo>
                  <a:pt x="1703" y="1858"/>
                </a:lnTo>
                <a:lnTo>
                  <a:pt x="1698" y="1858"/>
                </a:lnTo>
                <a:lnTo>
                  <a:pt x="1692" y="1858"/>
                </a:lnTo>
                <a:lnTo>
                  <a:pt x="1690" y="1869"/>
                </a:lnTo>
                <a:lnTo>
                  <a:pt x="1689" y="1881"/>
                </a:lnTo>
                <a:lnTo>
                  <a:pt x="1683" y="1881"/>
                </a:lnTo>
                <a:lnTo>
                  <a:pt x="1683" y="1884"/>
                </a:lnTo>
                <a:lnTo>
                  <a:pt x="1683" y="1887"/>
                </a:lnTo>
                <a:lnTo>
                  <a:pt x="1684" y="1890"/>
                </a:lnTo>
                <a:lnTo>
                  <a:pt x="1683" y="1892"/>
                </a:lnTo>
                <a:lnTo>
                  <a:pt x="1679" y="1892"/>
                </a:lnTo>
                <a:lnTo>
                  <a:pt x="1675" y="1892"/>
                </a:lnTo>
                <a:lnTo>
                  <a:pt x="1670" y="1900"/>
                </a:lnTo>
                <a:lnTo>
                  <a:pt x="1666" y="1906"/>
                </a:lnTo>
                <a:lnTo>
                  <a:pt x="1666" y="1909"/>
                </a:lnTo>
                <a:lnTo>
                  <a:pt x="1666" y="1912"/>
                </a:lnTo>
                <a:lnTo>
                  <a:pt x="1667" y="1915"/>
                </a:lnTo>
                <a:lnTo>
                  <a:pt x="1666" y="1918"/>
                </a:lnTo>
                <a:lnTo>
                  <a:pt x="1655" y="1910"/>
                </a:lnTo>
                <a:lnTo>
                  <a:pt x="1648" y="1903"/>
                </a:lnTo>
                <a:lnTo>
                  <a:pt x="1641" y="1897"/>
                </a:lnTo>
                <a:lnTo>
                  <a:pt x="1638" y="1893"/>
                </a:lnTo>
                <a:lnTo>
                  <a:pt x="1635" y="1889"/>
                </a:lnTo>
                <a:lnTo>
                  <a:pt x="1630" y="1881"/>
                </a:lnTo>
                <a:lnTo>
                  <a:pt x="1625" y="1881"/>
                </a:lnTo>
                <a:lnTo>
                  <a:pt x="1620" y="1880"/>
                </a:lnTo>
                <a:lnTo>
                  <a:pt x="1615" y="1878"/>
                </a:lnTo>
                <a:lnTo>
                  <a:pt x="1614" y="1878"/>
                </a:lnTo>
                <a:lnTo>
                  <a:pt x="1613" y="1878"/>
                </a:lnTo>
                <a:lnTo>
                  <a:pt x="1612" y="1882"/>
                </a:lnTo>
                <a:lnTo>
                  <a:pt x="1611" y="1885"/>
                </a:lnTo>
                <a:lnTo>
                  <a:pt x="1610" y="1887"/>
                </a:lnTo>
                <a:lnTo>
                  <a:pt x="1605" y="1888"/>
                </a:lnTo>
                <a:lnTo>
                  <a:pt x="1601" y="1889"/>
                </a:lnTo>
                <a:lnTo>
                  <a:pt x="1594" y="1891"/>
                </a:lnTo>
                <a:lnTo>
                  <a:pt x="1587" y="1892"/>
                </a:lnTo>
                <a:lnTo>
                  <a:pt x="1583" y="1893"/>
                </a:lnTo>
                <a:lnTo>
                  <a:pt x="1579" y="1895"/>
                </a:lnTo>
                <a:lnTo>
                  <a:pt x="1578" y="1893"/>
                </a:lnTo>
                <a:lnTo>
                  <a:pt x="1577" y="1891"/>
                </a:lnTo>
                <a:lnTo>
                  <a:pt x="1576" y="1890"/>
                </a:lnTo>
                <a:lnTo>
                  <a:pt x="1573" y="1889"/>
                </a:lnTo>
                <a:lnTo>
                  <a:pt x="1571" y="1892"/>
                </a:lnTo>
                <a:lnTo>
                  <a:pt x="1569" y="1892"/>
                </a:lnTo>
                <a:lnTo>
                  <a:pt x="1568" y="1893"/>
                </a:lnTo>
                <a:lnTo>
                  <a:pt x="1566" y="1893"/>
                </a:lnTo>
                <a:lnTo>
                  <a:pt x="1565" y="1892"/>
                </a:lnTo>
                <a:lnTo>
                  <a:pt x="1564" y="1891"/>
                </a:lnTo>
                <a:lnTo>
                  <a:pt x="1562" y="1887"/>
                </a:lnTo>
                <a:lnTo>
                  <a:pt x="1558" y="1878"/>
                </a:lnTo>
                <a:lnTo>
                  <a:pt x="1554" y="1867"/>
                </a:lnTo>
                <a:lnTo>
                  <a:pt x="1550" y="1862"/>
                </a:lnTo>
                <a:lnTo>
                  <a:pt x="1545" y="1857"/>
                </a:lnTo>
                <a:lnTo>
                  <a:pt x="1541" y="1852"/>
                </a:lnTo>
                <a:lnTo>
                  <a:pt x="1537" y="1846"/>
                </a:lnTo>
                <a:lnTo>
                  <a:pt x="1534" y="1842"/>
                </a:lnTo>
                <a:lnTo>
                  <a:pt x="1548" y="1754"/>
                </a:lnTo>
                <a:lnTo>
                  <a:pt x="1541" y="1753"/>
                </a:lnTo>
                <a:lnTo>
                  <a:pt x="1534" y="1752"/>
                </a:lnTo>
                <a:lnTo>
                  <a:pt x="1532" y="1749"/>
                </a:lnTo>
                <a:lnTo>
                  <a:pt x="1531" y="1745"/>
                </a:lnTo>
                <a:lnTo>
                  <a:pt x="1528" y="1738"/>
                </a:lnTo>
                <a:lnTo>
                  <a:pt x="1523" y="1736"/>
                </a:lnTo>
                <a:lnTo>
                  <a:pt x="1515" y="1734"/>
                </a:lnTo>
                <a:lnTo>
                  <a:pt x="1508" y="1733"/>
                </a:lnTo>
                <a:lnTo>
                  <a:pt x="1503" y="1732"/>
                </a:lnTo>
                <a:lnTo>
                  <a:pt x="1500" y="1732"/>
                </a:lnTo>
                <a:lnTo>
                  <a:pt x="1497" y="1733"/>
                </a:lnTo>
                <a:lnTo>
                  <a:pt x="1491" y="1736"/>
                </a:lnTo>
                <a:lnTo>
                  <a:pt x="1485" y="1739"/>
                </a:lnTo>
                <a:lnTo>
                  <a:pt x="1482" y="1740"/>
                </a:lnTo>
                <a:lnTo>
                  <a:pt x="1481" y="1740"/>
                </a:lnTo>
                <a:lnTo>
                  <a:pt x="1473" y="1741"/>
                </a:lnTo>
                <a:lnTo>
                  <a:pt x="1466" y="1741"/>
                </a:lnTo>
                <a:lnTo>
                  <a:pt x="1451" y="1740"/>
                </a:lnTo>
                <a:lnTo>
                  <a:pt x="1444" y="1740"/>
                </a:lnTo>
                <a:lnTo>
                  <a:pt x="1448" y="1732"/>
                </a:lnTo>
                <a:lnTo>
                  <a:pt x="1452" y="1720"/>
                </a:lnTo>
                <a:lnTo>
                  <a:pt x="1456" y="1707"/>
                </a:lnTo>
                <a:lnTo>
                  <a:pt x="1457" y="1701"/>
                </a:lnTo>
                <a:lnTo>
                  <a:pt x="1458" y="1695"/>
                </a:lnTo>
                <a:lnTo>
                  <a:pt x="1459" y="1689"/>
                </a:lnTo>
                <a:lnTo>
                  <a:pt x="1458" y="1684"/>
                </a:lnTo>
                <a:lnTo>
                  <a:pt x="1457" y="1683"/>
                </a:lnTo>
                <a:lnTo>
                  <a:pt x="1455" y="1681"/>
                </a:lnTo>
                <a:lnTo>
                  <a:pt x="1454" y="1679"/>
                </a:lnTo>
                <a:lnTo>
                  <a:pt x="1452" y="1676"/>
                </a:lnTo>
                <a:lnTo>
                  <a:pt x="1453" y="1676"/>
                </a:lnTo>
                <a:lnTo>
                  <a:pt x="1454" y="1675"/>
                </a:lnTo>
                <a:lnTo>
                  <a:pt x="1456" y="1673"/>
                </a:lnTo>
                <a:lnTo>
                  <a:pt x="1458" y="1670"/>
                </a:lnTo>
                <a:lnTo>
                  <a:pt x="1458" y="1674"/>
                </a:lnTo>
                <a:lnTo>
                  <a:pt x="1458" y="1678"/>
                </a:lnTo>
                <a:lnTo>
                  <a:pt x="1464" y="1680"/>
                </a:lnTo>
                <a:lnTo>
                  <a:pt x="1467" y="1680"/>
                </a:lnTo>
                <a:lnTo>
                  <a:pt x="1468" y="1680"/>
                </a:lnTo>
                <a:lnTo>
                  <a:pt x="1467" y="1678"/>
                </a:lnTo>
                <a:lnTo>
                  <a:pt x="1466" y="1672"/>
                </a:lnTo>
                <a:lnTo>
                  <a:pt x="1466" y="1667"/>
                </a:lnTo>
                <a:lnTo>
                  <a:pt x="1467" y="1662"/>
                </a:lnTo>
                <a:lnTo>
                  <a:pt x="1469" y="1650"/>
                </a:lnTo>
                <a:lnTo>
                  <a:pt x="1473" y="1631"/>
                </a:lnTo>
                <a:lnTo>
                  <a:pt x="1475" y="1621"/>
                </a:lnTo>
                <a:lnTo>
                  <a:pt x="1476" y="1617"/>
                </a:lnTo>
                <a:lnTo>
                  <a:pt x="1476" y="1613"/>
                </a:lnTo>
                <a:lnTo>
                  <a:pt x="1476" y="1606"/>
                </a:lnTo>
                <a:lnTo>
                  <a:pt x="1476" y="1604"/>
                </a:lnTo>
                <a:lnTo>
                  <a:pt x="1475" y="1602"/>
                </a:lnTo>
                <a:lnTo>
                  <a:pt x="1472" y="1601"/>
                </a:lnTo>
                <a:lnTo>
                  <a:pt x="1469" y="1600"/>
                </a:lnTo>
                <a:lnTo>
                  <a:pt x="1462" y="1600"/>
                </a:lnTo>
                <a:lnTo>
                  <a:pt x="1455" y="1602"/>
                </a:lnTo>
                <a:lnTo>
                  <a:pt x="1447" y="1604"/>
                </a:lnTo>
                <a:lnTo>
                  <a:pt x="1439" y="1608"/>
                </a:lnTo>
                <a:lnTo>
                  <a:pt x="1431" y="1611"/>
                </a:lnTo>
                <a:lnTo>
                  <a:pt x="1419" y="1617"/>
                </a:lnTo>
                <a:lnTo>
                  <a:pt x="1418" y="1620"/>
                </a:lnTo>
                <a:lnTo>
                  <a:pt x="1418" y="1624"/>
                </a:lnTo>
                <a:lnTo>
                  <a:pt x="1418" y="1631"/>
                </a:lnTo>
                <a:lnTo>
                  <a:pt x="1418" y="1634"/>
                </a:lnTo>
                <a:lnTo>
                  <a:pt x="1418" y="1638"/>
                </a:lnTo>
                <a:lnTo>
                  <a:pt x="1417" y="1641"/>
                </a:lnTo>
                <a:lnTo>
                  <a:pt x="1416" y="1645"/>
                </a:lnTo>
                <a:lnTo>
                  <a:pt x="1410" y="1647"/>
                </a:lnTo>
                <a:lnTo>
                  <a:pt x="1410" y="1651"/>
                </a:lnTo>
                <a:lnTo>
                  <a:pt x="1411" y="1655"/>
                </a:lnTo>
                <a:lnTo>
                  <a:pt x="1411" y="1658"/>
                </a:lnTo>
                <a:lnTo>
                  <a:pt x="1411" y="1660"/>
                </a:lnTo>
                <a:lnTo>
                  <a:pt x="1410" y="1662"/>
                </a:lnTo>
                <a:lnTo>
                  <a:pt x="1406" y="1663"/>
                </a:lnTo>
                <a:lnTo>
                  <a:pt x="1403" y="1664"/>
                </a:lnTo>
                <a:lnTo>
                  <a:pt x="1402" y="1664"/>
                </a:lnTo>
                <a:lnTo>
                  <a:pt x="1400" y="1669"/>
                </a:lnTo>
                <a:lnTo>
                  <a:pt x="1399" y="1673"/>
                </a:lnTo>
                <a:lnTo>
                  <a:pt x="1396" y="1673"/>
                </a:lnTo>
                <a:lnTo>
                  <a:pt x="1394" y="1674"/>
                </a:lnTo>
                <a:lnTo>
                  <a:pt x="1393" y="1675"/>
                </a:lnTo>
                <a:lnTo>
                  <a:pt x="1392" y="1676"/>
                </a:lnTo>
                <a:lnTo>
                  <a:pt x="1391" y="1676"/>
                </a:lnTo>
                <a:lnTo>
                  <a:pt x="1391" y="1670"/>
                </a:lnTo>
                <a:lnTo>
                  <a:pt x="1386" y="1670"/>
                </a:lnTo>
                <a:lnTo>
                  <a:pt x="1382" y="1670"/>
                </a:lnTo>
                <a:lnTo>
                  <a:pt x="1379" y="1670"/>
                </a:lnTo>
                <a:lnTo>
                  <a:pt x="1377" y="1670"/>
                </a:lnTo>
                <a:lnTo>
                  <a:pt x="1375" y="1671"/>
                </a:lnTo>
                <a:lnTo>
                  <a:pt x="1374" y="1674"/>
                </a:lnTo>
                <a:lnTo>
                  <a:pt x="1372" y="1677"/>
                </a:lnTo>
                <a:lnTo>
                  <a:pt x="1371" y="1678"/>
                </a:lnTo>
                <a:lnTo>
                  <a:pt x="1367" y="1679"/>
                </a:lnTo>
                <a:lnTo>
                  <a:pt x="1363" y="1680"/>
                </a:lnTo>
                <a:lnTo>
                  <a:pt x="1360" y="1680"/>
                </a:lnTo>
                <a:lnTo>
                  <a:pt x="1358" y="1680"/>
                </a:lnTo>
                <a:lnTo>
                  <a:pt x="1357" y="1681"/>
                </a:lnTo>
                <a:lnTo>
                  <a:pt x="1356" y="1682"/>
                </a:lnTo>
                <a:lnTo>
                  <a:pt x="1356" y="1683"/>
                </a:lnTo>
                <a:lnTo>
                  <a:pt x="1356" y="1686"/>
                </a:lnTo>
                <a:lnTo>
                  <a:pt x="1355" y="1688"/>
                </a:lnTo>
                <a:lnTo>
                  <a:pt x="1355" y="1689"/>
                </a:lnTo>
                <a:lnTo>
                  <a:pt x="1354" y="1690"/>
                </a:lnTo>
                <a:lnTo>
                  <a:pt x="1353" y="1690"/>
                </a:lnTo>
                <a:lnTo>
                  <a:pt x="1350" y="1690"/>
                </a:lnTo>
                <a:lnTo>
                  <a:pt x="1349" y="1690"/>
                </a:lnTo>
                <a:lnTo>
                  <a:pt x="1349" y="1689"/>
                </a:lnTo>
                <a:lnTo>
                  <a:pt x="1351" y="1687"/>
                </a:lnTo>
                <a:lnTo>
                  <a:pt x="1348" y="1687"/>
                </a:lnTo>
                <a:lnTo>
                  <a:pt x="1344" y="1687"/>
                </a:lnTo>
                <a:lnTo>
                  <a:pt x="1341" y="1688"/>
                </a:lnTo>
                <a:lnTo>
                  <a:pt x="1337" y="1690"/>
                </a:lnTo>
                <a:lnTo>
                  <a:pt x="1336" y="1683"/>
                </a:lnTo>
                <a:lnTo>
                  <a:pt x="1335" y="1680"/>
                </a:lnTo>
                <a:lnTo>
                  <a:pt x="1334" y="1678"/>
                </a:lnTo>
                <a:lnTo>
                  <a:pt x="1332" y="1678"/>
                </a:lnTo>
                <a:lnTo>
                  <a:pt x="1330" y="1677"/>
                </a:lnTo>
                <a:lnTo>
                  <a:pt x="1324" y="1677"/>
                </a:lnTo>
                <a:lnTo>
                  <a:pt x="1319" y="1677"/>
                </a:lnTo>
                <a:lnTo>
                  <a:pt x="1317" y="1677"/>
                </a:lnTo>
                <a:lnTo>
                  <a:pt x="1315" y="1676"/>
                </a:lnTo>
                <a:lnTo>
                  <a:pt x="1314" y="1675"/>
                </a:lnTo>
                <a:lnTo>
                  <a:pt x="1313" y="1673"/>
                </a:lnTo>
                <a:lnTo>
                  <a:pt x="1312" y="1669"/>
                </a:lnTo>
                <a:lnTo>
                  <a:pt x="1310" y="1665"/>
                </a:lnTo>
                <a:lnTo>
                  <a:pt x="1309" y="1662"/>
                </a:lnTo>
                <a:lnTo>
                  <a:pt x="1302" y="1650"/>
                </a:lnTo>
                <a:lnTo>
                  <a:pt x="1295" y="1639"/>
                </a:lnTo>
                <a:lnTo>
                  <a:pt x="1289" y="1628"/>
                </a:lnTo>
                <a:lnTo>
                  <a:pt x="1286" y="1621"/>
                </a:lnTo>
                <a:lnTo>
                  <a:pt x="1284" y="1614"/>
                </a:lnTo>
                <a:lnTo>
                  <a:pt x="1281" y="1615"/>
                </a:lnTo>
                <a:lnTo>
                  <a:pt x="1279" y="1616"/>
                </a:lnTo>
                <a:lnTo>
                  <a:pt x="1278" y="1617"/>
                </a:lnTo>
                <a:lnTo>
                  <a:pt x="1279" y="1615"/>
                </a:lnTo>
                <a:lnTo>
                  <a:pt x="1280" y="1613"/>
                </a:lnTo>
                <a:lnTo>
                  <a:pt x="1280" y="1607"/>
                </a:lnTo>
                <a:lnTo>
                  <a:pt x="1280" y="1600"/>
                </a:lnTo>
                <a:lnTo>
                  <a:pt x="1279" y="1598"/>
                </a:lnTo>
                <a:lnTo>
                  <a:pt x="1278" y="1597"/>
                </a:lnTo>
                <a:lnTo>
                  <a:pt x="1284" y="1591"/>
                </a:lnTo>
                <a:lnTo>
                  <a:pt x="1284" y="1588"/>
                </a:lnTo>
                <a:lnTo>
                  <a:pt x="1284" y="1584"/>
                </a:lnTo>
                <a:lnTo>
                  <a:pt x="1282" y="1577"/>
                </a:lnTo>
                <a:lnTo>
                  <a:pt x="1279" y="1571"/>
                </a:lnTo>
                <a:lnTo>
                  <a:pt x="1279" y="1568"/>
                </a:lnTo>
                <a:lnTo>
                  <a:pt x="1278" y="1566"/>
                </a:lnTo>
                <a:lnTo>
                  <a:pt x="1278" y="1561"/>
                </a:lnTo>
                <a:lnTo>
                  <a:pt x="1279" y="1558"/>
                </a:lnTo>
                <a:lnTo>
                  <a:pt x="1280" y="1554"/>
                </a:lnTo>
                <a:lnTo>
                  <a:pt x="1281" y="1552"/>
                </a:lnTo>
                <a:lnTo>
                  <a:pt x="1278" y="1542"/>
                </a:lnTo>
                <a:lnTo>
                  <a:pt x="1276" y="1536"/>
                </a:lnTo>
                <a:lnTo>
                  <a:pt x="1275" y="1534"/>
                </a:lnTo>
                <a:lnTo>
                  <a:pt x="1275" y="1532"/>
                </a:lnTo>
                <a:lnTo>
                  <a:pt x="1276" y="1530"/>
                </a:lnTo>
                <a:lnTo>
                  <a:pt x="1278" y="1528"/>
                </a:lnTo>
                <a:lnTo>
                  <a:pt x="1284" y="1524"/>
                </a:lnTo>
                <a:lnTo>
                  <a:pt x="1289" y="1519"/>
                </a:lnTo>
                <a:lnTo>
                  <a:pt x="1291" y="1517"/>
                </a:lnTo>
                <a:lnTo>
                  <a:pt x="1292" y="1515"/>
                </a:lnTo>
                <a:lnTo>
                  <a:pt x="1292" y="1511"/>
                </a:lnTo>
                <a:lnTo>
                  <a:pt x="1292" y="1507"/>
                </a:lnTo>
                <a:lnTo>
                  <a:pt x="1291" y="1503"/>
                </a:lnTo>
                <a:lnTo>
                  <a:pt x="1289" y="1499"/>
                </a:lnTo>
                <a:lnTo>
                  <a:pt x="1284" y="1491"/>
                </a:lnTo>
                <a:lnTo>
                  <a:pt x="1281" y="1484"/>
                </a:lnTo>
                <a:lnTo>
                  <a:pt x="1282" y="1483"/>
                </a:lnTo>
                <a:lnTo>
                  <a:pt x="1283" y="1481"/>
                </a:lnTo>
                <a:lnTo>
                  <a:pt x="1283" y="1479"/>
                </a:lnTo>
                <a:lnTo>
                  <a:pt x="1283" y="1476"/>
                </a:lnTo>
                <a:lnTo>
                  <a:pt x="1281" y="1467"/>
                </a:lnTo>
                <a:lnTo>
                  <a:pt x="1287" y="1467"/>
                </a:lnTo>
                <a:lnTo>
                  <a:pt x="1287" y="1465"/>
                </a:lnTo>
                <a:lnTo>
                  <a:pt x="1286" y="1462"/>
                </a:lnTo>
                <a:lnTo>
                  <a:pt x="1286" y="1459"/>
                </a:lnTo>
                <a:lnTo>
                  <a:pt x="1286" y="1457"/>
                </a:lnTo>
                <a:lnTo>
                  <a:pt x="1287" y="1456"/>
                </a:lnTo>
                <a:lnTo>
                  <a:pt x="1288" y="1455"/>
                </a:lnTo>
                <a:lnTo>
                  <a:pt x="1290" y="1453"/>
                </a:lnTo>
                <a:lnTo>
                  <a:pt x="1296" y="1452"/>
                </a:lnTo>
                <a:lnTo>
                  <a:pt x="1302" y="1450"/>
                </a:lnTo>
                <a:lnTo>
                  <a:pt x="1304" y="1449"/>
                </a:lnTo>
                <a:lnTo>
                  <a:pt x="1306" y="1448"/>
                </a:lnTo>
                <a:lnTo>
                  <a:pt x="1307" y="1446"/>
                </a:lnTo>
                <a:lnTo>
                  <a:pt x="1307" y="1445"/>
                </a:lnTo>
                <a:lnTo>
                  <a:pt x="1307" y="1442"/>
                </a:lnTo>
                <a:lnTo>
                  <a:pt x="1307" y="1439"/>
                </a:lnTo>
                <a:lnTo>
                  <a:pt x="1308" y="1438"/>
                </a:lnTo>
                <a:lnTo>
                  <a:pt x="1309" y="1436"/>
                </a:lnTo>
                <a:lnTo>
                  <a:pt x="1311" y="1436"/>
                </a:lnTo>
                <a:lnTo>
                  <a:pt x="1313" y="1435"/>
                </a:lnTo>
                <a:lnTo>
                  <a:pt x="1316" y="1435"/>
                </a:lnTo>
                <a:lnTo>
                  <a:pt x="1320" y="1435"/>
                </a:lnTo>
                <a:lnTo>
                  <a:pt x="1322" y="1434"/>
                </a:lnTo>
                <a:lnTo>
                  <a:pt x="1323" y="1434"/>
                </a:lnTo>
                <a:lnTo>
                  <a:pt x="1328" y="1423"/>
                </a:lnTo>
                <a:lnTo>
                  <a:pt x="1332" y="1414"/>
                </a:lnTo>
                <a:lnTo>
                  <a:pt x="1333" y="1414"/>
                </a:lnTo>
                <a:lnTo>
                  <a:pt x="1336" y="1416"/>
                </a:lnTo>
                <a:lnTo>
                  <a:pt x="1339" y="1417"/>
                </a:lnTo>
                <a:lnTo>
                  <a:pt x="1343" y="1417"/>
                </a:lnTo>
                <a:lnTo>
                  <a:pt x="1345" y="1416"/>
                </a:lnTo>
                <a:lnTo>
                  <a:pt x="1348" y="1414"/>
                </a:lnTo>
                <a:lnTo>
                  <a:pt x="1353" y="1409"/>
                </a:lnTo>
                <a:lnTo>
                  <a:pt x="1359" y="1405"/>
                </a:lnTo>
                <a:lnTo>
                  <a:pt x="1361" y="1403"/>
                </a:lnTo>
                <a:lnTo>
                  <a:pt x="1362" y="1403"/>
                </a:lnTo>
                <a:lnTo>
                  <a:pt x="1366" y="1403"/>
                </a:lnTo>
                <a:lnTo>
                  <a:pt x="1371" y="1404"/>
                </a:lnTo>
                <a:lnTo>
                  <a:pt x="1383" y="1407"/>
                </a:lnTo>
                <a:lnTo>
                  <a:pt x="1393" y="1411"/>
                </a:lnTo>
                <a:lnTo>
                  <a:pt x="1397" y="1413"/>
                </a:lnTo>
                <a:lnTo>
                  <a:pt x="1399" y="1414"/>
                </a:lnTo>
                <a:lnTo>
                  <a:pt x="1400" y="1416"/>
                </a:lnTo>
                <a:lnTo>
                  <a:pt x="1400" y="1418"/>
                </a:lnTo>
                <a:lnTo>
                  <a:pt x="1401" y="1421"/>
                </a:lnTo>
                <a:lnTo>
                  <a:pt x="1401" y="1422"/>
                </a:lnTo>
                <a:lnTo>
                  <a:pt x="1402" y="1422"/>
                </a:lnTo>
                <a:lnTo>
                  <a:pt x="1404" y="1423"/>
                </a:lnTo>
                <a:lnTo>
                  <a:pt x="1406" y="1423"/>
                </a:lnTo>
                <a:lnTo>
                  <a:pt x="1409" y="1421"/>
                </a:lnTo>
                <a:lnTo>
                  <a:pt x="1410" y="1421"/>
                </a:lnTo>
                <a:lnTo>
                  <a:pt x="1412" y="1420"/>
                </a:lnTo>
                <a:lnTo>
                  <a:pt x="1414" y="1419"/>
                </a:lnTo>
                <a:lnTo>
                  <a:pt x="1416" y="1420"/>
                </a:lnTo>
                <a:lnTo>
                  <a:pt x="1414" y="1415"/>
                </a:lnTo>
                <a:lnTo>
                  <a:pt x="1413" y="1411"/>
                </a:lnTo>
                <a:lnTo>
                  <a:pt x="1415" y="1410"/>
                </a:lnTo>
                <a:lnTo>
                  <a:pt x="1417" y="1408"/>
                </a:lnTo>
                <a:lnTo>
                  <a:pt x="1420" y="1407"/>
                </a:lnTo>
                <a:lnTo>
                  <a:pt x="1422" y="1406"/>
                </a:lnTo>
                <a:lnTo>
                  <a:pt x="1430" y="1417"/>
                </a:lnTo>
                <a:lnTo>
                  <a:pt x="1433" y="1417"/>
                </a:lnTo>
                <a:lnTo>
                  <a:pt x="1436" y="1417"/>
                </a:lnTo>
                <a:lnTo>
                  <a:pt x="1439" y="1416"/>
                </a:lnTo>
                <a:lnTo>
                  <a:pt x="1440" y="1416"/>
                </a:lnTo>
                <a:lnTo>
                  <a:pt x="1441" y="1417"/>
                </a:lnTo>
                <a:lnTo>
                  <a:pt x="1441" y="1422"/>
                </a:lnTo>
                <a:lnTo>
                  <a:pt x="1443" y="1422"/>
                </a:lnTo>
                <a:lnTo>
                  <a:pt x="1444" y="1422"/>
                </a:lnTo>
                <a:lnTo>
                  <a:pt x="1446" y="1422"/>
                </a:lnTo>
                <a:lnTo>
                  <a:pt x="1447" y="1421"/>
                </a:lnTo>
                <a:lnTo>
                  <a:pt x="1448" y="1420"/>
                </a:lnTo>
                <a:lnTo>
                  <a:pt x="1448" y="1419"/>
                </a:lnTo>
                <a:lnTo>
                  <a:pt x="1448" y="1418"/>
                </a:lnTo>
                <a:lnTo>
                  <a:pt x="1447" y="1417"/>
                </a:lnTo>
                <a:lnTo>
                  <a:pt x="1438" y="1414"/>
                </a:lnTo>
                <a:lnTo>
                  <a:pt x="1438" y="1412"/>
                </a:lnTo>
                <a:lnTo>
                  <a:pt x="1438" y="1411"/>
                </a:lnTo>
                <a:lnTo>
                  <a:pt x="1439" y="1410"/>
                </a:lnTo>
                <a:lnTo>
                  <a:pt x="1440" y="1409"/>
                </a:lnTo>
                <a:lnTo>
                  <a:pt x="1441" y="1408"/>
                </a:lnTo>
                <a:lnTo>
                  <a:pt x="1441" y="1407"/>
                </a:lnTo>
                <a:lnTo>
                  <a:pt x="1442" y="1405"/>
                </a:lnTo>
                <a:lnTo>
                  <a:pt x="1444" y="1403"/>
                </a:lnTo>
                <a:lnTo>
                  <a:pt x="1440" y="1401"/>
                </a:lnTo>
                <a:lnTo>
                  <a:pt x="1436" y="1399"/>
                </a:lnTo>
                <a:lnTo>
                  <a:pt x="1430" y="1397"/>
                </a:lnTo>
                <a:lnTo>
                  <a:pt x="1427" y="1397"/>
                </a:lnTo>
                <a:lnTo>
                  <a:pt x="1424" y="1391"/>
                </a:lnTo>
                <a:lnTo>
                  <a:pt x="1426" y="1391"/>
                </a:lnTo>
                <a:lnTo>
                  <a:pt x="1427" y="1392"/>
                </a:lnTo>
                <a:lnTo>
                  <a:pt x="1430" y="1393"/>
                </a:lnTo>
                <a:lnTo>
                  <a:pt x="1434" y="1395"/>
                </a:lnTo>
                <a:lnTo>
                  <a:pt x="1436" y="1395"/>
                </a:lnTo>
                <a:lnTo>
                  <a:pt x="1438" y="1394"/>
                </a:lnTo>
                <a:lnTo>
                  <a:pt x="1438" y="1389"/>
                </a:lnTo>
                <a:lnTo>
                  <a:pt x="1449" y="1390"/>
                </a:lnTo>
                <a:lnTo>
                  <a:pt x="1461" y="1391"/>
                </a:lnTo>
                <a:lnTo>
                  <a:pt x="1460" y="1391"/>
                </a:lnTo>
                <a:lnTo>
                  <a:pt x="1460" y="1390"/>
                </a:lnTo>
                <a:lnTo>
                  <a:pt x="1460" y="1389"/>
                </a:lnTo>
                <a:lnTo>
                  <a:pt x="1461" y="1388"/>
                </a:lnTo>
                <a:lnTo>
                  <a:pt x="1464" y="1386"/>
                </a:lnTo>
                <a:lnTo>
                  <a:pt x="1465" y="1387"/>
                </a:lnTo>
                <a:lnTo>
                  <a:pt x="1466" y="1389"/>
                </a:lnTo>
                <a:lnTo>
                  <a:pt x="1466" y="1391"/>
                </a:lnTo>
                <a:lnTo>
                  <a:pt x="1467" y="1393"/>
                </a:lnTo>
                <a:lnTo>
                  <a:pt x="1468" y="1393"/>
                </a:lnTo>
                <a:lnTo>
                  <a:pt x="1470" y="1394"/>
                </a:lnTo>
                <a:lnTo>
                  <a:pt x="1472" y="1394"/>
                </a:lnTo>
                <a:lnTo>
                  <a:pt x="1478" y="1386"/>
                </a:lnTo>
                <a:lnTo>
                  <a:pt x="1486" y="1391"/>
                </a:lnTo>
                <a:lnTo>
                  <a:pt x="1487" y="1391"/>
                </a:lnTo>
                <a:lnTo>
                  <a:pt x="1487" y="1390"/>
                </a:lnTo>
                <a:lnTo>
                  <a:pt x="1488" y="1388"/>
                </a:lnTo>
                <a:lnTo>
                  <a:pt x="1490" y="1386"/>
                </a:lnTo>
                <a:lnTo>
                  <a:pt x="1491" y="1386"/>
                </a:lnTo>
                <a:lnTo>
                  <a:pt x="1492" y="1386"/>
                </a:lnTo>
                <a:lnTo>
                  <a:pt x="1493" y="1387"/>
                </a:lnTo>
                <a:lnTo>
                  <a:pt x="1494" y="1388"/>
                </a:lnTo>
                <a:lnTo>
                  <a:pt x="1495" y="1389"/>
                </a:lnTo>
                <a:lnTo>
                  <a:pt x="1495" y="1391"/>
                </a:lnTo>
                <a:lnTo>
                  <a:pt x="1495" y="1394"/>
                </a:lnTo>
                <a:lnTo>
                  <a:pt x="1498" y="1395"/>
                </a:lnTo>
                <a:lnTo>
                  <a:pt x="1501" y="1396"/>
                </a:lnTo>
                <a:lnTo>
                  <a:pt x="1505" y="1396"/>
                </a:lnTo>
                <a:lnTo>
                  <a:pt x="1507" y="1396"/>
                </a:lnTo>
                <a:lnTo>
                  <a:pt x="1509" y="1397"/>
                </a:lnTo>
                <a:lnTo>
                  <a:pt x="1510" y="1398"/>
                </a:lnTo>
                <a:lnTo>
                  <a:pt x="1511" y="1400"/>
                </a:lnTo>
                <a:lnTo>
                  <a:pt x="1511" y="1403"/>
                </a:lnTo>
                <a:lnTo>
                  <a:pt x="1512" y="1406"/>
                </a:lnTo>
                <a:lnTo>
                  <a:pt x="1515" y="1405"/>
                </a:lnTo>
                <a:lnTo>
                  <a:pt x="1518" y="1406"/>
                </a:lnTo>
                <a:lnTo>
                  <a:pt x="1526" y="1408"/>
                </a:lnTo>
                <a:lnTo>
                  <a:pt x="1528" y="1404"/>
                </a:lnTo>
                <a:lnTo>
                  <a:pt x="1531" y="1400"/>
                </a:lnTo>
                <a:lnTo>
                  <a:pt x="1532" y="1400"/>
                </a:lnTo>
                <a:lnTo>
                  <a:pt x="1533" y="1400"/>
                </a:lnTo>
                <a:lnTo>
                  <a:pt x="1535" y="1400"/>
                </a:lnTo>
                <a:lnTo>
                  <a:pt x="1537" y="1400"/>
                </a:lnTo>
                <a:lnTo>
                  <a:pt x="1539" y="1400"/>
                </a:lnTo>
                <a:lnTo>
                  <a:pt x="1540" y="1400"/>
                </a:lnTo>
                <a:lnTo>
                  <a:pt x="1542" y="1407"/>
                </a:lnTo>
                <a:lnTo>
                  <a:pt x="1544" y="1411"/>
                </a:lnTo>
                <a:lnTo>
                  <a:pt x="1545" y="1414"/>
                </a:lnTo>
                <a:lnTo>
                  <a:pt x="1554" y="1417"/>
                </a:lnTo>
                <a:lnTo>
                  <a:pt x="1555" y="1421"/>
                </a:lnTo>
                <a:lnTo>
                  <a:pt x="1555" y="1426"/>
                </a:lnTo>
                <a:lnTo>
                  <a:pt x="1555" y="1431"/>
                </a:lnTo>
                <a:lnTo>
                  <a:pt x="1555" y="1436"/>
                </a:lnTo>
                <a:lnTo>
                  <a:pt x="1554" y="1447"/>
                </a:lnTo>
                <a:lnTo>
                  <a:pt x="1554" y="1456"/>
                </a:lnTo>
                <a:lnTo>
                  <a:pt x="1558" y="1455"/>
                </a:lnTo>
                <a:lnTo>
                  <a:pt x="1560" y="1454"/>
                </a:lnTo>
                <a:lnTo>
                  <a:pt x="1561" y="1453"/>
                </a:lnTo>
                <a:lnTo>
                  <a:pt x="1565" y="1453"/>
                </a:lnTo>
                <a:lnTo>
                  <a:pt x="1564" y="1455"/>
                </a:lnTo>
                <a:lnTo>
                  <a:pt x="1563" y="1457"/>
                </a:lnTo>
                <a:lnTo>
                  <a:pt x="1561" y="1462"/>
                </a:lnTo>
                <a:lnTo>
                  <a:pt x="1559" y="1464"/>
                </a:lnTo>
                <a:lnTo>
                  <a:pt x="1559" y="1467"/>
                </a:lnTo>
                <a:lnTo>
                  <a:pt x="1559" y="1470"/>
                </a:lnTo>
                <a:lnTo>
                  <a:pt x="1559" y="1473"/>
                </a:lnTo>
                <a:lnTo>
                  <a:pt x="1565" y="1476"/>
                </a:lnTo>
                <a:lnTo>
                  <a:pt x="1569" y="1477"/>
                </a:lnTo>
                <a:lnTo>
                  <a:pt x="1571" y="1479"/>
                </a:lnTo>
                <a:lnTo>
                  <a:pt x="1571" y="1480"/>
                </a:lnTo>
                <a:lnTo>
                  <a:pt x="1572" y="1482"/>
                </a:lnTo>
                <a:lnTo>
                  <a:pt x="1572" y="1485"/>
                </a:lnTo>
                <a:lnTo>
                  <a:pt x="1572" y="1489"/>
                </a:lnTo>
                <a:lnTo>
                  <a:pt x="1573" y="1493"/>
                </a:lnTo>
                <a:lnTo>
                  <a:pt x="1575" y="1495"/>
                </a:lnTo>
                <a:lnTo>
                  <a:pt x="1578" y="1497"/>
                </a:lnTo>
                <a:lnTo>
                  <a:pt x="1580" y="1500"/>
                </a:lnTo>
                <a:lnTo>
                  <a:pt x="1582" y="1501"/>
                </a:lnTo>
                <a:lnTo>
                  <a:pt x="1582" y="1503"/>
                </a:lnTo>
                <a:lnTo>
                  <a:pt x="1582" y="1505"/>
                </a:lnTo>
                <a:lnTo>
                  <a:pt x="1581" y="1508"/>
                </a:lnTo>
                <a:lnTo>
                  <a:pt x="1582" y="1510"/>
                </a:lnTo>
                <a:lnTo>
                  <a:pt x="1583" y="1511"/>
                </a:lnTo>
                <a:lnTo>
                  <a:pt x="1585" y="1511"/>
                </a:lnTo>
                <a:lnTo>
                  <a:pt x="1589" y="1513"/>
                </a:lnTo>
                <a:lnTo>
                  <a:pt x="1593" y="1514"/>
                </a:lnTo>
                <a:lnTo>
                  <a:pt x="1596" y="1515"/>
                </a:lnTo>
                <a:lnTo>
                  <a:pt x="1597" y="1509"/>
                </a:lnTo>
                <a:lnTo>
                  <a:pt x="1598" y="1503"/>
                </a:lnTo>
                <a:lnTo>
                  <a:pt x="1599" y="1498"/>
                </a:lnTo>
                <a:lnTo>
                  <a:pt x="1600" y="1492"/>
                </a:lnTo>
                <a:lnTo>
                  <a:pt x="1601" y="1486"/>
                </a:lnTo>
                <a:lnTo>
                  <a:pt x="1602" y="1480"/>
                </a:lnTo>
                <a:lnTo>
                  <a:pt x="1602" y="1474"/>
                </a:lnTo>
                <a:lnTo>
                  <a:pt x="1602" y="1467"/>
                </a:lnTo>
                <a:lnTo>
                  <a:pt x="1598" y="1453"/>
                </a:lnTo>
                <a:lnTo>
                  <a:pt x="1593" y="1436"/>
                </a:lnTo>
                <a:lnTo>
                  <a:pt x="1587" y="1434"/>
                </a:lnTo>
                <a:lnTo>
                  <a:pt x="1587" y="1432"/>
                </a:lnTo>
                <a:lnTo>
                  <a:pt x="1588" y="1431"/>
                </a:lnTo>
                <a:lnTo>
                  <a:pt x="1589" y="1430"/>
                </a:lnTo>
                <a:lnTo>
                  <a:pt x="1590" y="1430"/>
                </a:lnTo>
                <a:lnTo>
                  <a:pt x="1591" y="1429"/>
                </a:lnTo>
                <a:lnTo>
                  <a:pt x="1591" y="1427"/>
                </a:lnTo>
                <a:lnTo>
                  <a:pt x="1590" y="1425"/>
                </a:lnTo>
                <a:lnTo>
                  <a:pt x="1589" y="1423"/>
                </a:lnTo>
                <a:lnTo>
                  <a:pt x="1586" y="1420"/>
                </a:lnTo>
                <a:lnTo>
                  <a:pt x="1583" y="1416"/>
                </a:lnTo>
                <a:lnTo>
                  <a:pt x="1582" y="1414"/>
                </a:lnTo>
                <a:lnTo>
                  <a:pt x="1581" y="1412"/>
                </a:lnTo>
                <a:lnTo>
                  <a:pt x="1581" y="1409"/>
                </a:lnTo>
                <a:lnTo>
                  <a:pt x="1582" y="1404"/>
                </a:lnTo>
                <a:lnTo>
                  <a:pt x="1582" y="1399"/>
                </a:lnTo>
                <a:lnTo>
                  <a:pt x="1582" y="1397"/>
                </a:lnTo>
                <a:lnTo>
                  <a:pt x="1582" y="1394"/>
                </a:lnTo>
                <a:lnTo>
                  <a:pt x="1580" y="1393"/>
                </a:lnTo>
                <a:lnTo>
                  <a:pt x="1576" y="1390"/>
                </a:lnTo>
                <a:lnTo>
                  <a:pt x="1574" y="1388"/>
                </a:lnTo>
                <a:lnTo>
                  <a:pt x="1573" y="1387"/>
                </a:lnTo>
                <a:lnTo>
                  <a:pt x="1574" y="1386"/>
                </a:lnTo>
                <a:lnTo>
                  <a:pt x="1576" y="1386"/>
                </a:lnTo>
                <a:lnTo>
                  <a:pt x="1579" y="1386"/>
                </a:lnTo>
                <a:lnTo>
                  <a:pt x="1578" y="1385"/>
                </a:lnTo>
                <a:lnTo>
                  <a:pt x="1578" y="1384"/>
                </a:lnTo>
                <a:lnTo>
                  <a:pt x="1579" y="1383"/>
                </a:lnTo>
                <a:lnTo>
                  <a:pt x="1584" y="1382"/>
                </a:lnTo>
                <a:lnTo>
                  <a:pt x="1585" y="1381"/>
                </a:lnTo>
                <a:lnTo>
                  <a:pt x="1584" y="1380"/>
                </a:lnTo>
                <a:lnTo>
                  <a:pt x="1582" y="1380"/>
                </a:lnTo>
                <a:lnTo>
                  <a:pt x="1581" y="1380"/>
                </a:lnTo>
                <a:lnTo>
                  <a:pt x="1580" y="1379"/>
                </a:lnTo>
                <a:lnTo>
                  <a:pt x="1580" y="1377"/>
                </a:lnTo>
                <a:lnTo>
                  <a:pt x="1581" y="1375"/>
                </a:lnTo>
                <a:lnTo>
                  <a:pt x="1581" y="1373"/>
                </a:lnTo>
                <a:lnTo>
                  <a:pt x="1583" y="1368"/>
                </a:lnTo>
                <a:lnTo>
                  <a:pt x="1590" y="1355"/>
                </a:lnTo>
                <a:lnTo>
                  <a:pt x="1590" y="1352"/>
                </a:lnTo>
                <a:lnTo>
                  <a:pt x="1590" y="1349"/>
                </a:lnTo>
                <a:lnTo>
                  <a:pt x="1590" y="1346"/>
                </a:lnTo>
                <a:lnTo>
                  <a:pt x="1590" y="1344"/>
                </a:lnTo>
                <a:lnTo>
                  <a:pt x="1592" y="1343"/>
                </a:lnTo>
                <a:lnTo>
                  <a:pt x="1594" y="1343"/>
                </a:lnTo>
                <a:lnTo>
                  <a:pt x="1597" y="1344"/>
                </a:lnTo>
                <a:lnTo>
                  <a:pt x="1599" y="1344"/>
                </a:lnTo>
                <a:lnTo>
                  <a:pt x="1600" y="1343"/>
                </a:lnTo>
                <a:lnTo>
                  <a:pt x="1600" y="1342"/>
                </a:lnTo>
                <a:lnTo>
                  <a:pt x="1600" y="1339"/>
                </a:lnTo>
                <a:lnTo>
                  <a:pt x="1601" y="1337"/>
                </a:lnTo>
                <a:lnTo>
                  <a:pt x="1601" y="1336"/>
                </a:lnTo>
                <a:lnTo>
                  <a:pt x="1602" y="1335"/>
                </a:lnTo>
                <a:lnTo>
                  <a:pt x="1606" y="1333"/>
                </a:lnTo>
                <a:lnTo>
                  <a:pt x="1612" y="1331"/>
                </a:lnTo>
                <a:lnTo>
                  <a:pt x="1618" y="1329"/>
                </a:lnTo>
                <a:lnTo>
                  <a:pt x="1620" y="1328"/>
                </a:lnTo>
                <a:lnTo>
                  <a:pt x="1621" y="1327"/>
                </a:lnTo>
                <a:lnTo>
                  <a:pt x="1622" y="1325"/>
                </a:lnTo>
                <a:lnTo>
                  <a:pt x="1622" y="1324"/>
                </a:lnTo>
                <a:lnTo>
                  <a:pt x="1622" y="1321"/>
                </a:lnTo>
                <a:lnTo>
                  <a:pt x="1622" y="1318"/>
                </a:lnTo>
                <a:lnTo>
                  <a:pt x="1623" y="1317"/>
                </a:lnTo>
                <a:lnTo>
                  <a:pt x="1624" y="1315"/>
                </a:lnTo>
                <a:lnTo>
                  <a:pt x="1629" y="1313"/>
                </a:lnTo>
                <a:lnTo>
                  <a:pt x="1634" y="1313"/>
                </a:lnTo>
                <a:lnTo>
                  <a:pt x="1639" y="1312"/>
                </a:lnTo>
                <a:lnTo>
                  <a:pt x="1641" y="1311"/>
                </a:lnTo>
                <a:lnTo>
                  <a:pt x="1644" y="1310"/>
                </a:lnTo>
                <a:lnTo>
                  <a:pt x="1645" y="1308"/>
                </a:lnTo>
                <a:lnTo>
                  <a:pt x="1646" y="1306"/>
                </a:lnTo>
                <a:lnTo>
                  <a:pt x="1648" y="1302"/>
                </a:lnTo>
                <a:lnTo>
                  <a:pt x="1650" y="1297"/>
                </a:lnTo>
                <a:lnTo>
                  <a:pt x="1652" y="1293"/>
                </a:lnTo>
                <a:lnTo>
                  <a:pt x="1654" y="1292"/>
                </a:lnTo>
                <a:lnTo>
                  <a:pt x="1656" y="1292"/>
                </a:lnTo>
                <a:lnTo>
                  <a:pt x="1661" y="1290"/>
                </a:lnTo>
                <a:lnTo>
                  <a:pt x="1655" y="1279"/>
                </a:lnTo>
                <a:lnTo>
                  <a:pt x="1658" y="1278"/>
                </a:lnTo>
                <a:lnTo>
                  <a:pt x="1661" y="1277"/>
                </a:lnTo>
                <a:lnTo>
                  <a:pt x="1664" y="1277"/>
                </a:lnTo>
                <a:lnTo>
                  <a:pt x="1666" y="1276"/>
                </a:lnTo>
                <a:lnTo>
                  <a:pt x="1663" y="1270"/>
                </a:lnTo>
                <a:lnTo>
                  <a:pt x="1664" y="1270"/>
                </a:lnTo>
                <a:lnTo>
                  <a:pt x="1669" y="1269"/>
                </a:lnTo>
                <a:lnTo>
                  <a:pt x="1677" y="1268"/>
                </a:lnTo>
                <a:lnTo>
                  <a:pt x="1683" y="1268"/>
                </a:lnTo>
                <a:lnTo>
                  <a:pt x="1681" y="1266"/>
                </a:lnTo>
                <a:lnTo>
                  <a:pt x="1680" y="1263"/>
                </a:lnTo>
                <a:lnTo>
                  <a:pt x="1677" y="1259"/>
                </a:lnTo>
                <a:lnTo>
                  <a:pt x="1675" y="1259"/>
                </a:lnTo>
                <a:lnTo>
                  <a:pt x="1672" y="1259"/>
                </a:lnTo>
                <a:lnTo>
                  <a:pt x="1666" y="1259"/>
                </a:lnTo>
                <a:lnTo>
                  <a:pt x="1666" y="1254"/>
                </a:lnTo>
                <a:lnTo>
                  <a:pt x="1672" y="1253"/>
                </a:lnTo>
                <a:lnTo>
                  <a:pt x="1675" y="1252"/>
                </a:lnTo>
                <a:lnTo>
                  <a:pt x="1677" y="1251"/>
                </a:lnTo>
                <a:lnTo>
                  <a:pt x="1677" y="1246"/>
                </a:lnTo>
                <a:lnTo>
                  <a:pt x="1677" y="1240"/>
                </a:lnTo>
                <a:lnTo>
                  <a:pt x="1675" y="1239"/>
                </a:lnTo>
                <a:lnTo>
                  <a:pt x="1672" y="1238"/>
                </a:lnTo>
                <a:lnTo>
                  <a:pt x="1669" y="1238"/>
                </a:lnTo>
                <a:lnTo>
                  <a:pt x="1666" y="1237"/>
                </a:lnTo>
                <a:lnTo>
                  <a:pt x="1665" y="1236"/>
                </a:lnTo>
                <a:lnTo>
                  <a:pt x="1664" y="1235"/>
                </a:lnTo>
                <a:lnTo>
                  <a:pt x="1664" y="1233"/>
                </a:lnTo>
                <a:lnTo>
                  <a:pt x="1663" y="1230"/>
                </a:lnTo>
                <a:lnTo>
                  <a:pt x="1662" y="1229"/>
                </a:lnTo>
                <a:lnTo>
                  <a:pt x="1661" y="1228"/>
                </a:lnTo>
                <a:lnTo>
                  <a:pt x="1666" y="1223"/>
                </a:lnTo>
                <a:lnTo>
                  <a:pt x="1669" y="1219"/>
                </a:lnTo>
                <a:lnTo>
                  <a:pt x="1669" y="1218"/>
                </a:lnTo>
                <a:lnTo>
                  <a:pt x="1669" y="1217"/>
                </a:lnTo>
                <a:lnTo>
                  <a:pt x="1666" y="1216"/>
                </a:lnTo>
                <a:lnTo>
                  <a:pt x="1665" y="1216"/>
                </a:lnTo>
                <a:lnTo>
                  <a:pt x="1665" y="1215"/>
                </a:lnTo>
                <a:lnTo>
                  <a:pt x="1665" y="1213"/>
                </a:lnTo>
                <a:lnTo>
                  <a:pt x="1666" y="1211"/>
                </a:lnTo>
                <a:lnTo>
                  <a:pt x="1666" y="1210"/>
                </a:lnTo>
                <a:lnTo>
                  <a:pt x="1666" y="1209"/>
                </a:lnTo>
                <a:lnTo>
                  <a:pt x="1665" y="1207"/>
                </a:lnTo>
                <a:lnTo>
                  <a:pt x="1664" y="1206"/>
                </a:lnTo>
                <a:lnTo>
                  <a:pt x="1661" y="1205"/>
                </a:lnTo>
                <a:lnTo>
                  <a:pt x="1655" y="1203"/>
                </a:lnTo>
                <a:lnTo>
                  <a:pt x="1656" y="1201"/>
                </a:lnTo>
                <a:lnTo>
                  <a:pt x="1656" y="1200"/>
                </a:lnTo>
                <a:lnTo>
                  <a:pt x="1658" y="1200"/>
                </a:lnTo>
                <a:lnTo>
                  <a:pt x="1661" y="1200"/>
                </a:lnTo>
                <a:lnTo>
                  <a:pt x="1661" y="1199"/>
                </a:lnTo>
                <a:lnTo>
                  <a:pt x="1660" y="1197"/>
                </a:lnTo>
                <a:lnTo>
                  <a:pt x="1659" y="1195"/>
                </a:lnTo>
                <a:lnTo>
                  <a:pt x="1658" y="1193"/>
                </a:lnTo>
                <a:lnTo>
                  <a:pt x="1658" y="1192"/>
                </a:lnTo>
                <a:lnTo>
                  <a:pt x="1660" y="1189"/>
                </a:lnTo>
                <a:lnTo>
                  <a:pt x="1662" y="1186"/>
                </a:lnTo>
                <a:lnTo>
                  <a:pt x="1663" y="1184"/>
                </a:lnTo>
                <a:lnTo>
                  <a:pt x="1664" y="1181"/>
                </a:lnTo>
                <a:lnTo>
                  <a:pt x="1665" y="1175"/>
                </a:lnTo>
                <a:lnTo>
                  <a:pt x="1665" y="1171"/>
                </a:lnTo>
                <a:lnTo>
                  <a:pt x="1666" y="1166"/>
                </a:lnTo>
                <a:lnTo>
                  <a:pt x="1669" y="1166"/>
                </a:lnTo>
                <a:lnTo>
                  <a:pt x="1672" y="1166"/>
                </a:lnTo>
                <a:lnTo>
                  <a:pt x="1677" y="1164"/>
                </a:lnTo>
                <a:lnTo>
                  <a:pt x="1678" y="1165"/>
                </a:lnTo>
                <a:lnTo>
                  <a:pt x="1679" y="1167"/>
                </a:lnTo>
                <a:lnTo>
                  <a:pt x="1680" y="1168"/>
                </a:lnTo>
                <a:lnTo>
                  <a:pt x="1681" y="1169"/>
                </a:lnTo>
                <a:lnTo>
                  <a:pt x="1680" y="1169"/>
                </a:lnTo>
                <a:lnTo>
                  <a:pt x="1678" y="1171"/>
                </a:lnTo>
                <a:lnTo>
                  <a:pt x="1677" y="1172"/>
                </a:lnTo>
                <a:lnTo>
                  <a:pt x="1675" y="1177"/>
                </a:lnTo>
                <a:lnTo>
                  <a:pt x="1673" y="1182"/>
                </a:lnTo>
                <a:lnTo>
                  <a:pt x="1672" y="1187"/>
                </a:lnTo>
                <a:lnTo>
                  <a:pt x="1671" y="1196"/>
                </a:lnTo>
                <a:lnTo>
                  <a:pt x="1670" y="1199"/>
                </a:lnTo>
                <a:lnTo>
                  <a:pt x="1670" y="1200"/>
                </a:lnTo>
                <a:lnTo>
                  <a:pt x="1669" y="1200"/>
                </a:lnTo>
                <a:lnTo>
                  <a:pt x="1671" y="1203"/>
                </a:lnTo>
                <a:lnTo>
                  <a:pt x="1672" y="1205"/>
                </a:lnTo>
                <a:lnTo>
                  <a:pt x="1672" y="1206"/>
                </a:lnTo>
                <a:lnTo>
                  <a:pt x="1673" y="1206"/>
                </a:lnTo>
                <a:lnTo>
                  <a:pt x="1674" y="1205"/>
                </a:lnTo>
                <a:lnTo>
                  <a:pt x="1676" y="1204"/>
                </a:lnTo>
                <a:lnTo>
                  <a:pt x="1679" y="1203"/>
                </a:lnTo>
                <a:lnTo>
                  <a:pt x="1681" y="1203"/>
                </a:lnTo>
                <a:lnTo>
                  <a:pt x="1683" y="1203"/>
                </a:lnTo>
                <a:lnTo>
                  <a:pt x="1683" y="1209"/>
                </a:lnTo>
                <a:lnTo>
                  <a:pt x="1687" y="1208"/>
                </a:lnTo>
                <a:lnTo>
                  <a:pt x="1692" y="1209"/>
                </a:lnTo>
                <a:lnTo>
                  <a:pt x="1694" y="1196"/>
                </a:lnTo>
                <a:lnTo>
                  <a:pt x="1697" y="1180"/>
                </a:lnTo>
                <a:lnTo>
                  <a:pt x="1692" y="1180"/>
                </a:lnTo>
                <a:lnTo>
                  <a:pt x="1690" y="1179"/>
                </a:lnTo>
                <a:lnTo>
                  <a:pt x="1689" y="1179"/>
                </a:lnTo>
                <a:lnTo>
                  <a:pt x="1689" y="1178"/>
                </a:lnTo>
                <a:lnTo>
                  <a:pt x="1689" y="1173"/>
                </a:lnTo>
                <a:lnTo>
                  <a:pt x="1689" y="1169"/>
                </a:lnTo>
                <a:lnTo>
                  <a:pt x="1698" y="1170"/>
                </a:lnTo>
                <a:lnTo>
                  <a:pt x="1704" y="1169"/>
                </a:lnTo>
                <a:lnTo>
                  <a:pt x="1709" y="1168"/>
                </a:lnTo>
                <a:lnTo>
                  <a:pt x="1710" y="1167"/>
                </a:lnTo>
                <a:lnTo>
                  <a:pt x="1711" y="1166"/>
                </a:lnTo>
                <a:lnTo>
                  <a:pt x="1714" y="1163"/>
                </a:lnTo>
                <a:lnTo>
                  <a:pt x="1716" y="1159"/>
                </a:lnTo>
                <a:lnTo>
                  <a:pt x="1718" y="1154"/>
                </a:lnTo>
                <a:lnTo>
                  <a:pt x="1722" y="1147"/>
                </a:lnTo>
                <a:lnTo>
                  <a:pt x="1714" y="1141"/>
                </a:lnTo>
                <a:lnTo>
                  <a:pt x="1714" y="1139"/>
                </a:lnTo>
                <a:lnTo>
                  <a:pt x="1714" y="1137"/>
                </a:lnTo>
                <a:lnTo>
                  <a:pt x="1715" y="1136"/>
                </a:lnTo>
                <a:lnTo>
                  <a:pt x="1717" y="1135"/>
                </a:lnTo>
                <a:lnTo>
                  <a:pt x="1717" y="1134"/>
                </a:lnTo>
                <a:lnTo>
                  <a:pt x="1717" y="1133"/>
                </a:lnTo>
                <a:lnTo>
                  <a:pt x="1725" y="1125"/>
                </a:lnTo>
                <a:lnTo>
                  <a:pt x="1729" y="1121"/>
                </a:lnTo>
                <a:lnTo>
                  <a:pt x="1732" y="1119"/>
                </a:lnTo>
                <a:lnTo>
                  <a:pt x="1734" y="1119"/>
                </a:lnTo>
                <a:lnTo>
                  <a:pt x="1736" y="1118"/>
                </a:lnTo>
                <a:lnTo>
                  <a:pt x="1739" y="1119"/>
                </a:lnTo>
                <a:lnTo>
                  <a:pt x="1742" y="1119"/>
                </a:lnTo>
                <a:lnTo>
                  <a:pt x="1745" y="1119"/>
                </a:lnTo>
                <a:lnTo>
                  <a:pt x="1748" y="1113"/>
                </a:lnTo>
                <a:lnTo>
                  <a:pt x="1751" y="1113"/>
                </a:lnTo>
                <a:lnTo>
                  <a:pt x="1753" y="1113"/>
                </a:lnTo>
                <a:lnTo>
                  <a:pt x="1755" y="1114"/>
                </a:lnTo>
                <a:lnTo>
                  <a:pt x="1758" y="1115"/>
                </a:lnTo>
                <a:lnTo>
                  <a:pt x="1760" y="1116"/>
                </a:lnTo>
                <a:lnTo>
                  <a:pt x="1762" y="1116"/>
                </a:lnTo>
                <a:lnTo>
                  <a:pt x="1763" y="1109"/>
                </a:lnTo>
                <a:lnTo>
                  <a:pt x="1765" y="1102"/>
                </a:lnTo>
                <a:lnTo>
                  <a:pt x="1768" y="1103"/>
                </a:lnTo>
                <a:lnTo>
                  <a:pt x="1769" y="1105"/>
                </a:lnTo>
                <a:lnTo>
                  <a:pt x="1769" y="1107"/>
                </a:lnTo>
                <a:lnTo>
                  <a:pt x="1770" y="1110"/>
                </a:lnTo>
                <a:lnTo>
                  <a:pt x="1775" y="1110"/>
                </a:lnTo>
                <a:lnTo>
                  <a:pt x="1777" y="1109"/>
                </a:lnTo>
                <a:lnTo>
                  <a:pt x="1777" y="1108"/>
                </a:lnTo>
                <a:lnTo>
                  <a:pt x="1776" y="1107"/>
                </a:lnTo>
                <a:lnTo>
                  <a:pt x="1779" y="1106"/>
                </a:lnTo>
                <a:lnTo>
                  <a:pt x="1781" y="1105"/>
                </a:lnTo>
                <a:lnTo>
                  <a:pt x="1784" y="1104"/>
                </a:lnTo>
                <a:lnTo>
                  <a:pt x="1778" y="1100"/>
                </a:lnTo>
                <a:lnTo>
                  <a:pt x="1770" y="1096"/>
                </a:lnTo>
                <a:lnTo>
                  <a:pt x="1772" y="1093"/>
                </a:lnTo>
                <a:lnTo>
                  <a:pt x="1775" y="1091"/>
                </a:lnTo>
                <a:lnTo>
                  <a:pt x="1777" y="1089"/>
                </a:lnTo>
                <a:lnTo>
                  <a:pt x="1779" y="1088"/>
                </a:lnTo>
                <a:lnTo>
                  <a:pt x="1779" y="1085"/>
                </a:lnTo>
                <a:lnTo>
                  <a:pt x="1779" y="1084"/>
                </a:lnTo>
                <a:lnTo>
                  <a:pt x="1779" y="1083"/>
                </a:lnTo>
                <a:lnTo>
                  <a:pt x="1778" y="1083"/>
                </a:lnTo>
                <a:lnTo>
                  <a:pt x="1776" y="1082"/>
                </a:lnTo>
                <a:lnTo>
                  <a:pt x="1776" y="1081"/>
                </a:lnTo>
                <a:lnTo>
                  <a:pt x="1776" y="1079"/>
                </a:lnTo>
                <a:lnTo>
                  <a:pt x="1782" y="1076"/>
                </a:lnTo>
                <a:lnTo>
                  <a:pt x="1783" y="1074"/>
                </a:lnTo>
                <a:lnTo>
                  <a:pt x="1784" y="1072"/>
                </a:lnTo>
                <a:lnTo>
                  <a:pt x="1785" y="1067"/>
                </a:lnTo>
                <a:lnTo>
                  <a:pt x="1786" y="1062"/>
                </a:lnTo>
                <a:lnTo>
                  <a:pt x="1786" y="1059"/>
                </a:lnTo>
                <a:lnTo>
                  <a:pt x="1787" y="1057"/>
                </a:lnTo>
                <a:lnTo>
                  <a:pt x="1797" y="1057"/>
                </a:lnTo>
                <a:lnTo>
                  <a:pt x="1801" y="1056"/>
                </a:lnTo>
                <a:lnTo>
                  <a:pt x="1804" y="1055"/>
                </a:lnTo>
                <a:lnTo>
                  <a:pt x="1807" y="1053"/>
                </a:lnTo>
                <a:lnTo>
                  <a:pt x="1809" y="1050"/>
                </a:lnTo>
                <a:lnTo>
                  <a:pt x="1815" y="1040"/>
                </a:lnTo>
                <a:lnTo>
                  <a:pt x="1815" y="1048"/>
                </a:lnTo>
                <a:lnTo>
                  <a:pt x="1824" y="1043"/>
                </a:lnTo>
                <a:lnTo>
                  <a:pt x="1823" y="1043"/>
                </a:lnTo>
                <a:lnTo>
                  <a:pt x="1824" y="1044"/>
                </a:lnTo>
                <a:lnTo>
                  <a:pt x="1826" y="1046"/>
                </a:lnTo>
                <a:lnTo>
                  <a:pt x="1829" y="1048"/>
                </a:lnTo>
                <a:lnTo>
                  <a:pt x="1843" y="1037"/>
                </a:lnTo>
                <a:lnTo>
                  <a:pt x="1840" y="1029"/>
                </a:lnTo>
                <a:lnTo>
                  <a:pt x="1838" y="1020"/>
                </a:lnTo>
                <a:lnTo>
                  <a:pt x="1840" y="1021"/>
                </a:lnTo>
                <a:lnTo>
                  <a:pt x="1842" y="1023"/>
                </a:lnTo>
                <a:lnTo>
                  <a:pt x="1846" y="1026"/>
                </a:lnTo>
                <a:lnTo>
                  <a:pt x="1849" y="1026"/>
                </a:lnTo>
                <a:lnTo>
                  <a:pt x="1851" y="1026"/>
                </a:lnTo>
                <a:lnTo>
                  <a:pt x="1856" y="1025"/>
                </a:lnTo>
                <a:lnTo>
                  <a:pt x="1860" y="1024"/>
                </a:lnTo>
                <a:lnTo>
                  <a:pt x="1862" y="1023"/>
                </a:lnTo>
                <a:lnTo>
                  <a:pt x="1863" y="1023"/>
                </a:lnTo>
                <a:lnTo>
                  <a:pt x="1861" y="1019"/>
                </a:lnTo>
                <a:lnTo>
                  <a:pt x="1860" y="1016"/>
                </a:lnTo>
                <a:lnTo>
                  <a:pt x="1860" y="1015"/>
                </a:lnTo>
                <a:lnTo>
                  <a:pt x="1860" y="1014"/>
                </a:lnTo>
                <a:lnTo>
                  <a:pt x="1861" y="1014"/>
                </a:lnTo>
                <a:lnTo>
                  <a:pt x="1862" y="1014"/>
                </a:lnTo>
                <a:lnTo>
                  <a:pt x="1864" y="1016"/>
                </a:lnTo>
                <a:lnTo>
                  <a:pt x="1866" y="1020"/>
                </a:lnTo>
                <a:lnTo>
                  <a:pt x="1872" y="1015"/>
                </a:lnTo>
                <a:lnTo>
                  <a:pt x="1877" y="1010"/>
                </a:lnTo>
                <a:lnTo>
                  <a:pt x="1879" y="1007"/>
                </a:lnTo>
                <a:lnTo>
                  <a:pt x="1881" y="1004"/>
                </a:lnTo>
                <a:lnTo>
                  <a:pt x="1886" y="998"/>
                </a:lnTo>
                <a:lnTo>
                  <a:pt x="1886" y="1000"/>
                </a:lnTo>
                <a:lnTo>
                  <a:pt x="1886" y="999"/>
                </a:lnTo>
                <a:lnTo>
                  <a:pt x="1887" y="999"/>
                </a:lnTo>
                <a:lnTo>
                  <a:pt x="1888" y="1000"/>
                </a:lnTo>
                <a:lnTo>
                  <a:pt x="1889" y="1000"/>
                </a:lnTo>
                <a:lnTo>
                  <a:pt x="1891" y="1003"/>
                </a:lnTo>
                <a:lnTo>
                  <a:pt x="1886" y="1003"/>
                </a:lnTo>
                <a:lnTo>
                  <a:pt x="1885" y="1008"/>
                </a:lnTo>
                <a:lnTo>
                  <a:pt x="1885" y="1011"/>
                </a:lnTo>
                <a:lnTo>
                  <a:pt x="1884" y="1013"/>
                </a:lnTo>
                <a:lnTo>
                  <a:pt x="1883" y="1017"/>
                </a:lnTo>
                <a:lnTo>
                  <a:pt x="1894" y="1014"/>
                </a:lnTo>
                <a:lnTo>
                  <a:pt x="1905" y="1012"/>
                </a:lnTo>
                <a:lnTo>
                  <a:pt x="1908" y="1014"/>
                </a:lnTo>
                <a:lnTo>
                  <a:pt x="1909" y="1016"/>
                </a:lnTo>
                <a:lnTo>
                  <a:pt x="1909" y="1017"/>
                </a:lnTo>
                <a:lnTo>
                  <a:pt x="1908" y="1017"/>
                </a:lnTo>
                <a:lnTo>
                  <a:pt x="1905" y="1018"/>
                </a:lnTo>
                <a:lnTo>
                  <a:pt x="1904" y="1020"/>
                </a:lnTo>
                <a:lnTo>
                  <a:pt x="1904" y="1022"/>
                </a:lnTo>
                <a:lnTo>
                  <a:pt x="1902" y="1026"/>
                </a:lnTo>
                <a:lnTo>
                  <a:pt x="1893" y="1023"/>
                </a:lnTo>
                <a:lnTo>
                  <a:pt x="1890" y="1023"/>
                </a:lnTo>
                <a:lnTo>
                  <a:pt x="1888" y="1023"/>
                </a:lnTo>
                <a:lnTo>
                  <a:pt x="1883" y="1025"/>
                </a:lnTo>
                <a:lnTo>
                  <a:pt x="1874" y="1029"/>
                </a:lnTo>
                <a:lnTo>
                  <a:pt x="1874" y="1034"/>
                </a:lnTo>
                <a:lnTo>
                  <a:pt x="1870" y="1034"/>
                </a:lnTo>
                <a:lnTo>
                  <a:pt x="1866" y="1034"/>
                </a:lnTo>
                <a:lnTo>
                  <a:pt x="1863" y="1039"/>
                </a:lnTo>
                <a:lnTo>
                  <a:pt x="1861" y="1042"/>
                </a:lnTo>
                <a:lnTo>
                  <a:pt x="1858" y="1045"/>
                </a:lnTo>
                <a:lnTo>
                  <a:pt x="1857" y="1048"/>
                </a:lnTo>
                <a:lnTo>
                  <a:pt x="1857" y="1050"/>
                </a:lnTo>
                <a:lnTo>
                  <a:pt x="1857" y="1051"/>
                </a:lnTo>
                <a:lnTo>
                  <a:pt x="1858" y="1054"/>
                </a:lnTo>
                <a:lnTo>
                  <a:pt x="1862" y="1057"/>
                </a:lnTo>
                <a:lnTo>
                  <a:pt x="1869" y="1059"/>
                </a:lnTo>
                <a:lnTo>
                  <a:pt x="1872" y="1065"/>
                </a:lnTo>
                <a:lnTo>
                  <a:pt x="1874" y="1065"/>
                </a:lnTo>
                <a:lnTo>
                  <a:pt x="1875" y="1065"/>
                </a:lnTo>
                <a:lnTo>
                  <a:pt x="1876" y="1065"/>
                </a:lnTo>
                <a:lnTo>
                  <a:pt x="1877" y="1064"/>
                </a:lnTo>
                <a:lnTo>
                  <a:pt x="1878" y="1062"/>
                </a:lnTo>
                <a:lnTo>
                  <a:pt x="1879" y="1062"/>
                </a:lnTo>
                <a:lnTo>
                  <a:pt x="1880" y="1062"/>
                </a:lnTo>
                <a:lnTo>
                  <a:pt x="1880" y="1063"/>
                </a:lnTo>
                <a:lnTo>
                  <a:pt x="1880" y="1065"/>
                </a:lnTo>
                <a:lnTo>
                  <a:pt x="1881" y="1067"/>
                </a:lnTo>
                <a:lnTo>
                  <a:pt x="1883" y="1068"/>
                </a:lnTo>
                <a:lnTo>
                  <a:pt x="1894" y="1059"/>
                </a:lnTo>
                <a:lnTo>
                  <a:pt x="1895" y="1058"/>
                </a:lnTo>
                <a:lnTo>
                  <a:pt x="1895" y="1056"/>
                </a:lnTo>
                <a:lnTo>
                  <a:pt x="1895" y="1052"/>
                </a:lnTo>
                <a:lnTo>
                  <a:pt x="1895" y="1048"/>
                </a:lnTo>
                <a:lnTo>
                  <a:pt x="1897" y="1045"/>
                </a:lnTo>
                <a:lnTo>
                  <a:pt x="1900" y="1043"/>
                </a:lnTo>
                <a:lnTo>
                  <a:pt x="1901" y="1042"/>
                </a:lnTo>
                <a:lnTo>
                  <a:pt x="1902" y="1042"/>
                </a:lnTo>
                <a:lnTo>
                  <a:pt x="1903" y="1043"/>
                </a:lnTo>
                <a:lnTo>
                  <a:pt x="1903" y="1044"/>
                </a:lnTo>
                <a:lnTo>
                  <a:pt x="1904" y="1045"/>
                </a:lnTo>
                <a:lnTo>
                  <a:pt x="1906" y="1046"/>
                </a:lnTo>
                <a:lnTo>
                  <a:pt x="1907" y="1046"/>
                </a:lnTo>
                <a:lnTo>
                  <a:pt x="1908" y="1045"/>
                </a:lnTo>
                <a:lnTo>
                  <a:pt x="1909" y="1041"/>
                </a:lnTo>
                <a:lnTo>
                  <a:pt x="1910" y="1038"/>
                </a:lnTo>
                <a:lnTo>
                  <a:pt x="1911" y="1037"/>
                </a:lnTo>
                <a:lnTo>
                  <a:pt x="1912" y="1037"/>
                </a:lnTo>
                <a:lnTo>
                  <a:pt x="1914" y="1036"/>
                </a:lnTo>
                <a:lnTo>
                  <a:pt x="1918" y="1037"/>
                </a:lnTo>
                <a:lnTo>
                  <a:pt x="1921" y="1037"/>
                </a:lnTo>
                <a:lnTo>
                  <a:pt x="1925" y="1037"/>
                </a:lnTo>
                <a:lnTo>
                  <a:pt x="1925" y="1034"/>
                </a:lnTo>
                <a:lnTo>
                  <a:pt x="1935" y="1029"/>
                </a:lnTo>
                <a:lnTo>
                  <a:pt x="1939" y="1026"/>
                </a:lnTo>
                <a:lnTo>
                  <a:pt x="1941" y="1025"/>
                </a:lnTo>
                <a:lnTo>
                  <a:pt x="1942" y="1023"/>
                </a:lnTo>
                <a:lnTo>
                  <a:pt x="1942" y="1017"/>
                </a:lnTo>
                <a:lnTo>
                  <a:pt x="1947" y="1017"/>
                </a:lnTo>
                <a:lnTo>
                  <a:pt x="1946" y="1013"/>
                </a:lnTo>
                <a:lnTo>
                  <a:pt x="1945" y="1010"/>
                </a:lnTo>
                <a:lnTo>
                  <a:pt x="1944" y="1006"/>
                </a:lnTo>
                <a:lnTo>
                  <a:pt x="1942" y="1000"/>
                </a:lnTo>
                <a:lnTo>
                  <a:pt x="1936" y="1005"/>
                </a:lnTo>
                <a:lnTo>
                  <a:pt x="1933" y="1007"/>
                </a:lnTo>
                <a:lnTo>
                  <a:pt x="1930" y="1009"/>
                </a:lnTo>
                <a:lnTo>
                  <a:pt x="1927" y="1010"/>
                </a:lnTo>
                <a:lnTo>
                  <a:pt x="1924" y="1011"/>
                </a:lnTo>
                <a:lnTo>
                  <a:pt x="1922" y="1011"/>
                </a:lnTo>
                <a:lnTo>
                  <a:pt x="1920" y="1010"/>
                </a:lnTo>
                <a:lnTo>
                  <a:pt x="1917" y="1009"/>
                </a:lnTo>
                <a:lnTo>
                  <a:pt x="1911" y="1003"/>
                </a:lnTo>
                <a:lnTo>
                  <a:pt x="1907" y="1003"/>
                </a:lnTo>
                <a:lnTo>
                  <a:pt x="1906" y="1005"/>
                </a:lnTo>
                <a:lnTo>
                  <a:pt x="1905" y="1006"/>
                </a:lnTo>
                <a:lnTo>
                  <a:pt x="1904" y="1006"/>
                </a:lnTo>
                <a:lnTo>
                  <a:pt x="1902" y="1006"/>
                </a:lnTo>
                <a:lnTo>
                  <a:pt x="1903" y="1005"/>
                </a:lnTo>
                <a:lnTo>
                  <a:pt x="1902" y="1003"/>
                </a:lnTo>
                <a:lnTo>
                  <a:pt x="1900" y="1000"/>
                </a:lnTo>
                <a:lnTo>
                  <a:pt x="1905" y="1000"/>
                </a:lnTo>
                <a:lnTo>
                  <a:pt x="1905" y="999"/>
                </a:lnTo>
                <a:lnTo>
                  <a:pt x="1906" y="998"/>
                </a:lnTo>
                <a:lnTo>
                  <a:pt x="1908" y="995"/>
                </a:lnTo>
                <a:lnTo>
                  <a:pt x="1898" y="992"/>
                </a:lnTo>
                <a:lnTo>
                  <a:pt x="1893" y="991"/>
                </a:lnTo>
                <a:lnTo>
                  <a:pt x="1888" y="989"/>
                </a:lnTo>
                <a:lnTo>
                  <a:pt x="1889" y="986"/>
                </a:lnTo>
                <a:lnTo>
                  <a:pt x="1890" y="981"/>
                </a:lnTo>
                <a:lnTo>
                  <a:pt x="1890" y="977"/>
                </a:lnTo>
                <a:lnTo>
                  <a:pt x="1889" y="976"/>
                </a:lnTo>
                <a:lnTo>
                  <a:pt x="1888" y="975"/>
                </a:lnTo>
                <a:lnTo>
                  <a:pt x="1890" y="975"/>
                </a:lnTo>
                <a:lnTo>
                  <a:pt x="1891" y="975"/>
                </a:lnTo>
                <a:lnTo>
                  <a:pt x="1891" y="974"/>
                </a:lnTo>
                <a:lnTo>
                  <a:pt x="1891" y="972"/>
                </a:lnTo>
                <a:lnTo>
                  <a:pt x="1891" y="969"/>
                </a:lnTo>
                <a:lnTo>
                  <a:pt x="1887" y="970"/>
                </a:lnTo>
                <a:lnTo>
                  <a:pt x="1885" y="971"/>
                </a:lnTo>
                <a:lnTo>
                  <a:pt x="1885" y="972"/>
                </a:lnTo>
                <a:lnTo>
                  <a:pt x="1886" y="972"/>
                </a:lnTo>
                <a:lnTo>
                  <a:pt x="1883" y="972"/>
                </a:lnTo>
                <a:lnTo>
                  <a:pt x="1886" y="964"/>
                </a:lnTo>
                <a:lnTo>
                  <a:pt x="1886" y="962"/>
                </a:lnTo>
                <a:lnTo>
                  <a:pt x="1886" y="961"/>
                </a:lnTo>
                <a:lnTo>
                  <a:pt x="1888" y="955"/>
                </a:lnTo>
                <a:lnTo>
                  <a:pt x="1890" y="951"/>
                </a:lnTo>
                <a:lnTo>
                  <a:pt x="1890" y="949"/>
                </a:lnTo>
                <a:lnTo>
                  <a:pt x="1889" y="948"/>
                </a:lnTo>
                <a:lnTo>
                  <a:pt x="1888" y="947"/>
                </a:lnTo>
                <a:lnTo>
                  <a:pt x="1883" y="948"/>
                </a:lnTo>
                <a:lnTo>
                  <a:pt x="1872" y="949"/>
                </a:lnTo>
                <a:lnTo>
                  <a:pt x="1864" y="950"/>
                </a:lnTo>
                <a:lnTo>
                  <a:pt x="1863" y="950"/>
                </a:lnTo>
                <a:lnTo>
                  <a:pt x="1866" y="950"/>
                </a:lnTo>
                <a:lnTo>
                  <a:pt x="1863" y="944"/>
                </a:lnTo>
                <a:lnTo>
                  <a:pt x="1860" y="939"/>
                </a:lnTo>
                <a:lnTo>
                  <a:pt x="1862" y="939"/>
                </a:lnTo>
                <a:lnTo>
                  <a:pt x="1864" y="939"/>
                </a:lnTo>
                <a:lnTo>
                  <a:pt x="1865" y="938"/>
                </a:lnTo>
                <a:lnTo>
                  <a:pt x="1865" y="937"/>
                </a:lnTo>
                <a:lnTo>
                  <a:pt x="1866" y="936"/>
                </a:lnTo>
                <a:lnTo>
                  <a:pt x="1867" y="935"/>
                </a:lnTo>
                <a:lnTo>
                  <a:pt x="1869" y="936"/>
                </a:lnTo>
                <a:lnTo>
                  <a:pt x="1874" y="944"/>
                </a:lnTo>
                <a:lnTo>
                  <a:pt x="1876" y="943"/>
                </a:lnTo>
                <a:lnTo>
                  <a:pt x="1877" y="942"/>
                </a:lnTo>
                <a:lnTo>
                  <a:pt x="1883" y="941"/>
                </a:lnTo>
                <a:lnTo>
                  <a:pt x="1884" y="935"/>
                </a:lnTo>
                <a:lnTo>
                  <a:pt x="1885" y="932"/>
                </a:lnTo>
                <a:lnTo>
                  <a:pt x="1885" y="931"/>
                </a:lnTo>
                <a:lnTo>
                  <a:pt x="1886" y="930"/>
                </a:lnTo>
                <a:lnTo>
                  <a:pt x="1890" y="930"/>
                </a:lnTo>
                <a:lnTo>
                  <a:pt x="1894" y="930"/>
                </a:lnTo>
                <a:lnTo>
                  <a:pt x="1895" y="928"/>
                </a:lnTo>
                <a:lnTo>
                  <a:pt x="1895" y="927"/>
                </a:lnTo>
                <a:lnTo>
                  <a:pt x="1894" y="923"/>
                </a:lnTo>
                <a:lnTo>
                  <a:pt x="1893" y="919"/>
                </a:lnTo>
                <a:lnTo>
                  <a:pt x="1893" y="918"/>
                </a:lnTo>
                <a:lnTo>
                  <a:pt x="1894" y="916"/>
                </a:lnTo>
                <a:lnTo>
                  <a:pt x="1895" y="917"/>
                </a:lnTo>
                <a:lnTo>
                  <a:pt x="1896" y="917"/>
                </a:lnTo>
                <a:lnTo>
                  <a:pt x="1897" y="917"/>
                </a:lnTo>
                <a:lnTo>
                  <a:pt x="1898" y="916"/>
                </a:lnTo>
                <a:lnTo>
                  <a:pt x="1900" y="913"/>
                </a:lnTo>
                <a:lnTo>
                  <a:pt x="1894" y="910"/>
                </a:lnTo>
                <a:lnTo>
                  <a:pt x="1892" y="908"/>
                </a:lnTo>
                <a:lnTo>
                  <a:pt x="1891" y="906"/>
                </a:lnTo>
                <a:lnTo>
                  <a:pt x="1891" y="905"/>
                </a:lnTo>
                <a:lnTo>
                  <a:pt x="1891" y="902"/>
                </a:lnTo>
                <a:lnTo>
                  <a:pt x="1886" y="900"/>
                </a:lnTo>
                <a:lnTo>
                  <a:pt x="1881" y="899"/>
                </a:lnTo>
                <a:lnTo>
                  <a:pt x="1876" y="899"/>
                </a:lnTo>
                <a:lnTo>
                  <a:pt x="1871" y="900"/>
                </a:lnTo>
                <a:lnTo>
                  <a:pt x="1867" y="901"/>
                </a:lnTo>
                <a:lnTo>
                  <a:pt x="1863" y="902"/>
                </a:lnTo>
                <a:lnTo>
                  <a:pt x="1855" y="905"/>
                </a:lnTo>
                <a:lnTo>
                  <a:pt x="1849" y="907"/>
                </a:lnTo>
                <a:lnTo>
                  <a:pt x="1843" y="910"/>
                </a:lnTo>
                <a:lnTo>
                  <a:pt x="1834" y="915"/>
                </a:lnTo>
                <a:lnTo>
                  <a:pt x="1825" y="921"/>
                </a:lnTo>
                <a:lnTo>
                  <a:pt x="1817" y="928"/>
                </a:lnTo>
                <a:lnTo>
                  <a:pt x="1809" y="935"/>
                </a:lnTo>
                <a:lnTo>
                  <a:pt x="1794" y="950"/>
                </a:lnTo>
                <a:lnTo>
                  <a:pt x="1782" y="967"/>
                </a:lnTo>
                <a:lnTo>
                  <a:pt x="1786" y="959"/>
                </a:lnTo>
                <a:lnTo>
                  <a:pt x="1790" y="953"/>
                </a:lnTo>
                <a:lnTo>
                  <a:pt x="1793" y="945"/>
                </a:lnTo>
                <a:lnTo>
                  <a:pt x="1796" y="939"/>
                </a:lnTo>
                <a:lnTo>
                  <a:pt x="1793" y="938"/>
                </a:lnTo>
                <a:lnTo>
                  <a:pt x="1791" y="939"/>
                </a:lnTo>
                <a:lnTo>
                  <a:pt x="1790" y="938"/>
                </a:lnTo>
                <a:lnTo>
                  <a:pt x="1789" y="937"/>
                </a:lnTo>
                <a:lnTo>
                  <a:pt x="1790" y="936"/>
                </a:lnTo>
                <a:lnTo>
                  <a:pt x="1791" y="935"/>
                </a:lnTo>
                <a:lnTo>
                  <a:pt x="1791" y="934"/>
                </a:lnTo>
                <a:lnTo>
                  <a:pt x="1794" y="934"/>
                </a:lnTo>
                <a:lnTo>
                  <a:pt x="1796" y="934"/>
                </a:lnTo>
                <a:lnTo>
                  <a:pt x="1798" y="933"/>
                </a:lnTo>
                <a:lnTo>
                  <a:pt x="1800" y="931"/>
                </a:lnTo>
                <a:lnTo>
                  <a:pt x="1802" y="929"/>
                </a:lnTo>
                <a:lnTo>
                  <a:pt x="1804" y="925"/>
                </a:lnTo>
                <a:lnTo>
                  <a:pt x="1807" y="920"/>
                </a:lnTo>
                <a:lnTo>
                  <a:pt x="1810" y="916"/>
                </a:lnTo>
                <a:lnTo>
                  <a:pt x="1811" y="915"/>
                </a:lnTo>
                <a:lnTo>
                  <a:pt x="1814" y="916"/>
                </a:lnTo>
                <a:lnTo>
                  <a:pt x="1816" y="916"/>
                </a:lnTo>
                <a:lnTo>
                  <a:pt x="1818" y="916"/>
                </a:lnTo>
                <a:lnTo>
                  <a:pt x="1819" y="914"/>
                </a:lnTo>
                <a:lnTo>
                  <a:pt x="1818" y="912"/>
                </a:lnTo>
                <a:lnTo>
                  <a:pt x="1818" y="909"/>
                </a:lnTo>
                <a:lnTo>
                  <a:pt x="1818" y="908"/>
                </a:lnTo>
                <a:lnTo>
                  <a:pt x="1819" y="907"/>
                </a:lnTo>
                <a:lnTo>
                  <a:pt x="1820" y="907"/>
                </a:lnTo>
                <a:lnTo>
                  <a:pt x="1822" y="907"/>
                </a:lnTo>
                <a:lnTo>
                  <a:pt x="1824" y="908"/>
                </a:lnTo>
                <a:lnTo>
                  <a:pt x="1827" y="908"/>
                </a:lnTo>
                <a:lnTo>
                  <a:pt x="1841" y="891"/>
                </a:lnTo>
                <a:lnTo>
                  <a:pt x="1843" y="888"/>
                </a:lnTo>
                <a:lnTo>
                  <a:pt x="1846" y="885"/>
                </a:lnTo>
                <a:lnTo>
                  <a:pt x="1850" y="880"/>
                </a:lnTo>
                <a:lnTo>
                  <a:pt x="1852" y="878"/>
                </a:lnTo>
                <a:lnTo>
                  <a:pt x="1854" y="877"/>
                </a:lnTo>
                <a:lnTo>
                  <a:pt x="1855" y="877"/>
                </a:lnTo>
                <a:lnTo>
                  <a:pt x="1863" y="875"/>
                </a:lnTo>
                <a:lnTo>
                  <a:pt x="1872" y="874"/>
                </a:lnTo>
                <a:lnTo>
                  <a:pt x="1881" y="875"/>
                </a:lnTo>
                <a:lnTo>
                  <a:pt x="1889" y="875"/>
                </a:lnTo>
                <a:lnTo>
                  <a:pt x="1905" y="877"/>
                </a:lnTo>
                <a:lnTo>
                  <a:pt x="1911" y="877"/>
                </a:lnTo>
                <a:lnTo>
                  <a:pt x="1917" y="877"/>
                </a:lnTo>
                <a:lnTo>
                  <a:pt x="1918" y="876"/>
                </a:lnTo>
                <a:lnTo>
                  <a:pt x="1918" y="875"/>
                </a:lnTo>
                <a:lnTo>
                  <a:pt x="1920" y="873"/>
                </a:lnTo>
                <a:lnTo>
                  <a:pt x="1921" y="872"/>
                </a:lnTo>
                <a:lnTo>
                  <a:pt x="1923" y="871"/>
                </a:lnTo>
                <a:lnTo>
                  <a:pt x="1925" y="871"/>
                </a:lnTo>
                <a:lnTo>
                  <a:pt x="1928" y="871"/>
                </a:lnTo>
                <a:lnTo>
                  <a:pt x="1929" y="871"/>
                </a:lnTo>
                <a:lnTo>
                  <a:pt x="1929" y="872"/>
                </a:lnTo>
                <a:lnTo>
                  <a:pt x="1930" y="875"/>
                </a:lnTo>
                <a:lnTo>
                  <a:pt x="1932" y="877"/>
                </a:lnTo>
                <a:lnTo>
                  <a:pt x="1934" y="877"/>
                </a:lnTo>
                <a:lnTo>
                  <a:pt x="1936" y="877"/>
                </a:lnTo>
                <a:lnTo>
                  <a:pt x="1937" y="876"/>
                </a:lnTo>
                <a:lnTo>
                  <a:pt x="1937" y="875"/>
                </a:lnTo>
                <a:lnTo>
                  <a:pt x="1938" y="873"/>
                </a:lnTo>
                <a:lnTo>
                  <a:pt x="1939" y="871"/>
                </a:lnTo>
                <a:lnTo>
                  <a:pt x="1940" y="871"/>
                </a:lnTo>
                <a:lnTo>
                  <a:pt x="1942" y="871"/>
                </a:lnTo>
                <a:lnTo>
                  <a:pt x="1943" y="872"/>
                </a:lnTo>
                <a:lnTo>
                  <a:pt x="1945" y="875"/>
                </a:lnTo>
                <a:lnTo>
                  <a:pt x="1947" y="879"/>
                </a:lnTo>
                <a:lnTo>
                  <a:pt x="1956" y="879"/>
                </a:lnTo>
                <a:lnTo>
                  <a:pt x="1956" y="874"/>
                </a:lnTo>
                <a:lnTo>
                  <a:pt x="1958" y="874"/>
                </a:lnTo>
                <a:lnTo>
                  <a:pt x="1960" y="874"/>
                </a:lnTo>
                <a:lnTo>
                  <a:pt x="1963" y="876"/>
                </a:lnTo>
                <a:lnTo>
                  <a:pt x="1964" y="877"/>
                </a:lnTo>
                <a:lnTo>
                  <a:pt x="1965" y="877"/>
                </a:lnTo>
                <a:lnTo>
                  <a:pt x="1967" y="877"/>
                </a:lnTo>
                <a:lnTo>
                  <a:pt x="1970" y="877"/>
                </a:lnTo>
                <a:lnTo>
                  <a:pt x="1970" y="871"/>
                </a:lnTo>
                <a:lnTo>
                  <a:pt x="1971" y="871"/>
                </a:lnTo>
                <a:lnTo>
                  <a:pt x="1973" y="870"/>
                </a:lnTo>
                <a:lnTo>
                  <a:pt x="1976" y="871"/>
                </a:lnTo>
                <a:lnTo>
                  <a:pt x="1979" y="871"/>
                </a:lnTo>
                <a:lnTo>
                  <a:pt x="1981" y="871"/>
                </a:lnTo>
                <a:lnTo>
                  <a:pt x="1982" y="870"/>
                </a:lnTo>
                <a:lnTo>
                  <a:pt x="1983" y="869"/>
                </a:lnTo>
                <a:lnTo>
                  <a:pt x="1983" y="867"/>
                </a:lnTo>
                <a:lnTo>
                  <a:pt x="1983" y="863"/>
                </a:lnTo>
                <a:lnTo>
                  <a:pt x="1983" y="862"/>
                </a:lnTo>
                <a:lnTo>
                  <a:pt x="1984" y="862"/>
                </a:lnTo>
                <a:lnTo>
                  <a:pt x="1986" y="861"/>
                </a:lnTo>
                <a:lnTo>
                  <a:pt x="1987" y="860"/>
                </a:lnTo>
                <a:lnTo>
                  <a:pt x="1991" y="859"/>
                </a:lnTo>
                <a:lnTo>
                  <a:pt x="1995" y="858"/>
                </a:lnTo>
                <a:lnTo>
                  <a:pt x="1997" y="857"/>
                </a:lnTo>
                <a:lnTo>
                  <a:pt x="1998" y="856"/>
                </a:lnTo>
                <a:lnTo>
                  <a:pt x="1998" y="853"/>
                </a:lnTo>
                <a:lnTo>
                  <a:pt x="1998" y="848"/>
                </a:lnTo>
                <a:lnTo>
                  <a:pt x="1998" y="846"/>
                </a:lnTo>
                <a:lnTo>
                  <a:pt x="1998" y="843"/>
                </a:lnTo>
                <a:lnTo>
                  <a:pt x="1999" y="841"/>
                </a:lnTo>
                <a:lnTo>
                  <a:pt x="2001" y="839"/>
                </a:lnTo>
                <a:lnTo>
                  <a:pt x="2006" y="837"/>
                </a:lnTo>
                <a:lnTo>
                  <a:pt x="2013" y="835"/>
                </a:lnTo>
                <a:lnTo>
                  <a:pt x="2021" y="832"/>
                </a:lnTo>
                <a:lnTo>
                  <a:pt x="2026" y="831"/>
                </a:lnTo>
                <a:lnTo>
                  <a:pt x="2025" y="831"/>
                </a:lnTo>
                <a:lnTo>
                  <a:pt x="2025" y="832"/>
                </a:lnTo>
                <a:lnTo>
                  <a:pt x="2026" y="833"/>
                </a:lnTo>
                <a:lnTo>
                  <a:pt x="2027" y="833"/>
                </a:lnTo>
                <a:lnTo>
                  <a:pt x="2030" y="833"/>
                </a:lnTo>
                <a:lnTo>
                  <a:pt x="2032" y="833"/>
                </a:lnTo>
                <a:lnTo>
                  <a:pt x="2036" y="830"/>
                </a:lnTo>
                <a:lnTo>
                  <a:pt x="2044" y="824"/>
                </a:lnTo>
                <a:lnTo>
                  <a:pt x="2051" y="818"/>
                </a:lnTo>
                <a:lnTo>
                  <a:pt x="2053" y="815"/>
                </a:lnTo>
                <a:lnTo>
                  <a:pt x="2054" y="814"/>
                </a:lnTo>
                <a:lnTo>
                  <a:pt x="2052" y="786"/>
                </a:lnTo>
                <a:lnTo>
                  <a:pt x="2051" y="785"/>
                </a:lnTo>
                <a:lnTo>
                  <a:pt x="2050" y="786"/>
                </a:lnTo>
                <a:lnTo>
                  <a:pt x="2048" y="787"/>
                </a:lnTo>
                <a:lnTo>
                  <a:pt x="2046" y="788"/>
                </a:lnTo>
                <a:lnTo>
                  <a:pt x="2045" y="789"/>
                </a:lnTo>
                <a:lnTo>
                  <a:pt x="2043" y="788"/>
                </a:lnTo>
                <a:lnTo>
                  <a:pt x="2041" y="788"/>
                </a:lnTo>
                <a:lnTo>
                  <a:pt x="2040" y="787"/>
                </a:lnTo>
                <a:lnTo>
                  <a:pt x="2037" y="785"/>
                </a:lnTo>
                <a:lnTo>
                  <a:pt x="2032" y="779"/>
                </a:lnTo>
                <a:lnTo>
                  <a:pt x="2029" y="777"/>
                </a:lnTo>
                <a:lnTo>
                  <a:pt x="2027" y="776"/>
                </a:lnTo>
                <a:lnTo>
                  <a:pt x="2025" y="775"/>
                </a:lnTo>
                <a:lnTo>
                  <a:pt x="2020" y="774"/>
                </a:lnTo>
                <a:lnTo>
                  <a:pt x="2016" y="774"/>
                </a:lnTo>
                <a:lnTo>
                  <a:pt x="2012" y="774"/>
                </a:lnTo>
                <a:lnTo>
                  <a:pt x="2012" y="775"/>
                </a:lnTo>
                <a:lnTo>
                  <a:pt x="2013" y="777"/>
                </a:lnTo>
                <a:lnTo>
                  <a:pt x="2015" y="780"/>
                </a:lnTo>
                <a:lnTo>
                  <a:pt x="2007" y="781"/>
                </a:lnTo>
                <a:lnTo>
                  <a:pt x="2001" y="783"/>
                </a:lnTo>
                <a:lnTo>
                  <a:pt x="1989" y="788"/>
                </a:lnTo>
                <a:lnTo>
                  <a:pt x="1976" y="794"/>
                </a:lnTo>
                <a:lnTo>
                  <a:pt x="1976" y="800"/>
                </a:lnTo>
                <a:lnTo>
                  <a:pt x="1972" y="800"/>
                </a:lnTo>
                <a:lnTo>
                  <a:pt x="1970" y="799"/>
                </a:lnTo>
                <a:lnTo>
                  <a:pt x="1969" y="798"/>
                </a:lnTo>
                <a:lnTo>
                  <a:pt x="1969" y="796"/>
                </a:lnTo>
                <a:lnTo>
                  <a:pt x="1969" y="792"/>
                </a:lnTo>
                <a:lnTo>
                  <a:pt x="1968" y="790"/>
                </a:lnTo>
                <a:lnTo>
                  <a:pt x="1967" y="788"/>
                </a:lnTo>
                <a:lnTo>
                  <a:pt x="1969" y="788"/>
                </a:lnTo>
                <a:lnTo>
                  <a:pt x="1971" y="788"/>
                </a:lnTo>
                <a:lnTo>
                  <a:pt x="1976" y="788"/>
                </a:lnTo>
                <a:lnTo>
                  <a:pt x="1980" y="789"/>
                </a:lnTo>
                <a:lnTo>
                  <a:pt x="1982" y="789"/>
                </a:lnTo>
                <a:lnTo>
                  <a:pt x="1984" y="788"/>
                </a:lnTo>
                <a:lnTo>
                  <a:pt x="1986" y="787"/>
                </a:lnTo>
                <a:lnTo>
                  <a:pt x="1988" y="786"/>
                </a:lnTo>
                <a:lnTo>
                  <a:pt x="1992" y="782"/>
                </a:lnTo>
                <a:lnTo>
                  <a:pt x="1997" y="777"/>
                </a:lnTo>
                <a:lnTo>
                  <a:pt x="2001" y="774"/>
                </a:lnTo>
                <a:lnTo>
                  <a:pt x="2003" y="774"/>
                </a:lnTo>
                <a:lnTo>
                  <a:pt x="2005" y="773"/>
                </a:lnTo>
                <a:lnTo>
                  <a:pt x="2009" y="773"/>
                </a:lnTo>
                <a:lnTo>
                  <a:pt x="2014" y="773"/>
                </a:lnTo>
                <a:lnTo>
                  <a:pt x="2016" y="772"/>
                </a:lnTo>
                <a:lnTo>
                  <a:pt x="2018" y="772"/>
                </a:lnTo>
                <a:lnTo>
                  <a:pt x="2019" y="771"/>
                </a:lnTo>
                <a:lnTo>
                  <a:pt x="2020" y="769"/>
                </a:lnTo>
                <a:lnTo>
                  <a:pt x="2022" y="766"/>
                </a:lnTo>
                <a:lnTo>
                  <a:pt x="2024" y="763"/>
                </a:lnTo>
                <a:lnTo>
                  <a:pt x="2026" y="760"/>
                </a:lnTo>
                <a:lnTo>
                  <a:pt x="2025" y="760"/>
                </a:lnTo>
                <a:lnTo>
                  <a:pt x="2023" y="761"/>
                </a:lnTo>
                <a:lnTo>
                  <a:pt x="2018" y="763"/>
                </a:lnTo>
                <a:lnTo>
                  <a:pt x="2015" y="757"/>
                </a:lnTo>
                <a:lnTo>
                  <a:pt x="2017" y="757"/>
                </a:lnTo>
                <a:lnTo>
                  <a:pt x="2018" y="756"/>
                </a:lnTo>
                <a:lnTo>
                  <a:pt x="2017" y="755"/>
                </a:lnTo>
                <a:lnTo>
                  <a:pt x="2017" y="754"/>
                </a:lnTo>
                <a:lnTo>
                  <a:pt x="2014" y="753"/>
                </a:lnTo>
                <a:lnTo>
                  <a:pt x="2012" y="752"/>
                </a:lnTo>
                <a:lnTo>
                  <a:pt x="2012" y="753"/>
                </a:lnTo>
                <a:lnTo>
                  <a:pt x="2012" y="755"/>
                </a:lnTo>
                <a:lnTo>
                  <a:pt x="2011" y="756"/>
                </a:lnTo>
                <a:lnTo>
                  <a:pt x="2010" y="757"/>
                </a:lnTo>
                <a:lnTo>
                  <a:pt x="2009" y="758"/>
                </a:lnTo>
                <a:lnTo>
                  <a:pt x="2007" y="757"/>
                </a:lnTo>
                <a:lnTo>
                  <a:pt x="2003" y="756"/>
                </a:lnTo>
                <a:lnTo>
                  <a:pt x="2001" y="755"/>
                </a:lnTo>
                <a:lnTo>
                  <a:pt x="2000" y="754"/>
                </a:lnTo>
                <a:lnTo>
                  <a:pt x="2000" y="752"/>
                </a:lnTo>
                <a:lnTo>
                  <a:pt x="2000" y="748"/>
                </a:lnTo>
                <a:lnTo>
                  <a:pt x="1999" y="746"/>
                </a:lnTo>
                <a:lnTo>
                  <a:pt x="1998" y="743"/>
                </a:lnTo>
                <a:lnTo>
                  <a:pt x="1990" y="746"/>
                </a:lnTo>
                <a:lnTo>
                  <a:pt x="1985" y="747"/>
                </a:lnTo>
                <a:lnTo>
                  <a:pt x="1982" y="746"/>
                </a:lnTo>
                <a:lnTo>
                  <a:pt x="1978" y="746"/>
                </a:lnTo>
                <a:lnTo>
                  <a:pt x="1967" y="743"/>
                </a:lnTo>
                <a:lnTo>
                  <a:pt x="1967" y="740"/>
                </a:lnTo>
                <a:lnTo>
                  <a:pt x="1968" y="737"/>
                </a:lnTo>
                <a:lnTo>
                  <a:pt x="1969" y="734"/>
                </a:lnTo>
                <a:lnTo>
                  <a:pt x="1968" y="732"/>
                </a:lnTo>
                <a:lnTo>
                  <a:pt x="1967" y="729"/>
                </a:lnTo>
                <a:lnTo>
                  <a:pt x="1964" y="729"/>
                </a:lnTo>
                <a:lnTo>
                  <a:pt x="1963" y="728"/>
                </a:lnTo>
                <a:lnTo>
                  <a:pt x="1960" y="725"/>
                </a:lnTo>
                <a:lnTo>
                  <a:pt x="1958" y="722"/>
                </a:lnTo>
                <a:lnTo>
                  <a:pt x="1956" y="721"/>
                </a:lnTo>
                <a:lnTo>
                  <a:pt x="1954" y="721"/>
                </a:lnTo>
                <a:lnTo>
                  <a:pt x="1952" y="721"/>
                </a:lnTo>
                <a:lnTo>
                  <a:pt x="1949" y="721"/>
                </a:lnTo>
                <a:lnTo>
                  <a:pt x="1947" y="721"/>
                </a:lnTo>
                <a:lnTo>
                  <a:pt x="1942" y="707"/>
                </a:lnTo>
                <a:lnTo>
                  <a:pt x="1939" y="709"/>
                </a:lnTo>
                <a:lnTo>
                  <a:pt x="1937" y="710"/>
                </a:lnTo>
                <a:lnTo>
                  <a:pt x="1936" y="710"/>
                </a:lnTo>
                <a:lnTo>
                  <a:pt x="1939" y="698"/>
                </a:lnTo>
                <a:lnTo>
                  <a:pt x="1937" y="699"/>
                </a:lnTo>
                <a:lnTo>
                  <a:pt x="1936" y="699"/>
                </a:lnTo>
                <a:lnTo>
                  <a:pt x="1935" y="698"/>
                </a:lnTo>
                <a:lnTo>
                  <a:pt x="1933" y="696"/>
                </a:lnTo>
                <a:lnTo>
                  <a:pt x="1945" y="695"/>
                </a:lnTo>
                <a:lnTo>
                  <a:pt x="1953" y="696"/>
                </a:lnTo>
                <a:lnTo>
                  <a:pt x="1953" y="691"/>
                </a:lnTo>
                <a:lnTo>
                  <a:pt x="1953" y="687"/>
                </a:lnTo>
                <a:lnTo>
                  <a:pt x="1950" y="686"/>
                </a:lnTo>
                <a:lnTo>
                  <a:pt x="1946" y="684"/>
                </a:lnTo>
                <a:lnTo>
                  <a:pt x="1939" y="681"/>
                </a:lnTo>
                <a:lnTo>
                  <a:pt x="1940" y="675"/>
                </a:lnTo>
                <a:lnTo>
                  <a:pt x="1940" y="671"/>
                </a:lnTo>
                <a:lnTo>
                  <a:pt x="1939" y="669"/>
                </a:lnTo>
                <a:lnTo>
                  <a:pt x="1939" y="667"/>
                </a:lnTo>
                <a:lnTo>
                  <a:pt x="1936" y="667"/>
                </a:lnTo>
                <a:lnTo>
                  <a:pt x="1934" y="667"/>
                </a:lnTo>
                <a:lnTo>
                  <a:pt x="1933" y="666"/>
                </a:lnTo>
                <a:lnTo>
                  <a:pt x="1930" y="663"/>
                </a:lnTo>
                <a:lnTo>
                  <a:pt x="1925" y="656"/>
                </a:lnTo>
                <a:lnTo>
                  <a:pt x="1927" y="651"/>
                </a:lnTo>
                <a:lnTo>
                  <a:pt x="1928" y="648"/>
                </a:lnTo>
                <a:lnTo>
                  <a:pt x="1918" y="648"/>
                </a:lnTo>
                <a:lnTo>
                  <a:pt x="1908" y="648"/>
                </a:lnTo>
                <a:lnTo>
                  <a:pt x="1915" y="644"/>
                </a:lnTo>
                <a:lnTo>
                  <a:pt x="1922" y="639"/>
                </a:lnTo>
                <a:lnTo>
                  <a:pt x="1914" y="622"/>
                </a:lnTo>
                <a:lnTo>
                  <a:pt x="1908" y="623"/>
                </a:lnTo>
                <a:lnTo>
                  <a:pt x="1905" y="623"/>
                </a:lnTo>
                <a:lnTo>
                  <a:pt x="1902" y="622"/>
                </a:lnTo>
                <a:lnTo>
                  <a:pt x="1901" y="621"/>
                </a:lnTo>
                <a:lnTo>
                  <a:pt x="1902" y="620"/>
                </a:lnTo>
                <a:lnTo>
                  <a:pt x="1902" y="618"/>
                </a:lnTo>
                <a:lnTo>
                  <a:pt x="1900" y="617"/>
                </a:lnTo>
                <a:lnTo>
                  <a:pt x="1900" y="608"/>
                </a:lnTo>
                <a:lnTo>
                  <a:pt x="1899" y="606"/>
                </a:lnTo>
                <a:lnTo>
                  <a:pt x="1899" y="603"/>
                </a:lnTo>
                <a:lnTo>
                  <a:pt x="1900" y="594"/>
                </a:lnTo>
                <a:lnTo>
                  <a:pt x="1894" y="591"/>
                </a:lnTo>
                <a:lnTo>
                  <a:pt x="1894" y="588"/>
                </a:lnTo>
                <a:lnTo>
                  <a:pt x="1895" y="585"/>
                </a:lnTo>
                <a:lnTo>
                  <a:pt x="1896" y="582"/>
                </a:lnTo>
                <a:lnTo>
                  <a:pt x="1897" y="580"/>
                </a:lnTo>
                <a:lnTo>
                  <a:pt x="1893" y="580"/>
                </a:lnTo>
                <a:lnTo>
                  <a:pt x="1888" y="580"/>
                </a:lnTo>
                <a:lnTo>
                  <a:pt x="1880" y="599"/>
                </a:lnTo>
                <a:lnTo>
                  <a:pt x="1877" y="607"/>
                </a:lnTo>
                <a:lnTo>
                  <a:pt x="1875" y="611"/>
                </a:lnTo>
                <a:lnTo>
                  <a:pt x="1874" y="617"/>
                </a:lnTo>
                <a:lnTo>
                  <a:pt x="1873" y="617"/>
                </a:lnTo>
                <a:lnTo>
                  <a:pt x="1872" y="616"/>
                </a:lnTo>
                <a:lnTo>
                  <a:pt x="1871" y="615"/>
                </a:lnTo>
                <a:lnTo>
                  <a:pt x="1871" y="614"/>
                </a:lnTo>
                <a:lnTo>
                  <a:pt x="1872" y="611"/>
                </a:lnTo>
                <a:lnTo>
                  <a:pt x="1872" y="608"/>
                </a:lnTo>
                <a:lnTo>
                  <a:pt x="1870" y="610"/>
                </a:lnTo>
                <a:lnTo>
                  <a:pt x="1867" y="611"/>
                </a:lnTo>
                <a:lnTo>
                  <a:pt x="1865" y="613"/>
                </a:lnTo>
                <a:lnTo>
                  <a:pt x="1863" y="614"/>
                </a:lnTo>
                <a:lnTo>
                  <a:pt x="1863" y="616"/>
                </a:lnTo>
                <a:lnTo>
                  <a:pt x="1863" y="618"/>
                </a:lnTo>
                <a:lnTo>
                  <a:pt x="1864" y="621"/>
                </a:lnTo>
                <a:lnTo>
                  <a:pt x="1863" y="622"/>
                </a:lnTo>
                <a:lnTo>
                  <a:pt x="1860" y="620"/>
                </a:lnTo>
                <a:lnTo>
                  <a:pt x="1859" y="619"/>
                </a:lnTo>
                <a:lnTo>
                  <a:pt x="1858" y="619"/>
                </a:lnTo>
                <a:lnTo>
                  <a:pt x="1857" y="620"/>
                </a:lnTo>
                <a:lnTo>
                  <a:pt x="1856" y="622"/>
                </a:lnTo>
                <a:lnTo>
                  <a:pt x="1856" y="625"/>
                </a:lnTo>
                <a:lnTo>
                  <a:pt x="1856" y="628"/>
                </a:lnTo>
                <a:lnTo>
                  <a:pt x="1855" y="631"/>
                </a:lnTo>
                <a:lnTo>
                  <a:pt x="1852" y="633"/>
                </a:lnTo>
                <a:lnTo>
                  <a:pt x="1848" y="635"/>
                </a:lnTo>
                <a:lnTo>
                  <a:pt x="1841" y="639"/>
                </a:lnTo>
                <a:lnTo>
                  <a:pt x="1837" y="637"/>
                </a:lnTo>
                <a:lnTo>
                  <a:pt x="1835" y="634"/>
                </a:lnTo>
                <a:lnTo>
                  <a:pt x="1829" y="628"/>
                </a:lnTo>
                <a:lnTo>
                  <a:pt x="1828" y="630"/>
                </a:lnTo>
                <a:lnTo>
                  <a:pt x="1826" y="632"/>
                </a:lnTo>
                <a:lnTo>
                  <a:pt x="1824" y="634"/>
                </a:lnTo>
                <a:lnTo>
                  <a:pt x="1823" y="634"/>
                </a:lnTo>
                <a:lnTo>
                  <a:pt x="1821" y="634"/>
                </a:lnTo>
                <a:lnTo>
                  <a:pt x="1820" y="631"/>
                </a:lnTo>
                <a:lnTo>
                  <a:pt x="1819" y="627"/>
                </a:lnTo>
                <a:lnTo>
                  <a:pt x="1818" y="620"/>
                </a:lnTo>
                <a:lnTo>
                  <a:pt x="1809" y="619"/>
                </a:lnTo>
                <a:lnTo>
                  <a:pt x="1805" y="619"/>
                </a:lnTo>
                <a:lnTo>
                  <a:pt x="1801" y="617"/>
                </a:lnTo>
                <a:lnTo>
                  <a:pt x="1793" y="614"/>
                </a:lnTo>
                <a:lnTo>
                  <a:pt x="1793" y="605"/>
                </a:lnTo>
                <a:lnTo>
                  <a:pt x="1793" y="598"/>
                </a:lnTo>
                <a:lnTo>
                  <a:pt x="1792" y="592"/>
                </a:lnTo>
                <a:lnTo>
                  <a:pt x="1790" y="583"/>
                </a:lnTo>
                <a:lnTo>
                  <a:pt x="1795" y="582"/>
                </a:lnTo>
                <a:lnTo>
                  <a:pt x="1797" y="582"/>
                </a:lnTo>
                <a:lnTo>
                  <a:pt x="1798" y="580"/>
                </a:lnTo>
                <a:lnTo>
                  <a:pt x="1798" y="578"/>
                </a:lnTo>
                <a:lnTo>
                  <a:pt x="1798" y="577"/>
                </a:lnTo>
                <a:lnTo>
                  <a:pt x="1797" y="577"/>
                </a:lnTo>
                <a:lnTo>
                  <a:pt x="1795" y="577"/>
                </a:lnTo>
                <a:lnTo>
                  <a:pt x="1793" y="577"/>
                </a:lnTo>
                <a:lnTo>
                  <a:pt x="1798" y="568"/>
                </a:lnTo>
                <a:lnTo>
                  <a:pt x="1804" y="558"/>
                </a:lnTo>
                <a:lnTo>
                  <a:pt x="1801" y="559"/>
                </a:lnTo>
                <a:lnTo>
                  <a:pt x="1798" y="561"/>
                </a:lnTo>
                <a:lnTo>
                  <a:pt x="1797" y="562"/>
                </a:lnTo>
                <a:lnTo>
                  <a:pt x="1796" y="563"/>
                </a:lnTo>
                <a:lnTo>
                  <a:pt x="1793" y="563"/>
                </a:lnTo>
                <a:lnTo>
                  <a:pt x="1790" y="562"/>
                </a:lnTo>
                <a:lnTo>
                  <a:pt x="1786" y="561"/>
                </a:lnTo>
                <a:lnTo>
                  <a:pt x="1784" y="560"/>
                </a:lnTo>
                <a:lnTo>
                  <a:pt x="1782" y="561"/>
                </a:lnTo>
                <a:lnTo>
                  <a:pt x="1782" y="558"/>
                </a:lnTo>
                <a:lnTo>
                  <a:pt x="1781" y="556"/>
                </a:lnTo>
                <a:lnTo>
                  <a:pt x="1782" y="555"/>
                </a:lnTo>
                <a:lnTo>
                  <a:pt x="1783" y="555"/>
                </a:lnTo>
                <a:lnTo>
                  <a:pt x="1784" y="555"/>
                </a:lnTo>
                <a:lnTo>
                  <a:pt x="1786" y="552"/>
                </a:lnTo>
                <a:lnTo>
                  <a:pt x="1787" y="550"/>
                </a:lnTo>
                <a:lnTo>
                  <a:pt x="1787" y="549"/>
                </a:lnTo>
                <a:lnTo>
                  <a:pt x="1784" y="549"/>
                </a:lnTo>
                <a:lnTo>
                  <a:pt x="1781" y="549"/>
                </a:lnTo>
                <a:lnTo>
                  <a:pt x="1773" y="549"/>
                </a:lnTo>
                <a:lnTo>
                  <a:pt x="1765" y="550"/>
                </a:lnTo>
                <a:lnTo>
                  <a:pt x="1762" y="550"/>
                </a:lnTo>
                <a:lnTo>
                  <a:pt x="1759" y="549"/>
                </a:lnTo>
                <a:lnTo>
                  <a:pt x="1759" y="545"/>
                </a:lnTo>
                <a:lnTo>
                  <a:pt x="1759" y="541"/>
                </a:lnTo>
                <a:lnTo>
                  <a:pt x="1753" y="541"/>
                </a:lnTo>
                <a:lnTo>
                  <a:pt x="1753" y="535"/>
                </a:lnTo>
                <a:lnTo>
                  <a:pt x="1753" y="534"/>
                </a:lnTo>
                <a:lnTo>
                  <a:pt x="1752" y="532"/>
                </a:lnTo>
                <a:lnTo>
                  <a:pt x="1749" y="529"/>
                </a:lnTo>
                <a:lnTo>
                  <a:pt x="1745" y="526"/>
                </a:lnTo>
                <a:lnTo>
                  <a:pt x="1741" y="523"/>
                </a:lnTo>
                <a:lnTo>
                  <a:pt x="1732" y="517"/>
                </a:lnTo>
                <a:lnTo>
                  <a:pt x="1725" y="513"/>
                </a:lnTo>
                <a:lnTo>
                  <a:pt x="1723" y="514"/>
                </a:lnTo>
                <a:lnTo>
                  <a:pt x="1720" y="514"/>
                </a:lnTo>
                <a:lnTo>
                  <a:pt x="1717" y="515"/>
                </a:lnTo>
                <a:lnTo>
                  <a:pt x="1714" y="515"/>
                </a:lnTo>
                <a:lnTo>
                  <a:pt x="1713" y="517"/>
                </a:lnTo>
                <a:lnTo>
                  <a:pt x="1711" y="520"/>
                </a:lnTo>
                <a:lnTo>
                  <a:pt x="1710" y="522"/>
                </a:lnTo>
                <a:lnTo>
                  <a:pt x="1708" y="524"/>
                </a:lnTo>
                <a:lnTo>
                  <a:pt x="1707" y="524"/>
                </a:lnTo>
                <a:lnTo>
                  <a:pt x="1705" y="524"/>
                </a:lnTo>
                <a:lnTo>
                  <a:pt x="1701" y="524"/>
                </a:lnTo>
                <a:lnTo>
                  <a:pt x="1698" y="523"/>
                </a:lnTo>
                <a:lnTo>
                  <a:pt x="1696" y="523"/>
                </a:lnTo>
                <a:lnTo>
                  <a:pt x="1694" y="524"/>
                </a:lnTo>
                <a:lnTo>
                  <a:pt x="1694" y="530"/>
                </a:lnTo>
                <a:lnTo>
                  <a:pt x="1691" y="530"/>
                </a:lnTo>
                <a:lnTo>
                  <a:pt x="1687" y="530"/>
                </a:lnTo>
                <a:lnTo>
                  <a:pt x="1683" y="529"/>
                </a:lnTo>
                <a:lnTo>
                  <a:pt x="1679" y="528"/>
                </a:lnTo>
                <a:lnTo>
                  <a:pt x="1671" y="526"/>
                </a:lnTo>
                <a:lnTo>
                  <a:pt x="1663" y="524"/>
                </a:lnTo>
                <a:lnTo>
                  <a:pt x="1657" y="524"/>
                </a:lnTo>
                <a:lnTo>
                  <a:pt x="1653" y="525"/>
                </a:lnTo>
                <a:lnTo>
                  <a:pt x="1648" y="526"/>
                </a:lnTo>
                <a:lnTo>
                  <a:pt x="1644" y="527"/>
                </a:lnTo>
                <a:lnTo>
                  <a:pt x="1641" y="535"/>
                </a:lnTo>
                <a:lnTo>
                  <a:pt x="1644" y="536"/>
                </a:lnTo>
                <a:lnTo>
                  <a:pt x="1646" y="537"/>
                </a:lnTo>
                <a:lnTo>
                  <a:pt x="1652" y="538"/>
                </a:lnTo>
                <a:lnTo>
                  <a:pt x="1652" y="544"/>
                </a:lnTo>
                <a:lnTo>
                  <a:pt x="1647" y="544"/>
                </a:lnTo>
                <a:lnTo>
                  <a:pt x="1646" y="545"/>
                </a:lnTo>
                <a:lnTo>
                  <a:pt x="1646" y="546"/>
                </a:lnTo>
                <a:lnTo>
                  <a:pt x="1648" y="547"/>
                </a:lnTo>
                <a:lnTo>
                  <a:pt x="1649" y="548"/>
                </a:lnTo>
                <a:lnTo>
                  <a:pt x="1650" y="550"/>
                </a:lnTo>
                <a:lnTo>
                  <a:pt x="1649" y="552"/>
                </a:lnTo>
                <a:lnTo>
                  <a:pt x="1646" y="557"/>
                </a:lnTo>
                <a:lnTo>
                  <a:pt x="1643" y="560"/>
                </a:lnTo>
                <a:lnTo>
                  <a:pt x="1641" y="563"/>
                </a:lnTo>
                <a:lnTo>
                  <a:pt x="1639" y="563"/>
                </a:lnTo>
                <a:lnTo>
                  <a:pt x="1638" y="564"/>
                </a:lnTo>
                <a:lnTo>
                  <a:pt x="1639" y="565"/>
                </a:lnTo>
                <a:lnTo>
                  <a:pt x="1641" y="569"/>
                </a:lnTo>
                <a:lnTo>
                  <a:pt x="1645" y="569"/>
                </a:lnTo>
                <a:lnTo>
                  <a:pt x="1649" y="569"/>
                </a:lnTo>
                <a:lnTo>
                  <a:pt x="1649" y="573"/>
                </a:lnTo>
                <a:lnTo>
                  <a:pt x="1649" y="576"/>
                </a:lnTo>
                <a:lnTo>
                  <a:pt x="1647" y="581"/>
                </a:lnTo>
                <a:lnTo>
                  <a:pt x="1648" y="583"/>
                </a:lnTo>
                <a:lnTo>
                  <a:pt x="1649" y="586"/>
                </a:lnTo>
                <a:lnTo>
                  <a:pt x="1651" y="588"/>
                </a:lnTo>
                <a:lnTo>
                  <a:pt x="1655" y="591"/>
                </a:lnTo>
                <a:lnTo>
                  <a:pt x="1655" y="592"/>
                </a:lnTo>
                <a:lnTo>
                  <a:pt x="1656" y="593"/>
                </a:lnTo>
                <a:lnTo>
                  <a:pt x="1655" y="596"/>
                </a:lnTo>
                <a:lnTo>
                  <a:pt x="1653" y="598"/>
                </a:lnTo>
                <a:lnTo>
                  <a:pt x="1652" y="597"/>
                </a:lnTo>
                <a:lnTo>
                  <a:pt x="1649" y="603"/>
                </a:lnTo>
                <a:lnTo>
                  <a:pt x="1645" y="601"/>
                </a:lnTo>
                <a:lnTo>
                  <a:pt x="1641" y="600"/>
                </a:lnTo>
                <a:lnTo>
                  <a:pt x="1644" y="606"/>
                </a:lnTo>
                <a:lnTo>
                  <a:pt x="1645" y="605"/>
                </a:lnTo>
                <a:lnTo>
                  <a:pt x="1646" y="605"/>
                </a:lnTo>
                <a:lnTo>
                  <a:pt x="1647" y="606"/>
                </a:lnTo>
                <a:lnTo>
                  <a:pt x="1647" y="608"/>
                </a:lnTo>
                <a:lnTo>
                  <a:pt x="1647" y="611"/>
                </a:lnTo>
                <a:lnTo>
                  <a:pt x="1647" y="614"/>
                </a:lnTo>
                <a:lnTo>
                  <a:pt x="1642" y="615"/>
                </a:lnTo>
                <a:lnTo>
                  <a:pt x="1638" y="615"/>
                </a:lnTo>
                <a:lnTo>
                  <a:pt x="1634" y="615"/>
                </a:lnTo>
                <a:lnTo>
                  <a:pt x="1630" y="617"/>
                </a:lnTo>
                <a:lnTo>
                  <a:pt x="1630" y="618"/>
                </a:lnTo>
                <a:lnTo>
                  <a:pt x="1630" y="620"/>
                </a:lnTo>
                <a:lnTo>
                  <a:pt x="1630" y="626"/>
                </a:lnTo>
                <a:lnTo>
                  <a:pt x="1630" y="634"/>
                </a:lnTo>
                <a:lnTo>
                  <a:pt x="1632" y="635"/>
                </a:lnTo>
                <a:lnTo>
                  <a:pt x="1634" y="635"/>
                </a:lnTo>
                <a:lnTo>
                  <a:pt x="1638" y="636"/>
                </a:lnTo>
                <a:lnTo>
                  <a:pt x="1643" y="637"/>
                </a:lnTo>
                <a:lnTo>
                  <a:pt x="1647" y="639"/>
                </a:lnTo>
                <a:lnTo>
                  <a:pt x="1649" y="642"/>
                </a:lnTo>
                <a:lnTo>
                  <a:pt x="1651" y="646"/>
                </a:lnTo>
                <a:lnTo>
                  <a:pt x="1652" y="650"/>
                </a:lnTo>
                <a:lnTo>
                  <a:pt x="1653" y="654"/>
                </a:lnTo>
                <a:lnTo>
                  <a:pt x="1655" y="663"/>
                </a:lnTo>
                <a:lnTo>
                  <a:pt x="1656" y="667"/>
                </a:lnTo>
                <a:lnTo>
                  <a:pt x="1658" y="670"/>
                </a:lnTo>
                <a:lnTo>
                  <a:pt x="1659" y="671"/>
                </a:lnTo>
                <a:lnTo>
                  <a:pt x="1660" y="672"/>
                </a:lnTo>
                <a:lnTo>
                  <a:pt x="1664" y="674"/>
                </a:lnTo>
                <a:lnTo>
                  <a:pt x="1667" y="676"/>
                </a:lnTo>
                <a:lnTo>
                  <a:pt x="1668" y="678"/>
                </a:lnTo>
                <a:lnTo>
                  <a:pt x="1669" y="679"/>
                </a:lnTo>
                <a:lnTo>
                  <a:pt x="1669" y="683"/>
                </a:lnTo>
                <a:lnTo>
                  <a:pt x="1668" y="690"/>
                </a:lnTo>
                <a:lnTo>
                  <a:pt x="1663" y="707"/>
                </a:lnTo>
                <a:lnTo>
                  <a:pt x="1666" y="704"/>
                </a:lnTo>
                <a:lnTo>
                  <a:pt x="1667" y="702"/>
                </a:lnTo>
                <a:lnTo>
                  <a:pt x="1668" y="701"/>
                </a:lnTo>
                <a:lnTo>
                  <a:pt x="1669" y="701"/>
                </a:lnTo>
                <a:lnTo>
                  <a:pt x="1670" y="702"/>
                </a:lnTo>
                <a:lnTo>
                  <a:pt x="1670" y="703"/>
                </a:lnTo>
                <a:lnTo>
                  <a:pt x="1671" y="707"/>
                </a:lnTo>
                <a:lnTo>
                  <a:pt x="1672" y="712"/>
                </a:lnTo>
                <a:lnTo>
                  <a:pt x="1670" y="713"/>
                </a:lnTo>
                <a:lnTo>
                  <a:pt x="1668" y="713"/>
                </a:lnTo>
                <a:lnTo>
                  <a:pt x="1665" y="712"/>
                </a:lnTo>
                <a:lnTo>
                  <a:pt x="1663" y="712"/>
                </a:lnTo>
                <a:lnTo>
                  <a:pt x="1655" y="729"/>
                </a:lnTo>
                <a:lnTo>
                  <a:pt x="1651" y="733"/>
                </a:lnTo>
                <a:lnTo>
                  <a:pt x="1647" y="737"/>
                </a:lnTo>
                <a:lnTo>
                  <a:pt x="1643" y="741"/>
                </a:lnTo>
                <a:lnTo>
                  <a:pt x="1638" y="744"/>
                </a:lnTo>
                <a:lnTo>
                  <a:pt x="1629" y="750"/>
                </a:lnTo>
                <a:lnTo>
                  <a:pt x="1618" y="755"/>
                </a:lnTo>
                <a:lnTo>
                  <a:pt x="1621" y="767"/>
                </a:lnTo>
                <a:lnTo>
                  <a:pt x="1623" y="779"/>
                </a:lnTo>
                <a:lnTo>
                  <a:pt x="1625" y="789"/>
                </a:lnTo>
                <a:lnTo>
                  <a:pt x="1627" y="800"/>
                </a:lnTo>
                <a:lnTo>
                  <a:pt x="1628" y="805"/>
                </a:lnTo>
                <a:lnTo>
                  <a:pt x="1628" y="810"/>
                </a:lnTo>
                <a:lnTo>
                  <a:pt x="1628" y="820"/>
                </a:lnTo>
                <a:lnTo>
                  <a:pt x="1628" y="825"/>
                </a:lnTo>
                <a:lnTo>
                  <a:pt x="1627" y="831"/>
                </a:lnTo>
                <a:lnTo>
                  <a:pt x="1626" y="836"/>
                </a:lnTo>
                <a:lnTo>
                  <a:pt x="1624" y="842"/>
                </a:lnTo>
                <a:lnTo>
                  <a:pt x="1620" y="841"/>
                </a:lnTo>
                <a:lnTo>
                  <a:pt x="1616" y="842"/>
                </a:lnTo>
                <a:lnTo>
                  <a:pt x="1613" y="844"/>
                </a:lnTo>
                <a:lnTo>
                  <a:pt x="1611" y="846"/>
                </a:lnTo>
                <a:lnTo>
                  <a:pt x="1609" y="850"/>
                </a:lnTo>
                <a:lnTo>
                  <a:pt x="1608" y="851"/>
                </a:lnTo>
                <a:lnTo>
                  <a:pt x="1605" y="851"/>
                </a:lnTo>
                <a:lnTo>
                  <a:pt x="1601" y="850"/>
                </a:lnTo>
                <a:lnTo>
                  <a:pt x="1596" y="847"/>
                </a:lnTo>
                <a:lnTo>
                  <a:pt x="1592" y="844"/>
                </a:lnTo>
                <a:lnTo>
                  <a:pt x="1586" y="838"/>
                </a:lnTo>
                <a:lnTo>
                  <a:pt x="1576" y="828"/>
                </a:lnTo>
                <a:lnTo>
                  <a:pt x="1576" y="825"/>
                </a:lnTo>
                <a:lnTo>
                  <a:pt x="1577" y="822"/>
                </a:lnTo>
                <a:lnTo>
                  <a:pt x="1578" y="818"/>
                </a:lnTo>
                <a:lnTo>
                  <a:pt x="1577" y="816"/>
                </a:lnTo>
                <a:lnTo>
                  <a:pt x="1576" y="814"/>
                </a:lnTo>
                <a:lnTo>
                  <a:pt x="1574" y="812"/>
                </a:lnTo>
                <a:lnTo>
                  <a:pt x="1570" y="811"/>
                </a:lnTo>
                <a:lnTo>
                  <a:pt x="1565" y="808"/>
                </a:lnTo>
                <a:lnTo>
                  <a:pt x="1564" y="806"/>
                </a:lnTo>
                <a:lnTo>
                  <a:pt x="1564" y="805"/>
                </a:lnTo>
                <a:lnTo>
                  <a:pt x="1565" y="801"/>
                </a:lnTo>
                <a:lnTo>
                  <a:pt x="1566" y="797"/>
                </a:lnTo>
                <a:lnTo>
                  <a:pt x="1565" y="796"/>
                </a:lnTo>
                <a:lnTo>
                  <a:pt x="1565" y="794"/>
                </a:lnTo>
                <a:lnTo>
                  <a:pt x="1563" y="794"/>
                </a:lnTo>
                <a:lnTo>
                  <a:pt x="1562" y="793"/>
                </a:lnTo>
                <a:lnTo>
                  <a:pt x="1561" y="791"/>
                </a:lnTo>
                <a:lnTo>
                  <a:pt x="1562" y="789"/>
                </a:lnTo>
                <a:lnTo>
                  <a:pt x="1564" y="787"/>
                </a:lnTo>
                <a:lnTo>
                  <a:pt x="1565" y="786"/>
                </a:lnTo>
                <a:lnTo>
                  <a:pt x="1563" y="784"/>
                </a:lnTo>
                <a:lnTo>
                  <a:pt x="1562" y="781"/>
                </a:lnTo>
                <a:lnTo>
                  <a:pt x="1562" y="780"/>
                </a:lnTo>
                <a:lnTo>
                  <a:pt x="1563" y="779"/>
                </a:lnTo>
                <a:lnTo>
                  <a:pt x="1564" y="778"/>
                </a:lnTo>
                <a:lnTo>
                  <a:pt x="1565" y="777"/>
                </a:lnTo>
                <a:lnTo>
                  <a:pt x="1568" y="760"/>
                </a:lnTo>
                <a:lnTo>
                  <a:pt x="1565" y="757"/>
                </a:lnTo>
                <a:lnTo>
                  <a:pt x="1564" y="754"/>
                </a:lnTo>
                <a:lnTo>
                  <a:pt x="1564" y="753"/>
                </a:lnTo>
                <a:lnTo>
                  <a:pt x="1565" y="752"/>
                </a:lnTo>
                <a:lnTo>
                  <a:pt x="1566" y="752"/>
                </a:lnTo>
                <a:lnTo>
                  <a:pt x="1567" y="752"/>
                </a:lnTo>
                <a:lnTo>
                  <a:pt x="1567" y="749"/>
                </a:lnTo>
                <a:lnTo>
                  <a:pt x="1566" y="745"/>
                </a:lnTo>
                <a:lnTo>
                  <a:pt x="1565" y="744"/>
                </a:lnTo>
                <a:lnTo>
                  <a:pt x="1565" y="743"/>
                </a:lnTo>
                <a:lnTo>
                  <a:pt x="1562" y="742"/>
                </a:lnTo>
                <a:lnTo>
                  <a:pt x="1560" y="741"/>
                </a:lnTo>
                <a:lnTo>
                  <a:pt x="1557" y="740"/>
                </a:lnTo>
                <a:lnTo>
                  <a:pt x="1554" y="739"/>
                </a:lnTo>
                <a:lnTo>
                  <a:pt x="1548" y="739"/>
                </a:lnTo>
                <a:lnTo>
                  <a:pt x="1542" y="739"/>
                </a:lnTo>
                <a:lnTo>
                  <a:pt x="1531" y="741"/>
                </a:lnTo>
                <a:lnTo>
                  <a:pt x="1525" y="741"/>
                </a:lnTo>
                <a:lnTo>
                  <a:pt x="1522" y="741"/>
                </a:lnTo>
                <a:lnTo>
                  <a:pt x="1520" y="741"/>
                </a:lnTo>
                <a:lnTo>
                  <a:pt x="1518" y="740"/>
                </a:lnTo>
                <a:lnTo>
                  <a:pt x="1515" y="738"/>
                </a:lnTo>
                <a:lnTo>
                  <a:pt x="1510" y="734"/>
                </a:lnTo>
                <a:lnTo>
                  <a:pt x="1505" y="729"/>
                </a:lnTo>
                <a:lnTo>
                  <a:pt x="1500" y="726"/>
                </a:lnTo>
                <a:lnTo>
                  <a:pt x="1494" y="724"/>
                </a:lnTo>
                <a:lnTo>
                  <a:pt x="1484" y="722"/>
                </a:lnTo>
                <a:lnTo>
                  <a:pt x="1474" y="720"/>
                </a:lnTo>
                <a:lnTo>
                  <a:pt x="1471" y="719"/>
                </a:lnTo>
                <a:lnTo>
                  <a:pt x="1469" y="718"/>
                </a:lnTo>
                <a:lnTo>
                  <a:pt x="1468" y="716"/>
                </a:lnTo>
                <a:lnTo>
                  <a:pt x="1467" y="714"/>
                </a:lnTo>
                <a:lnTo>
                  <a:pt x="1467" y="711"/>
                </a:lnTo>
                <a:lnTo>
                  <a:pt x="1467" y="708"/>
                </a:lnTo>
                <a:lnTo>
                  <a:pt x="1466" y="703"/>
                </a:lnTo>
                <a:lnTo>
                  <a:pt x="1465" y="700"/>
                </a:lnTo>
                <a:lnTo>
                  <a:pt x="1464" y="698"/>
                </a:lnTo>
                <a:lnTo>
                  <a:pt x="1462" y="697"/>
                </a:lnTo>
                <a:lnTo>
                  <a:pt x="1461" y="697"/>
                </a:lnTo>
                <a:lnTo>
                  <a:pt x="1458" y="696"/>
                </a:lnTo>
                <a:lnTo>
                  <a:pt x="1454" y="696"/>
                </a:lnTo>
                <a:lnTo>
                  <a:pt x="1450" y="696"/>
                </a:lnTo>
                <a:lnTo>
                  <a:pt x="1447" y="693"/>
                </a:lnTo>
                <a:lnTo>
                  <a:pt x="1443" y="690"/>
                </a:lnTo>
                <a:lnTo>
                  <a:pt x="1439" y="686"/>
                </a:lnTo>
                <a:lnTo>
                  <a:pt x="1436" y="684"/>
                </a:lnTo>
                <a:lnTo>
                  <a:pt x="1433" y="684"/>
                </a:lnTo>
                <a:lnTo>
                  <a:pt x="1430" y="684"/>
                </a:lnTo>
                <a:lnTo>
                  <a:pt x="1427" y="684"/>
                </a:lnTo>
                <a:lnTo>
                  <a:pt x="1424" y="684"/>
                </a:lnTo>
                <a:lnTo>
                  <a:pt x="1421" y="683"/>
                </a:lnTo>
                <a:lnTo>
                  <a:pt x="1418" y="680"/>
                </a:lnTo>
                <a:lnTo>
                  <a:pt x="1413" y="676"/>
                </a:lnTo>
                <a:lnTo>
                  <a:pt x="1409" y="675"/>
                </a:lnTo>
                <a:lnTo>
                  <a:pt x="1405" y="674"/>
                </a:lnTo>
                <a:lnTo>
                  <a:pt x="1401" y="675"/>
                </a:lnTo>
                <a:lnTo>
                  <a:pt x="1397" y="676"/>
                </a:lnTo>
                <a:lnTo>
                  <a:pt x="1390" y="678"/>
                </a:lnTo>
                <a:lnTo>
                  <a:pt x="1386" y="680"/>
                </a:lnTo>
                <a:lnTo>
                  <a:pt x="1382" y="681"/>
                </a:lnTo>
                <a:lnTo>
                  <a:pt x="1381" y="676"/>
                </a:lnTo>
                <a:lnTo>
                  <a:pt x="1379" y="669"/>
                </a:lnTo>
                <a:lnTo>
                  <a:pt x="1374" y="656"/>
                </a:lnTo>
                <a:lnTo>
                  <a:pt x="1369" y="642"/>
                </a:lnTo>
                <a:lnTo>
                  <a:pt x="1362" y="628"/>
                </a:lnTo>
                <a:lnTo>
                  <a:pt x="1355" y="628"/>
                </a:lnTo>
                <a:lnTo>
                  <a:pt x="1350" y="629"/>
                </a:lnTo>
                <a:lnTo>
                  <a:pt x="1346" y="630"/>
                </a:lnTo>
                <a:lnTo>
                  <a:pt x="1344" y="631"/>
                </a:lnTo>
                <a:lnTo>
                  <a:pt x="1341" y="630"/>
                </a:lnTo>
                <a:lnTo>
                  <a:pt x="1339" y="628"/>
                </a:lnTo>
                <a:lnTo>
                  <a:pt x="1337" y="624"/>
                </a:lnTo>
                <a:lnTo>
                  <a:pt x="1334" y="617"/>
                </a:lnTo>
                <a:lnTo>
                  <a:pt x="1329" y="611"/>
                </a:lnTo>
                <a:lnTo>
                  <a:pt x="1329" y="607"/>
                </a:lnTo>
                <a:lnTo>
                  <a:pt x="1329" y="601"/>
                </a:lnTo>
                <a:lnTo>
                  <a:pt x="1330" y="594"/>
                </a:lnTo>
                <a:lnTo>
                  <a:pt x="1331" y="591"/>
                </a:lnTo>
                <a:lnTo>
                  <a:pt x="1332" y="589"/>
                </a:lnTo>
                <a:lnTo>
                  <a:pt x="1336" y="586"/>
                </a:lnTo>
                <a:lnTo>
                  <a:pt x="1340" y="583"/>
                </a:lnTo>
                <a:lnTo>
                  <a:pt x="1340" y="581"/>
                </a:lnTo>
                <a:lnTo>
                  <a:pt x="1340" y="579"/>
                </a:lnTo>
                <a:lnTo>
                  <a:pt x="1338" y="577"/>
                </a:lnTo>
                <a:lnTo>
                  <a:pt x="1336" y="574"/>
                </a:lnTo>
                <a:lnTo>
                  <a:pt x="1336" y="573"/>
                </a:lnTo>
                <a:lnTo>
                  <a:pt x="1337" y="572"/>
                </a:lnTo>
                <a:lnTo>
                  <a:pt x="1339" y="571"/>
                </a:lnTo>
                <a:lnTo>
                  <a:pt x="1341" y="571"/>
                </a:lnTo>
                <a:lnTo>
                  <a:pt x="1346" y="572"/>
                </a:lnTo>
                <a:lnTo>
                  <a:pt x="1346" y="568"/>
                </a:lnTo>
                <a:lnTo>
                  <a:pt x="1346" y="565"/>
                </a:lnTo>
                <a:lnTo>
                  <a:pt x="1345" y="561"/>
                </a:lnTo>
                <a:lnTo>
                  <a:pt x="1345" y="559"/>
                </a:lnTo>
                <a:lnTo>
                  <a:pt x="1346" y="558"/>
                </a:lnTo>
                <a:lnTo>
                  <a:pt x="1346" y="556"/>
                </a:lnTo>
                <a:lnTo>
                  <a:pt x="1348" y="555"/>
                </a:lnTo>
                <a:lnTo>
                  <a:pt x="1352" y="553"/>
                </a:lnTo>
                <a:lnTo>
                  <a:pt x="1355" y="550"/>
                </a:lnTo>
                <a:lnTo>
                  <a:pt x="1356" y="548"/>
                </a:lnTo>
                <a:lnTo>
                  <a:pt x="1357" y="546"/>
                </a:lnTo>
                <a:lnTo>
                  <a:pt x="1357" y="544"/>
                </a:lnTo>
                <a:lnTo>
                  <a:pt x="1359" y="543"/>
                </a:lnTo>
                <a:lnTo>
                  <a:pt x="1363" y="544"/>
                </a:lnTo>
                <a:lnTo>
                  <a:pt x="1366" y="544"/>
                </a:lnTo>
                <a:lnTo>
                  <a:pt x="1367" y="544"/>
                </a:lnTo>
                <a:lnTo>
                  <a:pt x="1368" y="544"/>
                </a:lnTo>
                <a:lnTo>
                  <a:pt x="1369" y="541"/>
                </a:lnTo>
                <a:lnTo>
                  <a:pt x="1369" y="537"/>
                </a:lnTo>
                <a:lnTo>
                  <a:pt x="1368" y="530"/>
                </a:lnTo>
                <a:lnTo>
                  <a:pt x="1371" y="528"/>
                </a:lnTo>
                <a:lnTo>
                  <a:pt x="1372" y="528"/>
                </a:lnTo>
                <a:lnTo>
                  <a:pt x="1374" y="524"/>
                </a:lnTo>
                <a:lnTo>
                  <a:pt x="1376" y="525"/>
                </a:lnTo>
                <a:lnTo>
                  <a:pt x="1378" y="527"/>
                </a:lnTo>
                <a:lnTo>
                  <a:pt x="1381" y="528"/>
                </a:lnTo>
                <a:lnTo>
                  <a:pt x="1383" y="527"/>
                </a:lnTo>
                <a:lnTo>
                  <a:pt x="1385" y="527"/>
                </a:lnTo>
                <a:lnTo>
                  <a:pt x="1385" y="526"/>
                </a:lnTo>
                <a:lnTo>
                  <a:pt x="1385" y="525"/>
                </a:lnTo>
                <a:lnTo>
                  <a:pt x="1383" y="524"/>
                </a:lnTo>
                <a:lnTo>
                  <a:pt x="1379" y="521"/>
                </a:lnTo>
                <a:lnTo>
                  <a:pt x="1386" y="518"/>
                </a:lnTo>
                <a:lnTo>
                  <a:pt x="1391" y="515"/>
                </a:lnTo>
                <a:lnTo>
                  <a:pt x="1386" y="515"/>
                </a:lnTo>
                <a:lnTo>
                  <a:pt x="1384" y="514"/>
                </a:lnTo>
                <a:lnTo>
                  <a:pt x="1384" y="513"/>
                </a:lnTo>
                <a:lnTo>
                  <a:pt x="1385" y="513"/>
                </a:lnTo>
                <a:lnTo>
                  <a:pt x="1388" y="512"/>
                </a:lnTo>
                <a:lnTo>
                  <a:pt x="1390" y="512"/>
                </a:lnTo>
                <a:lnTo>
                  <a:pt x="1392" y="513"/>
                </a:lnTo>
                <a:lnTo>
                  <a:pt x="1393" y="514"/>
                </a:lnTo>
                <a:lnTo>
                  <a:pt x="1397" y="515"/>
                </a:lnTo>
                <a:lnTo>
                  <a:pt x="1399" y="516"/>
                </a:lnTo>
                <a:lnTo>
                  <a:pt x="1402" y="515"/>
                </a:lnTo>
                <a:lnTo>
                  <a:pt x="1404" y="514"/>
                </a:lnTo>
                <a:lnTo>
                  <a:pt x="1407" y="512"/>
                </a:lnTo>
                <a:lnTo>
                  <a:pt x="1410" y="509"/>
                </a:lnTo>
                <a:lnTo>
                  <a:pt x="1413" y="507"/>
                </a:lnTo>
                <a:lnTo>
                  <a:pt x="1413" y="506"/>
                </a:lnTo>
                <a:lnTo>
                  <a:pt x="1413" y="504"/>
                </a:lnTo>
                <a:lnTo>
                  <a:pt x="1413" y="502"/>
                </a:lnTo>
                <a:lnTo>
                  <a:pt x="1415" y="500"/>
                </a:lnTo>
                <a:lnTo>
                  <a:pt x="1415" y="499"/>
                </a:lnTo>
                <a:lnTo>
                  <a:pt x="1416" y="499"/>
                </a:lnTo>
                <a:lnTo>
                  <a:pt x="1413" y="497"/>
                </a:lnTo>
                <a:lnTo>
                  <a:pt x="1411" y="495"/>
                </a:lnTo>
                <a:lnTo>
                  <a:pt x="1409" y="494"/>
                </a:lnTo>
                <a:lnTo>
                  <a:pt x="1407" y="493"/>
                </a:lnTo>
                <a:lnTo>
                  <a:pt x="1407" y="487"/>
                </a:lnTo>
                <a:lnTo>
                  <a:pt x="1413" y="490"/>
                </a:lnTo>
                <a:lnTo>
                  <a:pt x="1416" y="490"/>
                </a:lnTo>
                <a:lnTo>
                  <a:pt x="1419" y="490"/>
                </a:lnTo>
                <a:lnTo>
                  <a:pt x="1422" y="468"/>
                </a:lnTo>
                <a:lnTo>
                  <a:pt x="1427" y="467"/>
                </a:lnTo>
                <a:lnTo>
                  <a:pt x="1433" y="468"/>
                </a:lnTo>
                <a:lnTo>
                  <a:pt x="1433" y="465"/>
                </a:lnTo>
                <a:lnTo>
                  <a:pt x="1432" y="463"/>
                </a:lnTo>
                <a:lnTo>
                  <a:pt x="1433" y="462"/>
                </a:lnTo>
                <a:lnTo>
                  <a:pt x="1436" y="462"/>
                </a:lnTo>
                <a:lnTo>
                  <a:pt x="1439" y="462"/>
                </a:lnTo>
                <a:lnTo>
                  <a:pt x="1441" y="462"/>
                </a:lnTo>
                <a:lnTo>
                  <a:pt x="1443" y="463"/>
                </a:lnTo>
                <a:lnTo>
                  <a:pt x="1444" y="464"/>
                </a:lnTo>
                <a:lnTo>
                  <a:pt x="1445" y="465"/>
                </a:lnTo>
                <a:lnTo>
                  <a:pt x="1446" y="465"/>
                </a:lnTo>
                <a:lnTo>
                  <a:pt x="1447" y="467"/>
                </a:lnTo>
                <a:lnTo>
                  <a:pt x="1448" y="468"/>
                </a:lnTo>
                <a:lnTo>
                  <a:pt x="1449" y="468"/>
                </a:lnTo>
                <a:lnTo>
                  <a:pt x="1450" y="468"/>
                </a:lnTo>
                <a:lnTo>
                  <a:pt x="1455" y="466"/>
                </a:lnTo>
                <a:lnTo>
                  <a:pt x="1464" y="462"/>
                </a:lnTo>
                <a:lnTo>
                  <a:pt x="1466" y="461"/>
                </a:lnTo>
                <a:lnTo>
                  <a:pt x="1468" y="461"/>
                </a:lnTo>
                <a:lnTo>
                  <a:pt x="1470" y="461"/>
                </a:lnTo>
                <a:lnTo>
                  <a:pt x="1472" y="459"/>
                </a:lnTo>
                <a:lnTo>
                  <a:pt x="1473" y="458"/>
                </a:lnTo>
                <a:lnTo>
                  <a:pt x="1473" y="457"/>
                </a:lnTo>
                <a:lnTo>
                  <a:pt x="1472" y="454"/>
                </a:lnTo>
                <a:lnTo>
                  <a:pt x="1469" y="448"/>
                </a:lnTo>
                <a:lnTo>
                  <a:pt x="1472" y="447"/>
                </a:lnTo>
                <a:lnTo>
                  <a:pt x="1472" y="446"/>
                </a:lnTo>
                <a:lnTo>
                  <a:pt x="1472" y="445"/>
                </a:lnTo>
                <a:lnTo>
                  <a:pt x="1472" y="442"/>
                </a:lnTo>
                <a:lnTo>
                  <a:pt x="1475" y="443"/>
                </a:lnTo>
                <a:lnTo>
                  <a:pt x="1476" y="443"/>
                </a:lnTo>
                <a:lnTo>
                  <a:pt x="1477" y="442"/>
                </a:lnTo>
                <a:lnTo>
                  <a:pt x="1477" y="441"/>
                </a:lnTo>
                <a:lnTo>
                  <a:pt x="1476" y="438"/>
                </a:lnTo>
                <a:lnTo>
                  <a:pt x="1475" y="437"/>
                </a:lnTo>
                <a:lnTo>
                  <a:pt x="1448" y="435"/>
                </a:lnTo>
                <a:lnTo>
                  <a:pt x="1433" y="434"/>
                </a:lnTo>
                <a:lnTo>
                  <a:pt x="1416" y="434"/>
                </a:lnTo>
                <a:lnTo>
                  <a:pt x="1426" y="431"/>
                </a:lnTo>
                <a:lnTo>
                  <a:pt x="1429" y="430"/>
                </a:lnTo>
                <a:lnTo>
                  <a:pt x="1430" y="429"/>
                </a:lnTo>
                <a:lnTo>
                  <a:pt x="1430" y="427"/>
                </a:lnTo>
                <a:lnTo>
                  <a:pt x="1431" y="425"/>
                </a:lnTo>
                <a:lnTo>
                  <a:pt x="1431" y="422"/>
                </a:lnTo>
                <a:lnTo>
                  <a:pt x="1433" y="417"/>
                </a:lnTo>
                <a:lnTo>
                  <a:pt x="1435" y="418"/>
                </a:lnTo>
                <a:lnTo>
                  <a:pt x="1436" y="418"/>
                </a:lnTo>
                <a:lnTo>
                  <a:pt x="1435" y="420"/>
                </a:lnTo>
                <a:lnTo>
                  <a:pt x="1435" y="421"/>
                </a:lnTo>
                <a:lnTo>
                  <a:pt x="1436" y="423"/>
                </a:lnTo>
                <a:lnTo>
                  <a:pt x="1452" y="423"/>
                </a:lnTo>
                <a:lnTo>
                  <a:pt x="1458" y="423"/>
                </a:lnTo>
                <a:lnTo>
                  <a:pt x="1463" y="424"/>
                </a:lnTo>
                <a:lnTo>
                  <a:pt x="1467" y="426"/>
                </a:lnTo>
                <a:lnTo>
                  <a:pt x="1472" y="429"/>
                </a:lnTo>
                <a:lnTo>
                  <a:pt x="1483" y="437"/>
                </a:lnTo>
                <a:lnTo>
                  <a:pt x="1484" y="436"/>
                </a:lnTo>
                <a:lnTo>
                  <a:pt x="1484" y="435"/>
                </a:lnTo>
                <a:lnTo>
                  <a:pt x="1483" y="433"/>
                </a:lnTo>
                <a:lnTo>
                  <a:pt x="1483" y="430"/>
                </a:lnTo>
                <a:lnTo>
                  <a:pt x="1483" y="428"/>
                </a:lnTo>
                <a:lnTo>
                  <a:pt x="1487" y="425"/>
                </a:lnTo>
                <a:lnTo>
                  <a:pt x="1492" y="423"/>
                </a:lnTo>
                <a:lnTo>
                  <a:pt x="1489" y="412"/>
                </a:lnTo>
                <a:lnTo>
                  <a:pt x="1486" y="403"/>
                </a:lnTo>
                <a:lnTo>
                  <a:pt x="1491" y="402"/>
                </a:lnTo>
                <a:lnTo>
                  <a:pt x="1496" y="401"/>
                </a:lnTo>
                <a:lnTo>
                  <a:pt x="1501" y="400"/>
                </a:lnTo>
                <a:lnTo>
                  <a:pt x="1503" y="400"/>
                </a:lnTo>
                <a:lnTo>
                  <a:pt x="1506" y="401"/>
                </a:lnTo>
                <a:lnTo>
                  <a:pt x="1507" y="403"/>
                </a:lnTo>
                <a:lnTo>
                  <a:pt x="1511" y="408"/>
                </a:lnTo>
                <a:lnTo>
                  <a:pt x="1512" y="410"/>
                </a:lnTo>
                <a:lnTo>
                  <a:pt x="1515" y="412"/>
                </a:lnTo>
                <a:lnTo>
                  <a:pt x="1518" y="414"/>
                </a:lnTo>
                <a:lnTo>
                  <a:pt x="1523" y="414"/>
                </a:lnTo>
                <a:lnTo>
                  <a:pt x="1528" y="414"/>
                </a:lnTo>
                <a:lnTo>
                  <a:pt x="1531" y="413"/>
                </a:lnTo>
                <a:lnTo>
                  <a:pt x="1533" y="412"/>
                </a:lnTo>
                <a:lnTo>
                  <a:pt x="1533" y="411"/>
                </a:lnTo>
                <a:lnTo>
                  <a:pt x="1533" y="410"/>
                </a:lnTo>
                <a:lnTo>
                  <a:pt x="1532" y="409"/>
                </a:lnTo>
                <a:lnTo>
                  <a:pt x="1530" y="407"/>
                </a:lnTo>
                <a:lnTo>
                  <a:pt x="1527" y="405"/>
                </a:lnTo>
                <a:lnTo>
                  <a:pt x="1523" y="403"/>
                </a:lnTo>
                <a:lnTo>
                  <a:pt x="1523" y="397"/>
                </a:lnTo>
                <a:lnTo>
                  <a:pt x="1525" y="398"/>
                </a:lnTo>
                <a:lnTo>
                  <a:pt x="1526" y="398"/>
                </a:lnTo>
                <a:lnTo>
                  <a:pt x="1527" y="397"/>
                </a:lnTo>
                <a:lnTo>
                  <a:pt x="1528" y="396"/>
                </a:lnTo>
                <a:lnTo>
                  <a:pt x="1529" y="395"/>
                </a:lnTo>
                <a:lnTo>
                  <a:pt x="1530" y="394"/>
                </a:lnTo>
                <a:lnTo>
                  <a:pt x="1531" y="395"/>
                </a:lnTo>
                <a:lnTo>
                  <a:pt x="1531" y="400"/>
                </a:lnTo>
                <a:lnTo>
                  <a:pt x="1537" y="403"/>
                </a:lnTo>
                <a:lnTo>
                  <a:pt x="1540" y="404"/>
                </a:lnTo>
                <a:lnTo>
                  <a:pt x="1542" y="406"/>
                </a:lnTo>
                <a:lnTo>
                  <a:pt x="1545" y="403"/>
                </a:lnTo>
                <a:lnTo>
                  <a:pt x="1548" y="398"/>
                </a:lnTo>
                <a:lnTo>
                  <a:pt x="1551" y="394"/>
                </a:lnTo>
                <a:lnTo>
                  <a:pt x="1552" y="393"/>
                </a:lnTo>
                <a:lnTo>
                  <a:pt x="1554" y="392"/>
                </a:lnTo>
                <a:lnTo>
                  <a:pt x="1555" y="391"/>
                </a:lnTo>
                <a:lnTo>
                  <a:pt x="1556" y="391"/>
                </a:lnTo>
                <a:lnTo>
                  <a:pt x="1558" y="391"/>
                </a:lnTo>
                <a:lnTo>
                  <a:pt x="1560" y="392"/>
                </a:lnTo>
                <a:lnTo>
                  <a:pt x="1562" y="392"/>
                </a:lnTo>
                <a:lnTo>
                  <a:pt x="1565" y="386"/>
                </a:lnTo>
                <a:lnTo>
                  <a:pt x="1575" y="383"/>
                </a:lnTo>
                <a:lnTo>
                  <a:pt x="1581" y="381"/>
                </a:lnTo>
                <a:lnTo>
                  <a:pt x="1588" y="379"/>
                </a:lnTo>
                <a:lnTo>
                  <a:pt x="1596" y="375"/>
                </a:lnTo>
                <a:lnTo>
                  <a:pt x="1595" y="368"/>
                </a:lnTo>
                <a:lnTo>
                  <a:pt x="1595" y="364"/>
                </a:lnTo>
                <a:lnTo>
                  <a:pt x="1595" y="362"/>
                </a:lnTo>
                <a:lnTo>
                  <a:pt x="1596" y="361"/>
                </a:lnTo>
                <a:lnTo>
                  <a:pt x="1587" y="357"/>
                </a:lnTo>
                <a:lnTo>
                  <a:pt x="1582" y="355"/>
                </a:lnTo>
                <a:lnTo>
                  <a:pt x="1577" y="352"/>
                </a:lnTo>
                <a:lnTo>
                  <a:pt x="1575" y="350"/>
                </a:lnTo>
                <a:lnTo>
                  <a:pt x="1574" y="349"/>
                </a:lnTo>
                <a:lnTo>
                  <a:pt x="1572" y="347"/>
                </a:lnTo>
                <a:lnTo>
                  <a:pt x="1571" y="344"/>
                </a:lnTo>
                <a:lnTo>
                  <a:pt x="1570" y="342"/>
                </a:lnTo>
                <a:lnTo>
                  <a:pt x="1570" y="339"/>
                </a:lnTo>
                <a:lnTo>
                  <a:pt x="1571" y="333"/>
                </a:lnTo>
                <a:lnTo>
                  <a:pt x="1573" y="331"/>
                </a:lnTo>
                <a:lnTo>
                  <a:pt x="1574" y="329"/>
                </a:lnTo>
                <a:lnTo>
                  <a:pt x="1574" y="328"/>
                </a:lnTo>
                <a:lnTo>
                  <a:pt x="1573" y="327"/>
                </a:lnTo>
                <a:lnTo>
                  <a:pt x="1576" y="328"/>
                </a:lnTo>
                <a:lnTo>
                  <a:pt x="1578" y="328"/>
                </a:lnTo>
                <a:lnTo>
                  <a:pt x="1579" y="327"/>
                </a:lnTo>
                <a:lnTo>
                  <a:pt x="1580" y="326"/>
                </a:lnTo>
                <a:lnTo>
                  <a:pt x="1581" y="323"/>
                </a:lnTo>
                <a:lnTo>
                  <a:pt x="1582" y="321"/>
                </a:lnTo>
                <a:lnTo>
                  <a:pt x="1577" y="322"/>
                </a:lnTo>
                <a:lnTo>
                  <a:pt x="1575" y="322"/>
                </a:lnTo>
                <a:lnTo>
                  <a:pt x="1575" y="321"/>
                </a:lnTo>
                <a:lnTo>
                  <a:pt x="1575" y="318"/>
                </a:lnTo>
                <a:lnTo>
                  <a:pt x="1576" y="315"/>
                </a:lnTo>
                <a:lnTo>
                  <a:pt x="1582" y="308"/>
                </a:lnTo>
                <a:lnTo>
                  <a:pt x="1585" y="304"/>
                </a:lnTo>
                <a:lnTo>
                  <a:pt x="1585" y="302"/>
                </a:lnTo>
                <a:lnTo>
                  <a:pt x="1584" y="301"/>
                </a:lnTo>
                <a:lnTo>
                  <a:pt x="1583" y="299"/>
                </a:lnTo>
                <a:lnTo>
                  <a:pt x="1582" y="298"/>
                </a:lnTo>
                <a:lnTo>
                  <a:pt x="1582" y="296"/>
                </a:lnTo>
                <a:lnTo>
                  <a:pt x="1579" y="297"/>
                </a:lnTo>
                <a:lnTo>
                  <a:pt x="1577" y="299"/>
                </a:lnTo>
                <a:lnTo>
                  <a:pt x="1573" y="302"/>
                </a:lnTo>
                <a:lnTo>
                  <a:pt x="1573" y="301"/>
                </a:lnTo>
                <a:lnTo>
                  <a:pt x="1572" y="300"/>
                </a:lnTo>
                <a:lnTo>
                  <a:pt x="1569" y="300"/>
                </a:lnTo>
                <a:lnTo>
                  <a:pt x="1567" y="300"/>
                </a:lnTo>
                <a:lnTo>
                  <a:pt x="1565" y="299"/>
                </a:lnTo>
                <a:lnTo>
                  <a:pt x="1563" y="290"/>
                </a:lnTo>
                <a:lnTo>
                  <a:pt x="1559" y="279"/>
                </a:lnTo>
                <a:lnTo>
                  <a:pt x="1547" y="280"/>
                </a:lnTo>
                <a:lnTo>
                  <a:pt x="1537" y="279"/>
                </a:lnTo>
                <a:lnTo>
                  <a:pt x="1526" y="278"/>
                </a:lnTo>
                <a:lnTo>
                  <a:pt x="1512" y="276"/>
                </a:lnTo>
                <a:lnTo>
                  <a:pt x="1514" y="285"/>
                </a:lnTo>
                <a:lnTo>
                  <a:pt x="1518" y="295"/>
                </a:lnTo>
                <a:lnTo>
                  <a:pt x="1526" y="313"/>
                </a:lnTo>
                <a:lnTo>
                  <a:pt x="1523" y="314"/>
                </a:lnTo>
                <a:lnTo>
                  <a:pt x="1523" y="315"/>
                </a:lnTo>
                <a:lnTo>
                  <a:pt x="1523" y="316"/>
                </a:lnTo>
                <a:lnTo>
                  <a:pt x="1523" y="319"/>
                </a:lnTo>
                <a:lnTo>
                  <a:pt x="1517" y="318"/>
                </a:lnTo>
                <a:lnTo>
                  <a:pt x="1514" y="318"/>
                </a:lnTo>
                <a:lnTo>
                  <a:pt x="1512" y="319"/>
                </a:lnTo>
                <a:lnTo>
                  <a:pt x="1511" y="322"/>
                </a:lnTo>
                <a:lnTo>
                  <a:pt x="1510" y="330"/>
                </a:lnTo>
                <a:lnTo>
                  <a:pt x="1509" y="341"/>
                </a:lnTo>
                <a:lnTo>
                  <a:pt x="1503" y="341"/>
                </a:lnTo>
                <a:lnTo>
                  <a:pt x="1498" y="351"/>
                </a:lnTo>
                <a:lnTo>
                  <a:pt x="1495" y="359"/>
                </a:lnTo>
                <a:lnTo>
                  <a:pt x="1490" y="367"/>
                </a:lnTo>
                <a:lnTo>
                  <a:pt x="1483" y="375"/>
                </a:lnTo>
                <a:lnTo>
                  <a:pt x="1485" y="375"/>
                </a:lnTo>
                <a:lnTo>
                  <a:pt x="1486" y="376"/>
                </a:lnTo>
                <a:lnTo>
                  <a:pt x="1482" y="376"/>
                </a:lnTo>
                <a:lnTo>
                  <a:pt x="1477" y="376"/>
                </a:lnTo>
                <a:lnTo>
                  <a:pt x="1472" y="375"/>
                </a:lnTo>
                <a:lnTo>
                  <a:pt x="1471" y="374"/>
                </a:lnTo>
                <a:lnTo>
                  <a:pt x="1470" y="372"/>
                </a:lnTo>
                <a:lnTo>
                  <a:pt x="1469" y="368"/>
                </a:lnTo>
                <a:lnTo>
                  <a:pt x="1468" y="364"/>
                </a:lnTo>
                <a:lnTo>
                  <a:pt x="1467" y="362"/>
                </a:lnTo>
                <a:lnTo>
                  <a:pt x="1467" y="361"/>
                </a:lnTo>
                <a:lnTo>
                  <a:pt x="1466" y="360"/>
                </a:lnTo>
                <a:lnTo>
                  <a:pt x="1465" y="359"/>
                </a:lnTo>
                <a:lnTo>
                  <a:pt x="1462" y="358"/>
                </a:lnTo>
                <a:lnTo>
                  <a:pt x="1460" y="357"/>
                </a:lnTo>
                <a:lnTo>
                  <a:pt x="1459" y="356"/>
                </a:lnTo>
                <a:lnTo>
                  <a:pt x="1458" y="355"/>
                </a:lnTo>
                <a:lnTo>
                  <a:pt x="1453" y="348"/>
                </a:lnTo>
                <a:lnTo>
                  <a:pt x="1452" y="346"/>
                </a:lnTo>
                <a:lnTo>
                  <a:pt x="1450" y="344"/>
                </a:lnTo>
                <a:lnTo>
                  <a:pt x="1450" y="342"/>
                </a:lnTo>
                <a:lnTo>
                  <a:pt x="1450" y="341"/>
                </a:lnTo>
                <a:lnTo>
                  <a:pt x="1452" y="339"/>
                </a:lnTo>
                <a:lnTo>
                  <a:pt x="1455" y="336"/>
                </a:lnTo>
                <a:lnTo>
                  <a:pt x="1457" y="332"/>
                </a:lnTo>
                <a:lnTo>
                  <a:pt x="1458" y="328"/>
                </a:lnTo>
                <a:lnTo>
                  <a:pt x="1461" y="321"/>
                </a:lnTo>
                <a:lnTo>
                  <a:pt x="1464" y="313"/>
                </a:lnTo>
                <a:lnTo>
                  <a:pt x="1467" y="312"/>
                </a:lnTo>
                <a:lnTo>
                  <a:pt x="1468" y="311"/>
                </a:lnTo>
                <a:lnTo>
                  <a:pt x="1467" y="310"/>
                </a:lnTo>
                <a:lnTo>
                  <a:pt x="1465" y="309"/>
                </a:lnTo>
                <a:lnTo>
                  <a:pt x="1463" y="308"/>
                </a:lnTo>
                <a:lnTo>
                  <a:pt x="1461" y="303"/>
                </a:lnTo>
                <a:lnTo>
                  <a:pt x="1460" y="298"/>
                </a:lnTo>
                <a:lnTo>
                  <a:pt x="1458" y="293"/>
                </a:lnTo>
                <a:lnTo>
                  <a:pt x="1450" y="296"/>
                </a:lnTo>
                <a:lnTo>
                  <a:pt x="1441" y="299"/>
                </a:lnTo>
                <a:lnTo>
                  <a:pt x="1440" y="312"/>
                </a:lnTo>
                <a:lnTo>
                  <a:pt x="1438" y="327"/>
                </a:lnTo>
                <a:lnTo>
                  <a:pt x="1433" y="328"/>
                </a:lnTo>
                <a:lnTo>
                  <a:pt x="1431" y="328"/>
                </a:lnTo>
                <a:lnTo>
                  <a:pt x="1430" y="329"/>
                </a:lnTo>
                <a:lnTo>
                  <a:pt x="1430" y="330"/>
                </a:lnTo>
                <a:lnTo>
                  <a:pt x="1430" y="332"/>
                </a:lnTo>
                <a:lnTo>
                  <a:pt x="1430" y="334"/>
                </a:lnTo>
                <a:lnTo>
                  <a:pt x="1430" y="336"/>
                </a:lnTo>
                <a:lnTo>
                  <a:pt x="1430" y="337"/>
                </a:lnTo>
                <a:lnTo>
                  <a:pt x="1430" y="338"/>
                </a:lnTo>
                <a:lnTo>
                  <a:pt x="1426" y="338"/>
                </a:lnTo>
                <a:lnTo>
                  <a:pt x="1422" y="338"/>
                </a:lnTo>
                <a:lnTo>
                  <a:pt x="1421" y="337"/>
                </a:lnTo>
                <a:lnTo>
                  <a:pt x="1422" y="335"/>
                </a:lnTo>
                <a:lnTo>
                  <a:pt x="1423" y="333"/>
                </a:lnTo>
                <a:lnTo>
                  <a:pt x="1424" y="331"/>
                </a:lnTo>
                <a:lnTo>
                  <a:pt x="1424" y="330"/>
                </a:lnTo>
                <a:lnTo>
                  <a:pt x="1423" y="328"/>
                </a:lnTo>
                <a:lnTo>
                  <a:pt x="1422" y="327"/>
                </a:lnTo>
                <a:lnTo>
                  <a:pt x="1420" y="323"/>
                </a:lnTo>
                <a:lnTo>
                  <a:pt x="1418" y="313"/>
                </a:lnTo>
                <a:lnTo>
                  <a:pt x="1416" y="305"/>
                </a:lnTo>
                <a:lnTo>
                  <a:pt x="1415" y="301"/>
                </a:lnTo>
                <a:lnTo>
                  <a:pt x="1413" y="299"/>
                </a:lnTo>
                <a:lnTo>
                  <a:pt x="1411" y="297"/>
                </a:lnTo>
                <a:lnTo>
                  <a:pt x="1408" y="296"/>
                </a:lnTo>
                <a:lnTo>
                  <a:pt x="1403" y="296"/>
                </a:lnTo>
                <a:lnTo>
                  <a:pt x="1397" y="295"/>
                </a:lnTo>
                <a:lnTo>
                  <a:pt x="1394" y="294"/>
                </a:lnTo>
                <a:lnTo>
                  <a:pt x="1391" y="293"/>
                </a:lnTo>
                <a:lnTo>
                  <a:pt x="1382" y="282"/>
                </a:lnTo>
                <a:lnTo>
                  <a:pt x="1381" y="283"/>
                </a:lnTo>
                <a:lnTo>
                  <a:pt x="1382" y="282"/>
                </a:lnTo>
                <a:lnTo>
                  <a:pt x="1386" y="277"/>
                </a:lnTo>
                <a:lnTo>
                  <a:pt x="1392" y="272"/>
                </a:lnTo>
                <a:lnTo>
                  <a:pt x="1396" y="268"/>
                </a:lnTo>
                <a:lnTo>
                  <a:pt x="1398" y="266"/>
                </a:lnTo>
                <a:lnTo>
                  <a:pt x="1398" y="265"/>
                </a:lnTo>
                <a:lnTo>
                  <a:pt x="1397" y="264"/>
                </a:lnTo>
                <a:lnTo>
                  <a:pt x="1396" y="263"/>
                </a:lnTo>
                <a:lnTo>
                  <a:pt x="1391" y="262"/>
                </a:lnTo>
                <a:lnTo>
                  <a:pt x="1389" y="265"/>
                </a:lnTo>
                <a:lnTo>
                  <a:pt x="1389" y="267"/>
                </a:lnTo>
                <a:lnTo>
                  <a:pt x="1388" y="268"/>
                </a:lnTo>
                <a:lnTo>
                  <a:pt x="1385" y="268"/>
                </a:lnTo>
                <a:lnTo>
                  <a:pt x="1386" y="267"/>
                </a:lnTo>
                <a:lnTo>
                  <a:pt x="1386" y="265"/>
                </a:lnTo>
                <a:lnTo>
                  <a:pt x="1387" y="262"/>
                </a:lnTo>
                <a:lnTo>
                  <a:pt x="1387" y="258"/>
                </a:lnTo>
                <a:lnTo>
                  <a:pt x="1388" y="254"/>
                </a:lnTo>
                <a:lnTo>
                  <a:pt x="1392" y="255"/>
                </a:lnTo>
                <a:lnTo>
                  <a:pt x="1396" y="256"/>
                </a:lnTo>
                <a:lnTo>
                  <a:pt x="1405" y="259"/>
                </a:lnTo>
                <a:lnTo>
                  <a:pt x="1405" y="257"/>
                </a:lnTo>
                <a:lnTo>
                  <a:pt x="1405" y="254"/>
                </a:lnTo>
                <a:lnTo>
                  <a:pt x="1406" y="253"/>
                </a:lnTo>
                <a:lnTo>
                  <a:pt x="1406" y="252"/>
                </a:lnTo>
                <a:lnTo>
                  <a:pt x="1407" y="251"/>
                </a:lnTo>
                <a:lnTo>
                  <a:pt x="1406" y="250"/>
                </a:lnTo>
                <a:lnTo>
                  <a:pt x="1405" y="250"/>
                </a:lnTo>
                <a:lnTo>
                  <a:pt x="1402" y="250"/>
                </a:lnTo>
                <a:lnTo>
                  <a:pt x="1400" y="251"/>
                </a:lnTo>
                <a:lnTo>
                  <a:pt x="1399" y="251"/>
                </a:lnTo>
                <a:lnTo>
                  <a:pt x="1399" y="245"/>
                </a:lnTo>
                <a:lnTo>
                  <a:pt x="1394" y="244"/>
                </a:lnTo>
                <a:lnTo>
                  <a:pt x="1390" y="244"/>
                </a:lnTo>
                <a:lnTo>
                  <a:pt x="1388" y="243"/>
                </a:lnTo>
                <a:lnTo>
                  <a:pt x="1387" y="242"/>
                </a:lnTo>
                <a:lnTo>
                  <a:pt x="1386" y="240"/>
                </a:lnTo>
                <a:lnTo>
                  <a:pt x="1384" y="237"/>
                </a:lnTo>
                <a:lnTo>
                  <a:pt x="1381" y="233"/>
                </a:lnTo>
                <a:lnTo>
                  <a:pt x="1379" y="231"/>
                </a:lnTo>
                <a:lnTo>
                  <a:pt x="1377" y="230"/>
                </a:lnTo>
                <a:lnTo>
                  <a:pt x="1374" y="229"/>
                </a:lnTo>
                <a:lnTo>
                  <a:pt x="1369" y="229"/>
                </a:lnTo>
                <a:lnTo>
                  <a:pt x="1364" y="228"/>
                </a:lnTo>
                <a:lnTo>
                  <a:pt x="1362" y="227"/>
                </a:lnTo>
                <a:lnTo>
                  <a:pt x="1360" y="226"/>
                </a:lnTo>
                <a:lnTo>
                  <a:pt x="1329" y="226"/>
                </a:lnTo>
                <a:lnTo>
                  <a:pt x="1326" y="227"/>
                </a:lnTo>
                <a:lnTo>
                  <a:pt x="1322" y="229"/>
                </a:lnTo>
                <a:lnTo>
                  <a:pt x="1318" y="232"/>
                </a:lnTo>
                <a:lnTo>
                  <a:pt x="1315" y="236"/>
                </a:lnTo>
                <a:lnTo>
                  <a:pt x="1313" y="241"/>
                </a:lnTo>
                <a:lnTo>
                  <a:pt x="1312" y="243"/>
                </a:lnTo>
                <a:lnTo>
                  <a:pt x="1311" y="245"/>
                </a:lnTo>
                <a:lnTo>
                  <a:pt x="1311" y="248"/>
                </a:lnTo>
                <a:lnTo>
                  <a:pt x="1312" y="250"/>
                </a:lnTo>
                <a:lnTo>
                  <a:pt x="1313" y="252"/>
                </a:lnTo>
                <a:lnTo>
                  <a:pt x="1315" y="254"/>
                </a:lnTo>
                <a:lnTo>
                  <a:pt x="1313" y="254"/>
                </a:lnTo>
                <a:lnTo>
                  <a:pt x="1310" y="254"/>
                </a:lnTo>
                <a:lnTo>
                  <a:pt x="1306" y="254"/>
                </a:lnTo>
                <a:lnTo>
                  <a:pt x="1306" y="255"/>
                </a:lnTo>
                <a:lnTo>
                  <a:pt x="1305" y="257"/>
                </a:lnTo>
                <a:lnTo>
                  <a:pt x="1303" y="259"/>
                </a:lnTo>
                <a:lnTo>
                  <a:pt x="1308" y="263"/>
                </a:lnTo>
                <a:lnTo>
                  <a:pt x="1312" y="266"/>
                </a:lnTo>
                <a:lnTo>
                  <a:pt x="1316" y="270"/>
                </a:lnTo>
                <a:lnTo>
                  <a:pt x="1320" y="274"/>
                </a:lnTo>
                <a:lnTo>
                  <a:pt x="1318" y="274"/>
                </a:lnTo>
                <a:lnTo>
                  <a:pt x="1316" y="275"/>
                </a:lnTo>
                <a:lnTo>
                  <a:pt x="1314" y="277"/>
                </a:lnTo>
                <a:lnTo>
                  <a:pt x="1314" y="278"/>
                </a:lnTo>
                <a:lnTo>
                  <a:pt x="1314" y="279"/>
                </a:lnTo>
                <a:lnTo>
                  <a:pt x="1314" y="280"/>
                </a:lnTo>
                <a:lnTo>
                  <a:pt x="1315" y="281"/>
                </a:lnTo>
                <a:lnTo>
                  <a:pt x="1318" y="282"/>
                </a:lnTo>
                <a:lnTo>
                  <a:pt x="1323" y="282"/>
                </a:lnTo>
                <a:lnTo>
                  <a:pt x="1322" y="283"/>
                </a:lnTo>
                <a:lnTo>
                  <a:pt x="1322" y="284"/>
                </a:lnTo>
                <a:lnTo>
                  <a:pt x="1323" y="285"/>
                </a:lnTo>
                <a:lnTo>
                  <a:pt x="1326" y="285"/>
                </a:lnTo>
                <a:lnTo>
                  <a:pt x="1325" y="284"/>
                </a:lnTo>
                <a:lnTo>
                  <a:pt x="1324" y="283"/>
                </a:lnTo>
                <a:lnTo>
                  <a:pt x="1324" y="279"/>
                </a:lnTo>
                <a:lnTo>
                  <a:pt x="1324" y="275"/>
                </a:lnTo>
                <a:lnTo>
                  <a:pt x="1325" y="274"/>
                </a:lnTo>
                <a:lnTo>
                  <a:pt x="1326" y="274"/>
                </a:lnTo>
                <a:lnTo>
                  <a:pt x="1328" y="273"/>
                </a:lnTo>
                <a:lnTo>
                  <a:pt x="1330" y="274"/>
                </a:lnTo>
                <a:lnTo>
                  <a:pt x="1332" y="274"/>
                </a:lnTo>
                <a:lnTo>
                  <a:pt x="1334" y="274"/>
                </a:lnTo>
                <a:lnTo>
                  <a:pt x="1339" y="280"/>
                </a:lnTo>
                <a:lnTo>
                  <a:pt x="1344" y="285"/>
                </a:lnTo>
                <a:lnTo>
                  <a:pt x="1345" y="287"/>
                </a:lnTo>
                <a:lnTo>
                  <a:pt x="1347" y="288"/>
                </a:lnTo>
                <a:lnTo>
                  <a:pt x="1351" y="288"/>
                </a:lnTo>
                <a:lnTo>
                  <a:pt x="1354" y="287"/>
                </a:lnTo>
                <a:lnTo>
                  <a:pt x="1359" y="286"/>
                </a:lnTo>
                <a:lnTo>
                  <a:pt x="1374" y="279"/>
                </a:lnTo>
                <a:lnTo>
                  <a:pt x="1374" y="285"/>
                </a:lnTo>
                <a:lnTo>
                  <a:pt x="1368" y="286"/>
                </a:lnTo>
                <a:lnTo>
                  <a:pt x="1365" y="288"/>
                </a:lnTo>
                <a:lnTo>
                  <a:pt x="1362" y="288"/>
                </a:lnTo>
                <a:lnTo>
                  <a:pt x="1362" y="289"/>
                </a:lnTo>
                <a:lnTo>
                  <a:pt x="1362" y="290"/>
                </a:lnTo>
                <a:lnTo>
                  <a:pt x="1362" y="294"/>
                </a:lnTo>
                <a:lnTo>
                  <a:pt x="1362" y="302"/>
                </a:lnTo>
                <a:lnTo>
                  <a:pt x="1357" y="300"/>
                </a:lnTo>
                <a:lnTo>
                  <a:pt x="1354" y="299"/>
                </a:lnTo>
                <a:lnTo>
                  <a:pt x="1352" y="299"/>
                </a:lnTo>
                <a:lnTo>
                  <a:pt x="1350" y="299"/>
                </a:lnTo>
                <a:lnTo>
                  <a:pt x="1346" y="299"/>
                </a:lnTo>
                <a:lnTo>
                  <a:pt x="1345" y="304"/>
                </a:lnTo>
                <a:lnTo>
                  <a:pt x="1344" y="309"/>
                </a:lnTo>
                <a:lnTo>
                  <a:pt x="1343" y="321"/>
                </a:lnTo>
                <a:lnTo>
                  <a:pt x="1350" y="319"/>
                </a:lnTo>
                <a:lnTo>
                  <a:pt x="1353" y="318"/>
                </a:lnTo>
                <a:lnTo>
                  <a:pt x="1357" y="319"/>
                </a:lnTo>
                <a:lnTo>
                  <a:pt x="1356" y="319"/>
                </a:lnTo>
                <a:lnTo>
                  <a:pt x="1356" y="320"/>
                </a:lnTo>
                <a:lnTo>
                  <a:pt x="1357" y="323"/>
                </a:lnTo>
                <a:lnTo>
                  <a:pt x="1360" y="327"/>
                </a:lnTo>
                <a:lnTo>
                  <a:pt x="1353" y="328"/>
                </a:lnTo>
                <a:lnTo>
                  <a:pt x="1349" y="328"/>
                </a:lnTo>
                <a:lnTo>
                  <a:pt x="1346" y="330"/>
                </a:lnTo>
                <a:lnTo>
                  <a:pt x="1346" y="333"/>
                </a:lnTo>
                <a:lnTo>
                  <a:pt x="1333" y="341"/>
                </a:lnTo>
                <a:lnTo>
                  <a:pt x="1327" y="347"/>
                </a:lnTo>
                <a:lnTo>
                  <a:pt x="1321" y="353"/>
                </a:lnTo>
                <a:lnTo>
                  <a:pt x="1318" y="359"/>
                </a:lnTo>
                <a:lnTo>
                  <a:pt x="1317" y="362"/>
                </a:lnTo>
                <a:lnTo>
                  <a:pt x="1317" y="366"/>
                </a:lnTo>
                <a:lnTo>
                  <a:pt x="1317" y="369"/>
                </a:lnTo>
                <a:lnTo>
                  <a:pt x="1319" y="372"/>
                </a:lnTo>
                <a:lnTo>
                  <a:pt x="1322" y="375"/>
                </a:lnTo>
                <a:lnTo>
                  <a:pt x="1326" y="378"/>
                </a:lnTo>
                <a:lnTo>
                  <a:pt x="1326" y="379"/>
                </a:lnTo>
                <a:lnTo>
                  <a:pt x="1325" y="380"/>
                </a:lnTo>
                <a:lnTo>
                  <a:pt x="1323" y="382"/>
                </a:lnTo>
                <a:lnTo>
                  <a:pt x="1323" y="383"/>
                </a:lnTo>
                <a:lnTo>
                  <a:pt x="1316" y="379"/>
                </a:lnTo>
                <a:lnTo>
                  <a:pt x="1309" y="375"/>
                </a:lnTo>
                <a:lnTo>
                  <a:pt x="1305" y="371"/>
                </a:lnTo>
                <a:lnTo>
                  <a:pt x="1302" y="367"/>
                </a:lnTo>
                <a:lnTo>
                  <a:pt x="1301" y="365"/>
                </a:lnTo>
                <a:lnTo>
                  <a:pt x="1300" y="363"/>
                </a:lnTo>
                <a:lnTo>
                  <a:pt x="1299" y="359"/>
                </a:lnTo>
                <a:lnTo>
                  <a:pt x="1298" y="354"/>
                </a:lnTo>
                <a:lnTo>
                  <a:pt x="1298" y="348"/>
                </a:lnTo>
                <a:lnTo>
                  <a:pt x="1298" y="335"/>
                </a:lnTo>
                <a:lnTo>
                  <a:pt x="1296" y="335"/>
                </a:lnTo>
                <a:lnTo>
                  <a:pt x="1295" y="336"/>
                </a:lnTo>
                <a:lnTo>
                  <a:pt x="1294" y="337"/>
                </a:lnTo>
                <a:lnTo>
                  <a:pt x="1292" y="338"/>
                </a:lnTo>
                <a:lnTo>
                  <a:pt x="1293" y="339"/>
                </a:lnTo>
                <a:lnTo>
                  <a:pt x="1294" y="340"/>
                </a:lnTo>
                <a:lnTo>
                  <a:pt x="1293" y="341"/>
                </a:lnTo>
                <a:lnTo>
                  <a:pt x="1289" y="341"/>
                </a:lnTo>
                <a:lnTo>
                  <a:pt x="1285" y="337"/>
                </a:lnTo>
                <a:lnTo>
                  <a:pt x="1281" y="333"/>
                </a:lnTo>
                <a:lnTo>
                  <a:pt x="1277" y="328"/>
                </a:lnTo>
                <a:lnTo>
                  <a:pt x="1272" y="324"/>
                </a:lnTo>
                <a:lnTo>
                  <a:pt x="1270" y="329"/>
                </a:lnTo>
                <a:lnTo>
                  <a:pt x="1267" y="336"/>
                </a:lnTo>
                <a:lnTo>
                  <a:pt x="1266" y="339"/>
                </a:lnTo>
                <a:lnTo>
                  <a:pt x="1266" y="343"/>
                </a:lnTo>
                <a:lnTo>
                  <a:pt x="1267" y="345"/>
                </a:lnTo>
                <a:lnTo>
                  <a:pt x="1267" y="346"/>
                </a:lnTo>
                <a:lnTo>
                  <a:pt x="1268" y="348"/>
                </a:lnTo>
                <a:lnTo>
                  <a:pt x="1270" y="349"/>
                </a:lnTo>
                <a:lnTo>
                  <a:pt x="1261" y="352"/>
                </a:lnTo>
                <a:lnTo>
                  <a:pt x="1254" y="354"/>
                </a:lnTo>
                <a:lnTo>
                  <a:pt x="1250" y="355"/>
                </a:lnTo>
                <a:lnTo>
                  <a:pt x="1246" y="355"/>
                </a:lnTo>
                <a:lnTo>
                  <a:pt x="1241" y="354"/>
                </a:lnTo>
                <a:lnTo>
                  <a:pt x="1236" y="352"/>
                </a:lnTo>
                <a:lnTo>
                  <a:pt x="1233" y="347"/>
                </a:lnTo>
                <a:lnTo>
                  <a:pt x="1229" y="347"/>
                </a:lnTo>
                <a:lnTo>
                  <a:pt x="1226" y="348"/>
                </a:lnTo>
                <a:lnTo>
                  <a:pt x="1220" y="352"/>
                </a:lnTo>
                <a:lnTo>
                  <a:pt x="1215" y="356"/>
                </a:lnTo>
                <a:lnTo>
                  <a:pt x="1211" y="357"/>
                </a:lnTo>
                <a:lnTo>
                  <a:pt x="1208" y="358"/>
                </a:lnTo>
                <a:lnTo>
                  <a:pt x="1205" y="352"/>
                </a:lnTo>
                <a:lnTo>
                  <a:pt x="1200" y="352"/>
                </a:lnTo>
                <a:lnTo>
                  <a:pt x="1196" y="352"/>
                </a:lnTo>
                <a:lnTo>
                  <a:pt x="1194" y="352"/>
                </a:lnTo>
                <a:lnTo>
                  <a:pt x="1192" y="352"/>
                </a:lnTo>
                <a:lnTo>
                  <a:pt x="1189" y="351"/>
                </a:lnTo>
                <a:lnTo>
                  <a:pt x="1185" y="349"/>
                </a:lnTo>
                <a:lnTo>
                  <a:pt x="1183" y="347"/>
                </a:lnTo>
                <a:lnTo>
                  <a:pt x="1180" y="343"/>
                </a:lnTo>
                <a:lnTo>
                  <a:pt x="1177" y="340"/>
                </a:lnTo>
                <a:lnTo>
                  <a:pt x="1176" y="339"/>
                </a:lnTo>
                <a:lnTo>
                  <a:pt x="1174" y="338"/>
                </a:lnTo>
                <a:lnTo>
                  <a:pt x="1173" y="338"/>
                </a:lnTo>
                <a:lnTo>
                  <a:pt x="1172" y="339"/>
                </a:lnTo>
                <a:lnTo>
                  <a:pt x="1170" y="340"/>
                </a:lnTo>
                <a:lnTo>
                  <a:pt x="1168" y="342"/>
                </a:lnTo>
                <a:lnTo>
                  <a:pt x="1167" y="343"/>
                </a:lnTo>
                <a:lnTo>
                  <a:pt x="1166" y="344"/>
                </a:lnTo>
                <a:lnTo>
                  <a:pt x="1166" y="341"/>
                </a:lnTo>
                <a:lnTo>
                  <a:pt x="1163" y="344"/>
                </a:lnTo>
                <a:lnTo>
                  <a:pt x="1159" y="345"/>
                </a:lnTo>
                <a:lnTo>
                  <a:pt x="1158" y="345"/>
                </a:lnTo>
                <a:lnTo>
                  <a:pt x="1157" y="344"/>
                </a:lnTo>
                <a:lnTo>
                  <a:pt x="1158" y="342"/>
                </a:lnTo>
                <a:lnTo>
                  <a:pt x="1160" y="338"/>
                </a:lnTo>
                <a:lnTo>
                  <a:pt x="1160" y="337"/>
                </a:lnTo>
                <a:lnTo>
                  <a:pt x="1160" y="335"/>
                </a:lnTo>
                <a:lnTo>
                  <a:pt x="1158" y="335"/>
                </a:lnTo>
                <a:lnTo>
                  <a:pt x="1156" y="334"/>
                </a:lnTo>
                <a:lnTo>
                  <a:pt x="1153" y="334"/>
                </a:lnTo>
                <a:lnTo>
                  <a:pt x="1152" y="333"/>
                </a:lnTo>
                <a:lnTo>
                  <a:pt x="1149" y="334"/>
                </a:lnTo>
                <a:lnTo>
                  <a:pt x="1149" y="336"/>
                </a:lnTo>
                <a:lnTo>
                  <a:pt x="1147" y="337"/>
                </a:lnTo>
                <a:lnTo>
                  <a:pt x="1145" y="338"/>
                </a:lnTo>
                <a:lnTo>
                  <a:pt x="1143" y="338"/>
                </a:lnTo>
                <a:lnTo>
                  <a:pt x="1141" y="332"/>
                </a:lnTo>
                <a:lnTo>
                  <a:pt x="1139" y="325"/>
                </a:lnTo>
                <a:lnTo>
                  <a:pt x="1135" y="313"/>
                </a:lnTo>
                <a:lnTo>
                  <a:pt x="1109" y="314"/>
                </a:lnTo>
                <a:lnTo>
                  <a:pt x="1084" y="316"/>
                </a:lnTo>
                <a:lnTo>
                  <a:pt x="1081" y="323"/>
                </a:lnTo>
                <a:lnTo>
                  <a:pt x="1080" y="329"/>
                </a:lnTo>
                <a:lnTo>
                  <a:pt x="1078" y="335"/>
                </a:lnTo>
                <a:lnTo>
                  <a:pt x="1076" y="341"/>
                </a:lnTo>
                <a:lnTo>
                  <a:pt x="1080" y="339"/>
                </a:lnTo>
                <a:lnTo>
                  <a:pt x="1084" y="338"/>
                </a:lnTo>
                <a:lnTo>
                  <a:pt x="1083" y="339"/>
                </a:lnTo>
                <a:lnTo>
                  <a:pt x="1083" y="340"/>
                </a:lnTo>
                <a:lnTo>
                  <a:pt x="1085" y="341"/>
                </a:lnTo>
                <a:lnTo>
                  <a:pt x="1090" y="341"/>
                </a:lnTo>
                <a:lnTo>
                  <a:pt x="1087" y="333"/>
                </a:lnTo>
                <a:lnTo>
                  <a:pt x="1089" y="332"/>
                </a:lnTo>
                <a:lnTo>
                  <a:pt x="1090" y="333"/>
                </a:lnTo>
                <a:lnTo>
                  <a:pt x="1092" y="334"/>
                </a:lnTo>
                <a:lnTo>
                  <a:pt x="1094" y="335"/>
                </a:lnTo>
                <a:lnTo>
                  <a:pt x="1096" y="336"/>
                </a:lnTo>
                <a:lnTo>
                  <a:pt x="1098" y="335"/>
                </a:lnTo>
                <a:lnTo>
                  <a:pt x="1104" y="327"/>
                </a:lnTo>
                <a:lnTo>
                  <a:pt x="1107" y="328"/>
                </a:lnTo>
                <a:lnTo>
                  <a:pt x="1110" y="329"/>
                </a:lnTo>
                <a:lnTo>
                  <a:pt x="1113" y="330"/>
                </a:lnTo>
                <a:lnTo>
                  <a:pt x="1118" y="330"/>
                </a:lnTo>
                <a:lnTo>
                  <a:pt x="1099" y="342"/>
                </a:lnTo>
                <a:lnTo>
                  <a:pt x="1081" y="355"/>
                </a:lnTo>
                <a:lnTo>
                  <a:pt x="1082" y="359"/>
                </a:lnTo>
                <a:lnTo>
                  <a:pt x="1084" y="362"/>
                </a:lnTo>
                <a:lnTo>
                  <a:pt x="1087" y="366"/>
                </a:lnTo>
                <a:lnTo>
                  <a:pt x="1087" y="368"/>
                </a:lnTo>
                <a:lnTo>
                  <a:pt x="1087" y="370"/>
                </a:lnTo>
                <a:lnTo>
                  <a:pt x="1086" y="371"/>
                </a:lnTo>
                <a:lnTo>
                  <a:pt x="1085" y="371"/>
                </a:lnTo>
                <a:lnTo>
                  <a:pt x="1084" y="373"/>
                </a:lnTo>
                <a:lnTo>
                  <a:pt x="1084" y="375"/>
                </a:lnTo>
                <a:lnTo>
                  <a:pt x="1087" y="377"/>
                </a:lnTo>
                <a:lnTo>
                  <a:pt x="1088" y="379"/>
                </a:lnTo>
                <a:lnTo>
                  <a:pt x="1090" y="380"/>
                </a:lnTo>
                <a:lnTo>
                  <a:pt x="1092" y="380"/>
                </a:lnTo>
                <a:lnTo>
                  <a:pt x="1093" y="381"/>
                </a:lnTo>
                <a:lnTo>
                  <a:pt x="1092" y="382"/>
                </a:lnTo>
                <a:lnTo>
                  <a:pt x="1091" y="383"/>
                </a:lnTo>
                <a:lnTo>
                  <a:pt x="1089" y="384"/>
                </a:lnTo>
                <a:lnTo>
                  <a:pt x="1088" y="384"/>
                </a:lnTo>
                <a:lnTo>
                  <a:pt x="1087" y="383"/>
                </a:lnTo>
                <a:lnTo>
                  <a:pt x="1084" y="392"/>
                </a:lnTo>
                <a:lnTo>
                  <a:pt x="1082" y="390"/>
                </a:lnTo>
                <a:lnTo>
                  <a:pt x="1080" y="389"/>
                </a:lnTo>
                <a:lnTo>
                  <a:pt x="1077" y="388"/>
                </a:lnTo>
                <a:lnTo>
                  <a:pt x="1076" y="386"/>
                </a:lnTo>
                <a:lnTo>
                  <a:pt x="1075" y="383"/>
                </a:lnTo>
                <a:lnTo>
                  <a:pt x="1074" y="379"/>
                </a:lnTo>
                <a:lnTo>
                  <a:pt x="1073" y="369"/>
                </a:lnTo>
                <a:lnTo>
                  <a:pt x="1073" y="365"/>
                </a:lnTo>
                <a:lnTo>
                  <a:pt x="1072" y="363"/>
                </a:lnTo>
                <a:lnTo>
                  <a:pt x="1071" y="363"/>
                </a:lnTo>
                <a:lnTo>
                  <a:pt x="1070" y="366"/>
                </a:lnTo>
                <a:lnTo>
                  <a:pt x="1067" y="375"/>
                </a:lnTo>
                <a:lnTo>
                  <a:pt x="1064" y="364"/>
                </a:lnTo>
                <a:lnTo>
                  <a:pt x="1061" y="352"/>
                </a:lnTo>
                <a:lnTo>
                  <a:pt x="1056" y="353"/>
                </a:lnTo>
                <a:lnTo>
                  <a:pt x="1052" y="353"/>
                </a:lnTo>
                <a:lnTo>
                  <a:pt x="1050" y="352"/>
                </a:lnTo>
                <a:lnTo>
                  <a:pt x="1048" y="350"/>
                </a:lnTo>
                <a:lnTo>
                  <a:pt x="1047" y="347"/>
                </a:lnTo>
                <a:lnTo>
                  <a:pt x="1046" y="344"/>
                </a:lnTo>
                <a:lnTo>
                  <a:pt x="1045" y="341"/>
                </a:lnTo>
                <a:lnTo>
                  <a:pt x="1037" y="347"/>
                </a:lnTo>
                <a:lnTo>
                  <a:pt x="1034" y="350"/>
                </a:lnTo>
                <a:lnTo>
                  <a:pt x="1031" y="352"/>
                </a:lnTo>
                <a:lnTo>
                  <a:pt x="1028" y="353"/>
                </a:lnTo>
                <a:lnTo>
                  <a:pt x="1027" y="353"/>
                </a:lnTo>
                <a:lnTo>
                  <a:pt x="1028" y="352"/>
                </a:lnTo>
                <a:lnTo>
                  <a:pt x="1029" y="351"/>
                </a:lnTo>
                <a:lnTo>
                  <a:pt x="1029" y="350"/>
                </a:lnTo>
                <a:lnTo>
                  <a:pt x="1028" y="349"/>
                </a:lnTo>
                <a:lnTo>
                  <a:pt x="1023" y="349"/>
                </a:lnTo>
                <a:lnTo>
                  <a:pt x="1017" y="351"/>
                </a:lnTo>
                <a:lnTo>
                  <a:pt x="1002" y="355"/>
                </a:lnTo>
                <a:lnTo>
                  <a:pt x="994" y="357"/>
                </a:lnTo>
                <a:lnTo>
                  <a:pt x="987" y="359"/>
                </a:lnTo>
                <a:lnTo>
                  <a:pt x="979" y="359"/>
                </a:lnTo>
                <a:lnTo>
                  <a:pt x="975" y="359"/>
                </a:lnTo>
                <a:lnTo>
                  <a:pt x="971" y="358"/>
                </a:lnTo>
                <a:lnTo>
                  <a:pt x="969" y="357"/>
                </a:lnTo>
                <a:lnTo>
                  <a:pt x="968" y="354"/>
                </a:lnTo>
                <a:lnTo>
                  <a:pt x="967" y="351"/>
                </a:lnTo>
                <a:lnTo>
                  <a:pt x="966" y="348"/>
                </a:lnTo>
                <a:lnTo>
                  <a:pt x="966" y="345"/>
                </a:lnTo>
                <a:lnTo>
                  <a:pt x="967" y="343"/>
                </a:lnTo>
                <a:lnTo>
                  <a:pt x="968" y="342"/>
                </a:lnTo>
                <a:lnTo>
                  <a:pt x="969" y="341"/>
                </a:lnTo>
                <a:lnTo>
                  <a:pt x="971" y="341"/>
                </a:lnTo>
                <a:lnTo>
                  <a:pt x="970" y="340"/>
                </a:lnTo>
                <a:lnTo>
                  <a:pt x="969" y="339"/>
                </a:lnTo>
                <a:lnTo>
                  <a:pt x="969" y="337"/>
                </a:lnTo>
                <a:lnTo>
                  <a:pt x="969" y="335"/>
                </a:lnTo>
                <a:lnTo>
                  <a:pt x="977" y="336"/>
                </a:lnTo>
                <a:lnTo>
                  <a:pt x="981" y="336"/>
                </a:lnTo>
                <a:lnTo>
                  <a:pt x="986" y="335"/>
                </a:lnTo>
                <a:lnTo>
                  <a:pt x="981" y="330"/>
                </a:lnTo>
                <a:lnTo>
                  <a:pt x="975" y="323"/>
                </a:lnTo>
                <a:lnTo>
                  <a:pt x="971" y="319"/>
                </a:lnTo>
                <a:lnTo>
                  <a:pt x="968" y="316"/>
                </a:lnTo>
                <a:lnTo>
                  <a:pt x="965" y="314"/>
                </a:lnTo>
                <a:lnTo>
                  <a:pt x="963" y="313"/>
                </a:lnTo>
                <a:lnTo>
                  <a:pt x="960" y="312"/>
                </a:lnTo>
                <a:lnTo>
                  <a:pt x="957" y="312"/>
                </a:lnTo>
                <a:lnTo>
                  <a:pt x="955" y="313"/>
                </a:lnTo>
                <a:lnTo>
                  <a:pt x="954" y="313"/>
                </a:lnTo>
                <a:lnTo>
                  <a:pt x="952" y="315"/>
                </a:lnTo>
                <a:lnTo>
                  <a:pt x="951" y="317"/>
                </a:lnTo>
                <a:lnTo>
                  <a:pt x="950" y="319"/>
                </a:lnTo>
                <a:lnTo>
                  <a:pt x="948" y="321"/>
                </a:lnTo>
                <a:lnTo>
                  <a:pt x="944" y="322"/>
                </a:lnTo>
                <a:lnTo>
                  <a:pt x="941" y="322"/>
                </a:lnTo>
                <a:lnTo>
                  <a:pt x="938" y="321"/>
                </a:lnTo>
                <a:lnTo>
                  <a:pt x="936" y="321"/>
                </a:lnTo>
                <a:lnTo>
                  <a:pt x="934" y="320"/>
                </a:lnTo>
                <a:lnTo>
                  <a:pt x="930" y="317"/>
                </a:lnTo>
                <a:lnTo>
                  <a:pt x="924" y="313"/>
                </a:lnTo>
                <a:lnTo>
                  <a:pt x="918" y="312"/>
                </a:lnTo>
                <a:lnTo>
                  <a:pt x="913" y="312"/>
                </a:lnTo>
                <a:lnTo>
                  <a:pt x="908" y="312"/>
                </a:lnTo>
                <a:lnTo>
                  <a:pt x="906" y="311"/>
                </a:lnTo>
                <a:lnTo>
                  <a:pt x="904" y="310"/>
                </a:lnTo>
                <a:lnTo>
                  <a:pt x="903" y="309"/>
                </a:lnTo>
                <a:lnTo>
                  <a:pt x="903" y="308"/>
                </a:lnTo>
                <a:lnTo>
                  <a:pt x="903" y="306"/>
                </a:lnTo>
                <a:lnTo>
                  <a:pt x="903" y="303"/>
                </a:lnTo>
                <a:lnTo>
                  <a:pt x="902" y="302"/>
                </a:lnTo>
                <a:lnTo>
                  <a:pt x="901" y="302"/>
                </a:lnTo>
                <a:lnTo>
                  <a:pt x="899" y="301"/>
                </a:lnTo>
                <a:lnTo>
                  <a:pt x="898" y="301"/>
                </a:lnTo>
                <a:lnTo>
                  <a:pt x="896" y="302"/>
                </a:lnTo>
                <a:lnTo>
                  <a:pt x="895" y="304"/>
                </a:lnTo>
                <a:lnTo>
                  <a:pt x="894" y="304"/>
                </a:lnTo>
                <a:lnTo>
                  <a:pt x="893" y="304"/>
                </a:lnTo>
                <a:lnTo>
                  <a:pt x="887" y="299"/>
                </a:lnTo>
                <a:lnTo>
                  <a:pt x="881" y="296"/>
                </a:lnTo>
                <a:lnTo>
                  <a:pt x="875" y="293"/>
                </a:lnTo>
                <a:lnTo>
                  <a:pt x="860" y="286"/>
                </a:lnTo>
                <a:lnTo>
                  <a:pt x="852" y="283"/>
                </a:lnTo>
                <a:lnTo>
                  <a:pt x="844" y="281"/>
                </a:lnTo>
                <a:lnTo>
                  <a:pt x="840" y="281"/>
                </a:lnTo>
                <a:lnTo>
                  <a:pt x="836" y="281"/>
                </a:lnTo>
                <a:lnTo>
                  <a:pt x="832" y="281"/>
                </a:lnTo>
                <a:lnTo>
                  <a:pt x="828" y="282"/>
                </a:lnTo>
                <a:lnTo>
                  <a:pt x="828" y="288"/>
                </a:lnTo>
                <a:lnTo>
                  <a:pt x="819" y="292"/>
                </a:lnTo>
                <a:lnTo>
                  <a:pt x="810" y="296"/>
                </a:lnTo>
                <a:lnTo>
                  <a:pt x="808" y="288"/>
                </a:lnTo>
                <a:lnTo>
                  <a:pt x="806" y="280"/>
                </a:lnTo>
                <a:lnTo>
                  <a:pt x="805" y="273"/>
                </a:lnTo>
                <a:lnTo>
                  <a:pt x="805" y="268"/>
                </a:lnTo>
                <a:lnTo>
                  <a:pt x="803" y="270"/>
                </a:lnTo>
                <a:lnTo>
                  <a:pt x="802" y="271"/>
                </a:lnTo>
                <a:lnTo>
                  <a:pt x="799" y="274"/>
                </a:lnTo>
                <a:lnTo>
                  <a:pt x="800" y="274"/>
                </a:lnTo>
                <a:lnTo>
                  <a:pt x="801" y="277"/>
                </a:lnTo>
                <a:lnTo>
                  <a:pt x="801" y="280"/>
                </a:lnTo>
                <a:lnTo>
                  <a:pt x="800" y="284"/>
                </a:lnTo>
                <a:lnTo>
                  <a:pt x="796" y="299"/>
                </a:lnTo>
                <a:lnTo>
                  <a:pt x="790" y="299"/>
                </a:lnTo>
                <a:lnTo>
                  <a:pt x="784" y="294"/>
                </a:lnTo>
                <a:lnTo>
                  <a:pt x="774" y="285"/>
                </a:lnTo>
                <a:lnTo>
                  <a:pt x="769" y="281"/>
                </a:lnTo>
                <a:lnTo>
                  <a:pt x="764" y="276"/>
                </a:lnTo>
                <a:lnTo>
                  <a:pt x="761" y="273"/>
                </a:lnTo>
                <a:lnTo>
                  <a:pt x="760" y="271"/>
                </a:lnTo>
                <a:lnTo>
                  <a:pt x="760" y="265"/>
                </a:lnTo>
                <a:lnTo>
                  <a:pt x="754" y="265"/>
                </a:lnTo>
                <a:lnTo>
                  <a:pt x="754" y="262"/>
                </a:lnTo>
                <a:lnTo>
                  <a:pt x="750" y="260"/>
                </a:lnTo>
                <a:lnTo>
                  <a:pt x="746" y="257"/>
                </a:lnTo>
                <a:lnTo>
                  <a:pt x="738" y="251"/>
                </a:lnTo>
                <a:lnTo>
                  <a:pt x="731" y="244"/>
                </a:lnTo>
                <a:lnTo>
                  <a:pt x="723" y="237"/>
                </a:lnTo>
                <a:lnTo>
                  <a:pt x="720" y="251"/>
                </a:lnTo>
                <a:lnTo>
                  <a:pt x="722" y="251"/>
                </a:lnTo>
                <a:lnTo>
                  <a:pt x="723" y="252"/>
                </a:lnTo>
                <a:lnTo>
                  <a:pt x="723" y="253"/>
                </a:lnTo>
                <a:lnTo>
                  <a:pt x="723" y="254"/>
                </a:lnTo>
                <a:lnTo>
                  <a:pt x="723" y="255"/>
                </a:lnTo>
                <a:lnTo>
                  <a:pt x="723" y="256"/>
                </a:lnTo>
                <a:lnTo>
                  <a:pt x="721" y="257"/>
                </a:lnTo>
                <a:lnTo>
                  <a:pt x="720" y="257"/>
                </a:lnTo>
                <a:lnTo>
                  <a:pt x="716" y="267"/>
                </a:lnTo>
                <a:lnTo>
                  <a:pt x="713" y="273"/>
                </a:lnTo>
                <a:lnTo>
                  <a:pt x="712" y="275"/>
                </a:lnTo>
                <a:lnTo>
                  <a:pt x="712" y="276"/>
                </a:lnTo>
                <a:lnTo>
                  <a:pt x="710" y="276"/>
                </a:lnTo>
                <a:lnTo>
                  <a:pt x="707" y="275"/>
                </a:lnTo>
                <a:lnTo>
                  <a:pt x="704" y="274"/>
                </a:lnTo>
                <a:lnTo>
                  <a:pt x="700" y="274"/>
                </a:lnTo>
                <a:lnTo>
                  <a:pt x="696" y="275"/>
                </a:lnTo>
                <a:lnTo>
                  <a:pt x="693" y="277"/>
                </a:lnTo>
                <a:lnTo>
                  <a:pt x="692" y="278"/>
                </a:lnTo>
                <a:lnTo>
                  <a:pt x="691" y="279"/>
                </a:lnTo>
                <a:lnTo>
                  <a:pt x="689" y="282"/>
                </a:lnTo>
                <a:lnTo>
                  <a:pt x="686" y="290"/>
                </a:lnTo>
                <a:lnTo>
                  <a:pt x="684" y="299"/>
                </a:lnTo>
                <a:lnTo>
                  <a:pt x="681" y="299"/>
                </a:lnTo>
                <a:lnTo>
                  <a:pt x="682" y="299"/>
                </a:lnTo>
                <a:lnTo>
                  <a:pt x="682" y="298"/>
                </a:lnTo>
                <a:lnTo>
                  <a:pt x="681" y="296"/>
                </a:lnTo>
                <a:lnTo>
                  <a:pt x="678" y="293"/>
                </a:lnTo>
                <a:lnTo>
                  <a:pt x="674" y="296"/>
                </a:lnTo>
                <a:lnTo>
                  <a:pt x="672" y="298"/>
                </a:lnTo>
                <a:lnTo>
                  <a:pt x="671" y="298"/>
                </a:lnTo>
                <a:lnTo>
                  <a:pt x="670" y="299"/>
                </a:lnTo>
                <a:lnTo>
                  <a:pt x="670" y="293"/>
                </a:lnTo>
                <a:lnTo>
                  <a:pt x="660" y="297"/>
                </a:lnTo>
                <a:lnTo>
                  <a:pt x="656" y="300"/>
                </a:lnTo>
                <a:lnTo>
                  <a:pt x="653" y="302"/>
                </a:lnTo>
                <a:lnTo>
                  <a:pt x="647" y="319"/>
                </a:lnTo>
                <a:lnTo>
                  <a:pt x="646" y="319"/>
                </a:lnTo>
                <a:lnTo>
                  <a:pt x="644" y="320"/>
                </a:lnTo>
                <a:lnTo>
                  <a:pt x="641" y="320"/>
                </a:lnTo>
                <a:lnTo>
                  <a:pt x="638" y="320"/>
                </a:lnTo>
                <a:lnTo>
                  <a:pt x="637" y="321"/>
                </a:lnTo>
                <a:lnTo>
                  <a:pt x="636" y="321"/>
                </a:lnTo>
                <a:lnTo>
                  <a:pt x="635" y="321"/>
                </a:lnTo>
                <a:lnTo>
                  <a:pt x="635" y="320"/>
                </a:lnTo>
                <a:lnTo>
                  <a:pt x="636" y="318"/>
                </a:lnTo>
                <a:lnTo>
                  <a:pt x="633" y="319"/>
                </a:lnTo>
                <a:lnTo>
                  <a:pt x="643" y="301"/>
                </a:lnTo>
                <a:lnTo>
                  <a:pt x="649" y="290"/>
                </a:lnTo>
                <a:lnTo>
                  <a:pt x="653" y="285"/>
                </a:lnTo>
                <a:lnTo>
                  <a:pt x="656" y="283"/>
                </a:lnTo>
                <a:lnTo>
                  <a:pt x="660" y="282"/>
                </a:lnTo>
                <a:lnTo>
                  <a:pt x="668" y="281"/>
                </a:lnTo>
                <a:lnTo>
                  <a:pt x="676" y="280"/>
                </a:lnTo>
                <a:lnTo>
                  <a:pt x="680" y="278"/>
                </a:lnTo>
                <a:lnTo>
                  <a:pt x="684" y="276"/>
                </a:lnTo>
                <a:lnTo>
                  <a:pt x="691" y="271"/>
                </a:lnTo>
                <a:lnTo>
                  <a:pt x="696" y="268"/>
                </a:lnTo>
                <a:lnTo>
                  <a:pt x="698" y="265"/>
                </a:lnTo>
                <a:lnTo>
                  <a:pt x="698" y="264"/>
                </a:lnTo>
                <a:lnTo>
                  <a:pt x="697" y="263"/>
                </a:lnTo>
                <a:lnTo>
                  <a:pt x="694" y="262"/>
                </a:lnTo>
                <a:lnTo>
                  <a:pt x="690" y="261"/>
                </a:lnTo>
                <a:lnTo>
                  <a:pt x="675" y="259"/>
                </a:lnTo>
                <a:lnTo>
                  <a:pt x="673" y="264"/>
                </a:lnTo>
                <a:lnTo>
                  <a:pt x="672" y="268"/>
                </a:lnTo>
                <a:lnTo>
                  <a:pt x="671" y="272"/>
                </a:lnTo>
                <a:lnTo>
                  <a:pt x="670" y="276"/>
                </a:lnTo>
                <a:lnTo>
                  <a:pt x="668" y="276"/>
                </a:lnTo>
                <a:lnTo>
                  <a:pt x="667" y="275"/>
                </a:lnTo>
                <a:lnTo>
                  <a:pt x="665" y="273"/>
                </a:lnTo>
                <a:lnTo>
                  <a:pt x="661" y="271"/>
                </a:lnTo>
                <a:lnTo>
                  <a:pt x="656" y="272"/>
                </a:lnTo>
                <a:lnTo>
                  <a:pt x="648" y="275"/>
                </a:lnTo>
                <a:lnTo>
                  <a:pt x="636" y="279"/>
                </a:lnTo>
                <a:lnTo>
                  <a:pt x="635" y="281"/>
                </a:lnTo>
                <a:lnTo>
                  <a:pt x="635" y="282"/>
                </a:lnTo>
                <a:lnTo>
                  <a:pt x="635" y="285"/>
                </a:lnTo>
                <a:lnTo>
                  <a:pt x="635" y="288"/>
                </a:lnTo>
                <a:lnTo>
                  <a:pt x="634" y="289"/>
                </a:lnTo>
                <a:lnTo>
                  <a:pt x="633" y="290"/>
                </a:lnTo>
                <a:lnTo>
                  <a:pt x="630" y="291"/>
                </a:lnTo>
                <a:lnTo>
                  <a:pt x="627" y="292"/>
                </a:lnTo>
                <a:lnTo>
                  <a:pt x="624" y="292"/>
                </a:lnTo>
                <a:lnTo>
                  <a:pt x="622" y="293"/>
                </a:lnTo>
                <a:lnTo>
                  <a:pt x="621" y="292"/>
                </a:lnTo>
                <a:lnTo>
                  <a:pt x="621" y="289"/>
                </a:lnTo>
                <a:lnTo>
                  <a:pt x="622" y="285"/>
                </a:lnTo>
                <a:lnTo>
                  <a:pt x="618" y="283"/>
                </a:lnTo>
                <a:lnTo>
                  <a:pt x="615" y="282"/>
                </a:lnTo>
                <a:lnTo>
                  <a:pt x="613" y="281"/>
                </a:lnTo>
                <a:lnTo>
                  <a:pt x="610" y="279"/>
                </a:lnTo>
                <a:lnTo>
                  <a:pt x="610" y="282"/>
                </a:lnTo>
                <a:lnTo>
                  <a:pt x="609" y="284"/>
                </a:lnTo>
                <a:lnTo>
                  <a:pt x="609" y="288"/>
                </a:lnTo>
                <a:lnTo>
                  <a:pt x="609" y="292"/>
                </a:lnTo>
                <a:lnTo>
                  <a:pt x="608" y="296"/>
                </a:lnTo>
                <a:lnTo>
                  <a:pt x="607" y="297"/>
                </a:lnTo>
                <a:lnTo>
                  <a:pt x="606" y="297"/>
                </a:lnTo>
                <a:lnTo>
                  <a:pt x="605" y="296"/>
                </a:lnTo>
                <a:lnTo>
                  <a:pt x="605" y="294"/>
                </a:lnTo>
                <a:lnTo>
                  <a:pt x="605" y="293"/>
                </a:lnTo>
                <a:lnTo>
                  <a:pt x="602" y="293"/>
                </a:lnTo>
                <a:lnTo>
                  <a:pt x="600" y="293"/>
                </a:lnTo>
                <a:lnTo>
                  <a:pt x="599" y="294"/>
                </a:lnTo>
                <a:lnTo>
                  <a:pt x="599" y="296"/>
                </a:lnTo>
                <a:lnTo>
                  <a:pt x="600" y="299"/>
                </a:lnTo>
                <a:lnTo>
                  <a:pt x="600" y="301"/>
                </a:lnTo>
                <a:lnTo>
                  <a:pt x="599" y="302"/>
                </a:lnTo>
                <a:lnTo>
                  <a:pt x="596" y="302"/>
                </a:lnTo>
                <a:lnTo>
                  <a:pt x="592" y="301"/>
                </a:lnTo>
                <a:lnTo>
                  <a:pt x="587" y="300"/>
                </a:lnTo>
                <a:lnTo>
                  <a:pt x="582" y="299"/>
                </a:lnTo>
                <a:lnTo>
                  <a:pt x="582" y="301"/>
                </a:lnTo>
                <a:lnTo>
                  <a:pt x="582" y="303"/>
                </a:lnTo>
                <a:lnTo>
                  <a:pt x="582" y="304"/>
                </a:lnTo>
                <a:lnTo>
                  <a:pt x="583" y="304"/>
                </a:lnTo>
                <a:lnTo>
                  <a:pt x="585" y="304"/>
                </a:lnTo>
                <a:lnTo>
                  <a:pt x="585" y="307"/>
                </a:lnTo>
                <a:lnTo>
                  <a:pt x="589" y="308"/>
                </a:lnTo>
                <a:lnTo>
                  <a:pt x="591" y="310"/>
                </a:lnTo>
                <a:lnTo>
                  <a:pt x="593" y="313"/>
                </a:lnTo>
                <a:lnTo>
                  <a:pt x="593" y="314"/>
                </a:lnTo>
                <a:lnTo>
                  <a:pt x="593" y="315"/>
                </a:lnTo>
                <a:lnTo>
                  <a:pt x="591" y="316"/>
                </a:lnTo>
                <a:lnTo>
                  <a:pt x="590" y="316"/>
                </a:lnTo>
                <a:lnTo>
                  <a:pt x="588" y="316"/>
                </a:lnTo>
                <a:lnTo>
                  <a:pt x="585" y="316"/>
                </a:lnTo>
                <a:lnTo>
                  <a:pt x="582" y="307"/>
                </a:lnTo>
                <a:lnTo>
                  <a:pt x="581" y="306"/>
                </a:lnTo>
                <a:lnTo>
                  <a:pt x="579" y="306"/>
                </a:lnTo>
                <a:lnTo>
                  <a:pt x="576" y="305"/>
                </a:lnTo>
                <a:lnTo>
                  <a:pt x="572" y="305"/>
                </a:lnTo>
                <a:lnTo>
                  <a:pt x="571" y="305"/>
                </a:lnTo>
                <a:lnTo>
                  <a:pt x="568" y="304"/>
                </a:lnTo>
                <a:lnTo>
                  <a:pt x="565" y="299"/>
                </a:lnTo>
                <a:lnTo>
                  <a:pt x="544" y="291"/>
                </a:lnTo>
                <a:lnTo>
                  <a:pt x="534" y="287"/>
                </a:lnTo>
                <a:lnTo>
                  <a:pt x="530" y="285"/>
                </a:lnTo>
                <a:lnTo>
                  <a:pt x="526" y="282"/>
                </a:lnTo>
                <a:lnTo>
                  <a:pt x="525" y="279"/>
                </a:lnTo>
                <a:lnTo>
                  <a:pt x="523" y="276"/>
                </a:lnTo>
                <a:lnTo>
                  <a:pt x="519" y="276"/>
                </a:lnTo>
                <a:lnTo>
                  <a:pt x="516" y="276"/>
                </a:lnTo>
                <a:lnTo>
                  <a:pt x="513" y="276"/>
                </a:lnTo>
                <a:lnTo>
                  <a:pt x="510" y="277"/>
                </a:lnTo>
                <a:lnTo>
                  <a:pt x="508" y="278"/>
                </a:lnTo>
                <a:lnTo>
                  <a:pt x="505" y="279"/>
                </a:lnTo>
                <a:lnTo>
                  <a:pt x="502" y="279"/>
                </a:lnTo>
                <a:lnTo>
                  <a:pt x="498" y="279"/>
                </a:lnTo>
                <a:lnTo>
                  <a:pt x="494" y="278"/>
                </a:lnTo>
                <a:lnTo>
                  <a:pt x="489" y="277"/>
                </a:lnTo>
                <a:lnTo>
                  <a:pt x="480" y="272"/>
                </a:lnTo>
                <a:lnTo>
                  <a:pt x="472" y="268"/>
                </a:lnTo>
                <a:lnTo>
                  <a:pt x="463" y="265"/>
                </a:lnTo>
                <a:lnTo>
                  <a:pt x="459" y="263"/>
                </a:lnTo>
                <a:lnTo>
                  <a:pt x="454" y="262"/>
                </a:lnTo>
                <a:lnTo>
                  <a:pt x="449" y="262"/>
                </a:lnTo>
                <a:lnTo>
                  <a:pt x="445" y="262"/>
                </a:lnTo>
                <a:lnTo>
                  <a:pt x="445" y="271"/>
                </a:lnTo>
                <a:lnTo>
                  <a:pt x="435" y="271"/>
                </a:lnTo>
                <a:lnTo>
                  <a:pt x="428" y="271"/>
                </a:lnTo>
                <a:lnTo>
                  <a:pt x="425" y="265"/>
                </a:lnTo>
                <a:lnTo>
                  <a:pt x="414" y="265"/>
                </a:lnTo>
                <a:lnTo>
                  <a:pt x="402" y="265"/>
                </a:lnTo>
                <a:lnTo>
                  <a:pt x="402" y="259"/>
                </a:lnTo>
                <a:lnTo>
                  <a:pt x="398" y="259"/>
                </a:lnTo>
                <a:lnTo>
                  <a:pt x="393" y="259"/>
                </a:lnTo>
                <a:lnTo>
                  <a:pt x="382" y="261"/>
                </a:lnTo>
                <a:lnTo>
                  <a:pt x="372" y="262"/>
                </a:lnTo>
                <a:lnTo>
                  <a:pt x="367" y="262"/>
                </a:lnTo>
                <a:lnTo>
                  <a:pt x="363" y="262"/>
                </a:lnTo>
                <a:lnTo>
                  <a:pt x="360" y="257"/>
                </a:lnTo>
                <a:lnTo>
                  <a:pt x="359" y="257"/>
                </a:lnTo>
                <a:lnTo>
                  <a:pt x="358" y="257"/>
                </a:lnTo>
                <a:lnTo>
                  <a:pt x="357" y="258"/>
                </a:lnTo>
                <a:lnTo>
                  <a:pt x="355" y="259"/>
                </a:lnTo>
                <a:lnTo>
                  <a:pt x="354" y="260"/>
                </a:lnTo>
                <a:lnTo>
                  <a:pt x="352" y="259"/>
                </a:lnTo>
                <a:lnTo>
                  <a:pt x="349" y="258"/>
                </a:lnTo>
                <a:lnTo>
                  <a:pt x="345" y="255"/>
                </a:lnTo>
                <a:lnTo>
                  <a:pt x="341" y="252"/>
                </a:lnTo>
                <a:lnTo>
                  <a:pt x="338" y="251"/>
                </a:lnTo>
                <a:lnTo>
                  <a:pt x="333" y="251"/>
                </a:lnTo>
                <a:lnTo>
                  <a:pt x="329" y="251"/>
                </a:lnTo>
                <a:lnTo>
                  <a:pt x="325" y="252"/>
                </a:lnTo>
                <a:lnTo>
                  <a:pt x="322" y="254"/>
                </a:lnTo>
                <a:lnTo>
                  <a:pt x="319" y="255"/>
                </a:lnTo>
                <a:lnTo>
                  <a:pt x="315" y="256"/>
                </a:lnTo>
                <a:lnTo>
                  <a:pt x="311" y="257"/>
                </a:lnTo>
                <a:lnTo>
                  <a:pt x="307" y="257"/>
                </a:lnTo>
                <a:lnTo>
                  <a:pt x="301" y="256"/>
                </a:lnTo>
                <a:lnTo>
                  <a:pt x="292" y="253"/>
                </a:lnTo>
                <a:lnTo>
                  <a:pt x="276" y="248"/>
                </a:lnTo>
                <a:lnTo>
                  <a:pt x="273" y="243"/>
                </a:lnTo>
                <a:lnTo>
                  <a:pt x="269" y="242"/>
                </a:lnTo>
                <a:lnTo>
                  <a:pt x="265" y="242"/>
                </a:lnTo>
                <a:lnTo>
                  <a:pt x="257" y="244"/>
                </a:lnTo>
                <a:lnTo>
                  <a:pt x="250" y="245"/>
                </a:lnTo>
                <a:lnTo>
                  <a:pt x="247" y="245"/>
                </a:lnTo>
                <a:lnTo>
                  <a:pt x="245" y="245"/>
                </a:lnTo>
                <a:lnTo>
                  <a:pt x="243" y="245"/>
                </a:lnTo>
                <a:lnTo>
                  <a:pt x="242" y="243"/>
                </a:lnTo>
                <a:lnTo>
                  <a:pt x="240" y="240"/>
                </a:lnTo>
                <a:lnTo>
                  <a:pt x="238" y="237"/>
                </a:lnTo>
                <a:lnTo>
                  <a:pt x="236" y="234"/>
                </a:lnTo>
                <a:lnTo>
                  <a:pt x="228" y="240"/>
                </a:lnTo>
                <a:lnTo>
                  <a:pt x="220" y="245"/>
                </a:lnTo>
                <a:lnTo>
                  <a:pt x="219" y="244"/>
                </a:lnTo>
                <a:lnTo>
                  <a:pt x="218" y="243"/>
                </a:lnTo>
                <a:lnTo>
                  <a:pt x="218" y="240"/>
                </a:lnTo>
                <a:lnTo>
                  <a:pt x="218" y="237"/>
                </a:lnTo>
                <a:lnTo>
                  <a:pt x="217" y="233"/>
                </a:lnTo>
                <a:lnTo>
                  <a:pt x="215" y="230"/>
                </a:lnTo>
                <a:lnTo>
                  <a:pt x="214" y="229"/>
                </a:lnTo>
                <a:lnTo>
                  <a:pt x="212" y="228"/>
                </a:lnTo>
                <a:lnTo>
                  <a:pt x="209" y="228"/>
                </a:lnTo>
                <a:lnTo>
                  <a:pt x="206" y="227"/>
                </a:lnTo>
                <a:lnTo>
                  <a:pt x="202" y="228"/>
                </a:lnTo>
                <a:lnTo>
                  <a:pt x="197" y="229"/>
                </a:lnTo>
                <a:lnTo>
                  <a:pt x="195" y="229"/>
                </a:lnTo>
                <a:lnTo>
                  <a:pt x="193" y="231"/>
                </a:lnTo>
                <a:lnTo>
                  <a:pt x="189" y="235"/>
                </a:lnTo>
                <a:lnTo>
                  <a:pt x="184" y="240"/>
                </a:lnTo>
                <a:lnTo>
                  <a:pt x="180" y="243"/>
                </a:lnTo>
                <a:lnTo>
                  <a:pt x="178" y="243"/>
                </a:lnTo>
                <a:lnTo>
                  <a:pt x="176" y="243"/>
                </a:lnTo>
                <a:lnTo>
                  <a:pt x="172" y="243"/>
                </a:lnTo>
                <a:lnTo>
                  <a:pt x="167" y="242"/>
                </a:lnTo>
                <a:lnTo>
                  <a:pt x="165" y="242"/>
                </a:lnTo>
                <a:lnTo>
                  <a:pt x="163" y="243"/>
                </a:lnTo>
                <a:lnTo>
                  <a:pt x="162" y="244"/>
                </a:lnTo>
                <a:lnTo>
                  <a:pt x="161" y="246"/>
                </a:lnTo>
                <a:lnTo>
                  <a:pt x="160" y="248"/>
                </a:lnTo>
                <a:lnTo>
                  <a:pt x="159" y="248"/>
                </a:lnTo>
                <a:lnTo>
                  <a:pt x="158" y="248"/>
                </a:lnTo>
                <a:lnTo>
                  <a:pt x="157" y="247"/>
                </a:lnTo>
                <a:lnTo>
                  <a:pt x="157" y="244"/>
                </a:lnTo>
                <a:lnTo>
                  <a:pt x="157" y="243"/>
                </a:lnTo>
                <a:lnTo>
                  <a:pt x="156" y="242"/>
                </a:lnTo>
                <a:lnTo>
                  <a:pt x="154" y="242"/>
                </a:lnTo>
                <a:lnTo>
                  <a:pt x="152" y="243"/>
                </a:lnTo>
                <a:lnTo>
                  <a:pt x="152" y="248"/>
                </a:lnTo>
                <a:lnTo>
                  <a:pt x="150" y="249"/>
                </a:lnTo>
                <a:lnTo>
                  <a:pt x="148" y="249"/>
                </a:lnTo>
                <a:lnTo>
                  <a:pt x="144" y="248"/>
                </a:lnTo>
                <a:lnTo>
                  <a:pt x="142" y="251"/>
                </a:lnTo>
                <a:lnTo>
                  <a:pt x="141" y="254"/>
                </a:lnTo>
                <a:lnTo>
                  <a:pt x="138" y="254"/>
                </a:lnTo>
                <a:lnTo>
                  <a:pt x="136" y="254"/>
                </a:lnTo>
                <a:lnTo>
                  <a:pt x="131" y="254"/>
                </a:lnTo>
                <a:lnTo>
                  <a:pt x="126" y="253"/>
                </a:lnTo>
                <a:lnTo>
                  <a:pt x="123" y="253"/>
                </a:lnTo>
                <a:lnTo>
                  <a:pt x="121" y="254"/>
                </a:lnTo>
                <a:lnTo>
                  <a:pt x="118" y="255"/>
                </a:lnTo>
                <a:lnTo>
                  <a:pt x="116" y="257"/>
                </a:lnTo>
                <a:lnTo>
                  <a:pt x="114" y="260"/>
                </a:lnTo>
                <a:lnTo>
                  <a:pt x="112" y="263"/>
                </a:lnTo>
                <a:lnTo>
                  <a:pt x="108" y="269"/>
                </a:lnTo>
                <a:lnTo>
                  <a:pt x="106" y="272"/>
                </a:lnTo>
                <a:lnTo>
                  <a:pt x="104" y="274"/>
                </a:lnTo>
                <a:lnTo>
                  <a:pt x="102" y="274"/>
                </a:lnTo>
                <a:lnTo>
                  <a:pt x="100" y="275"/>
                </a:lnTo>
                <a:lnTo>
                  <a:pt x="97" y="275"/>
                </a:lnTo>
                <a:lnTo>
                  <a:pt x="96" y="275"/>
                </a:lnTo>
                <a:lnTo>
                  <a:pt x="96" y="276"/>
                </a:lnTo>
                <a:lnTo>
                  <a:pt x="95" y="279"/>
                </a:lnTo>
                <a:lnTo>
                  <a:pt x="94" y="283"/>
                </a:lnTo>
                <a:lnTo>
                  <a:pt x="91" y="294"/>
                </a:lnTo>
                <a:lnTo>
                  <a:pt x="89" y="305"/>
                </a:lnTo>
                <a:lnTo>
                  <a:pt x="88" y="308"/>
                </a:lnTo>
                <a:lnTo>
                  <a:pt x="87" y="310"/>
                </a:lnTo>
                <a:lnTo>
                  <a:pt x="84" y="312"/>
                </a:lnTo>
                <a:lnTo>
                  <a:pt x="80" y="313"/>
                </a:lnTo>
                <a:lnTo>
                  <a:pt x="76" y="313"/>
                </a:lnTo>
                <a:lnTo>
                  <a:pt x="71" y="313"/>
                </a:lnTo>
                <a:lnTo>
                  <a:pt x="62" y="313"/>
                </a:lnTo>
                <a:lnTo>
                  <a:pt x="56" y="313"/>
                </a:lnTo>
                <a:lnTo>
                  <a:pt x="55" y="314"/>
                </a:lnTo>
                <a:lnTo>
                  <a:pt x="53" y="316"/>
                </a:lnTo>
                <a:lnTo>
                  <a:pt x="50" y="318"/>
                </a:lnTo>
                <a:lnTo>
                  <a:pt x="49" y="318"/>
                </a:lnTo>
                <a:lnTo>
                  <a:pt x="48" y="319"/>
                </a:lnTo>
                <a:lnTo>
                  <a:pt x="41" y="316"/>
                </a:lnTo>
                <a:lnTo>
                  <a:pt x="38" y="315"/>
                </a:lnTo>
                <a:lnTo>
                  <a:pt x="36" y="315"/>
                </a:lnTo>
                <a:lnTo>
                  <a:pt x="33" y="315"/>
                </a:lnTo>
                <a:lnTo>
                  <a:pt x="31" y="316"/>
                </a:lnTo>
                <a:lnTo>
                  <a:pt x="31" y="333"/>
                </a:lnTo>
                <a:lnTo>
                  <a:pt x="31" y="334"/>
                </a:lnTo>
                <a:lnTo>
                  <a:pt x="30" y="335"/>
                </a:lnTo>
                <a:lnTo>
                  <a:pt x="28" y="338"/>
                </a:lnTo>
                <a:lnTo>
                  <a:pt x="31" y="339"/>
                </a:lnTo>
                <a:lnTo>
                  <a:pt x="34" y="341"/>
                </a:lnTo>
                <a:lnTo>
                  <a:pt x="40" y="342"/>
                </a:lnTo>
                <a:lnTo>
                  <a:pt x="45" y="344"/>
                </a:lnTo>
                <a:lnTo>
                  <a:pt x="51" y="347"/>
                </a:lnTo>
                <a:lnTo>
                  <a:pt x="52" y="348"/>
                </a:lnTo>
                <a:lnTo>
                  <a:pt x="54" y="350"/>
                </a:lnTo>
                <a:lnTo>
                  <a:pt x="58" y="354"/>
                </a:lnTo>
                <a:lnTo>
                  <a:pt x="62" y="358"/>
                </a:lnTo>
                <a:lnTo>
                  <a:pt x="65" y="361"/>
                </a:lnTo>
                <a:lnTo>
                  <a:pt x="67" y="361"/>
                </a:lnTo>
                <a:lnTo>
                  <a:pt x="71" y="360"/>
                </a:lnTo>
                <a:lnTo>
                  <a:pt x="74" y="360"/>
                </a:lnTo>
                <a:lnTo>
                  <a:pt x="76" y="361"/>
                </a:lnTo>
                <a:lnTo>
                  <a:pt x="77" y="362"/>
                </a:lnTo>
                <a:lnTo>
                  <a:pt x="77" y="364"/>
                </a:lnTo>
                <a:lnTo>
                  <a:pt x="77" y="368"/>
                </a:lnTo>
                <a:lnTo>
                  <a:pt x="77" y="372"/>
                </a:lnTo>
                <a:lnTo>
                  <a:pt x="77" y="373"/>
                </a:lnTo>
                <a:lnTo>
                  <a:pt x="77" y="374"/>
                </a:lnTo>
                <a:lnTo>
                  <a:pt x="79" y="375"/>
                </a:lnTo>
                <a:lnTo>
                  <a:pt x="82" y="376"/>
                </a:lnTo>
                <a:lnTo>
                  <a:pt x="84" y="375"/>
                </a:lnTo>
                <a:lnTo>
                  <a:pt x="86" y="375"/>
                </a:lnTo>
                <a:lnTo>
                  <a:pt x="88" y="374"/>
                </a:lnTo>
                <a:lnTo>
                  <a:pt x="90" y="372"/>
                </a:lnTo>
                <a:lnTo>
                  <a:pt x="92" y="372"/>
                </a:lnTo>
                <a:lnTo>
                  <a:pt x="95" y="371"/>
                </a:lnTo>
                <a:lnTo>
                  <a:pt x="99" y="372"/>
                </a:lnTo>
                <a:lnTo>
                  <a:pt x="104" y="372"/>
                </a:lnTo>
                <a:lnTo>
                  <a:pt x="107" y="372"/>
                </a:lnTo>
                <a:lnTo>
                  <a:pt x="108" y="372"/>
                </a:lnTo>
                <a:lnTo>
                  <a:pt x="107" y="372"/>
                </a:lnTo>
                <a:lnTo>
                  <a:pt x="110" y="372"/>
                </a:lnTo>
                <a:lnTo>
                  <a:pt x="112" y="372"/>
                </a:lnTo>
                <a:lnTo>
                  <a:pt x="112" y="373"/>
                </a:lnTo>
                <a:lnTo>
                  <a:pt x="112" y="374"/>
                </a:lnTo>
                <a:lnTo>
                  <a:pt x="112" y="375"/>
                </a:lnTo>
                <a:lnTo>
                  <a:pt x="112" y="377"/>
                </a:lnTo>
                <a:lnTo>
                  <a:pt x="111" y="379"/>
                </a:lnTo>
                <a:lnTo>
                  <a:pt x="109" y="380"/>
                </a:lnTo>
                <a:lnTo>
                  <a:pt x="107" y="380"/>
                </a:lnTo>
                <a:lnTo>
                  <a:pt x="124" y="389"/>
                </a:lnTo>
                <a:lnTo>
                  <a:pt x="123" y="388"/>
                </a:lnTo>
                <a:lnTo>
                  <a:pt x="126" y="387"/>
                </a:lnTo>
                <a:lnTo>
                  <a:pt x="132" y="386"/>
                </a:lnTo>
                <a:lnTo>
                  <a:pt x="132" y="390"/>
                </a:lnTo>
                <a:lnTo>
                  <a:pt x="132" y="395"/>
                </a:lnTo>
                <a:lnTo>
                  <a:pt x="126" y="394"/>
                </a:lnTo>
                <a:lnTo>
                  <a:pt x="122" y="393"/>
                </a:lnTo>
                <a:lnTo>
                  <a:pt x="113" y="392"/>
                </a:lnTo>
                <a:lnTo>
                  <a:pt x="112" y="393"/>
                </a:lnTo>
                <a:lnTo>
                  <a:pt x="110" y="395"/>
                </a:lnTo>
                <a:lnTo>
                  <a:pt x="107" y="397"/>
                </a:lnTo>
                <a:lnTo>
                  <a:pt x="113" y="397"/>
                </a:lnTo>
                <a:lnTo>
                  <a:pt x="118" y="397"/>
                </a:lnTo>
                <a:lnTo>
                  <a:pt x="121" y="409"/>
                </a:lnTo>
                <a:lnTo>
                  <a:pt x="118" y="403"/>
                </a:lnTo>
                <a:lnTo>
                  <a:pt x="107" y="411"/>
                </a:lnTo>
                <a:lnTo>
                  <a:pt x="102" y="411"/>
                </a:lnTo>
                <a:lnTo>
                  <a:pt x="97" y="411"/>
                </a:lnTo>
                <a:lnTo>
                  <a:pt x="92" y="410"/>
                </a:lnTo>
                <a:lnTo>
                  <a:pt x="87" y="408"/>
                </a:lnTo>
                <a:lnTo>
                  <a:pt x="78" y="405"/>
                </a:lnTo>
                <a:lnTo>
                  <a:pt x="70" y="403"/>
                </a:lnTo>
                <a:lnTo>
                  <a:pt x="72" y="402"/>
                </a:lnTo>
                <a:lnTo>
                  <a:pt x="73" y="401"/>
                </a:lnTo>
                <a:lnTo>
                  <a:pt x="73" y="399"/>
                </a:lnTo>
                <a:lnTo>
                  <a:pt x="73" y="396"/>
                </a:lnTo>
                <a:lnTo>
                  <a:pt x="73" y="393"/>
                </a:lnTo>
                <a:lnTo>
                  <a:pt x="71" y="387"/>
                </a:lnTo>
                <a:lnTo>
                  <a:pt x="70" y="383"/>
                </a:lnTo>
                <a:lnTo>
                  <a:pt x="53" y="389"/>
                </a:lnTo>
                <a:lnTo>
                  <a:pt x="45" y="391"/>
                </a:lnTo>
                <a:lnTo>
                  <a:pt x="37" y="395"/>
                </a:lnTo>
                <a:lnTo>
                  <a:pt x="37" y="400"/>
                </a:lnTo>
                <a:lnTo>
                  <a:pt x="37" y="406"/>
                </a:lnTo>
                <a:lnTo>
                  <a:pt x="34" y="407"/>
                </a:lnTo>
                <a:lnTo>
                  <a:pt x="32" y="407"/>
                </a:lnTo>
                <a:lnTo>
                  <a:pt x="28" y="405"/>
                </a:lnTo>
                <a:lnTo>
                  <a:pt x="25" y="403"/>
                </a:lnTo>
                <a:lnTo>
                  <a:pt x="22" y="403"/>
                </a:lnTo>
                <a:lnTo>
                  <a:pt x="20" y="403"/>
                </a:lnTo>
                <a:lnTo>
                  <a:pt x="18" y="404"/>
                </a:lnTo>
                <a:lnTo>
                  <a:pt x="15" y="405"/>
                </a:lnTo>
                <a:lnTo>
                  <a:pt x="10" y="409"/>
                </a:lnTo>
                <a:lnTo>
                  <a:pt x="0" y="417"/>
                </a:lnTo>
                <a:lnTo>
                  <a:pt x="3" y="423"/>
                </a:lnTo>
                <a:lnTo>
                  <a:pt x="12" y="423"/>
                </a:lnTo>
                <a:lnTo>
                  <a:pt x="18" y="424"/>
                </a:lnTo>
                <a:lnTo>
                  <a:pt x="22" y="424"/>
                </a:lnTo>
                <a:lnTo>
                  <a:pt x="26" y="425"/>
                </a:lnTo>
                <a:lnTo>
                  <a:pt x="27" y="426"/>
                </a:lnTo>
                <a:lnTo>
                  <a:pt x="27" y="427"/>
                </a:lnTo>
                <a:lnTo>
                  <a:pt x="26" y="428"/>
                </a:lnTo>
                <a:lnTo>
                  <a:pt x="24" y="429"/>
                </a:lnTo>
                <a:lnTo>
                  <a:pt x="17" y="431"/>
                </a:lnTo>
                <a:lnTo>
                  <a:pt x="19" y="433"/>
                </a:lnTo>
                <a:lnTo>
                  <a:pt x="20" y="436"/>
                </a:lnTo>
                <a:lnTo>
                  <a:pt x="22" y="438"/>
                </a:lnTo>
                <a:lnTo>
                  <a:pt x="25" y="440"/>
                </a:lnTo>
                <a:lnTo>
                  <a:pt x="26" y="442"/>
                </a:lnTo>
                <a:lnTo>
                  <a:pt x="26" y="445"/>
                </a:lnTo>
                <a:lnTo>
                  <a:pt x="27" y="446"/>
                </a:lnTo>
                <a:lnTo>
                  <a:pt x="28" y="448"/>
                </a:lnTo>
                <a:lnTo>
                  <a:pt x="31" y="450"/>
                </a:lnTo>
                <a:lnTo>
                  <a:pt x="34" y="451"/>
                </a:lnTo>
                <a:lnTo>
                  <a:pt x="38" y="452"/>
                </a:lnTo>
                <a:lnTo>
                  <a:pt x="42" y="452"/>
                </a:lnTo>
                <a:lnTo>
                  <a:pt x="49" y="452"/>
                </a:lnTo>
                <a:lnTo>
                  <a:pt x="57" y="452"/>
                </a:lnTo>
                <a:lnTo>
                  <a:pt x="73" y="449"/>
                </a:lnTo>
                <a:lnTo>
                  <a:pt x="87" y="445"/>
                </a:lnTo>
                <a:lnTo>
                  <a:pt x="91" y="452"/>
                </a:lnTo>
                <a:lnTo>
                  <a:pt x="92" y="453"/>
                </a:lnTo>
                <a:lnTo>
                  <a:pt x="93" y="455"/>
                </a:lnTo>
                <a:lnTo>
                  <a:pt x="95" y="456"/>
                </a:lnTo>
                <a:lnTo>
                  <a:pt x="96" y="456"/>
                </a:lnTo>
                <a:lnTo>
                  <a:pt x="97" y="455"/>
                </a:lnTo>
                <a:lnTo>
                  <a:pt x="98" y="452"/>
                </a:lnTo>
                <a:lnTo>
                  <a:pt x="100" y="449"/>
                </a:lnTo>
                <a:lnTo>
                  <a:pt x="101" y="448"/>
                </a:lnTo>
                <a:lnTo>
                  <a:pt x="106" y="447"/>
                </a:lnTo>
                <a:lnTo>
                  <a:pt x="110" y="446"/>
                </a:lnTo>
                <a:lnTo>
                  <a:pt x="114" y="446"/>
                </a:lnTo>
                <a:lnTo>
                  <a:pt x="118" y="447"/>
                </a:lnTo>
                <a:lnTo>
                  <a:pt x="126" y="448"/>
                </a:lnTo>
                <a:lnTo>
                  <a:pt x="132" y="448"/>
                </a:lnTo>
                <a:lnTo>
                  <a:pt x="130" y="456"/>
                </a:lnTo>
                <a:lnTo>
                  <a:pt x="129" y="463"/>
                </a:lnTo>
                <a:lnTo>
                  <a:pt x="128" y="470"/>
                </a:lnTo>
                <a:lnTo>
                  <a:pt x="129" y="475"/>
                </a:lnTo>
                <a:lnTo>
                  <a:pt x="130" y="482"/>
                </a:lnTo>
                <a:lnTo>
                  <a:pt x="126" y="484"/>
                </a:lnTo>
                <a:lnTo>
                  <a:pt x="121" y="486"/>
                </a:lnTo>
                <a:lnTo>
                  <a:pt x="117" y="489"/>
                </a:lnTo>
                <a:lnTo>
                  <a:pt x="115" y="490"/>
                </a:lnTo>
                <a:lnTo>
                  <a:pt x="113" y="490"/>
                </a:lnTo>
                <a:lnTo>
                  <a:pt x="110" y="490"/>
                </a:lnTo>
                <a:lnTo>
                  <a:pt x="110" y="489"/>
                </a:lnTo>
                <a:lnTo>
                  <a:pt x="110" y="488"/>
                </a:lnTo>
                <a:lnTo>
                  <a:pt x="109" y="487"/>
                </a:lnTo>
                <a:lnTo>
                  <a:pt x="108" y="487"/>
                </a:lnTo>
                <a:lnTo>
                  <a:pt x="107" y="487"/>
                </a:lnTo>
                <a:lnTo>
                  <a:pt x="105" y="489"/>
                </a:lnTo>
                <a:lnTo>
                  <a:pt x="101" y="493"/>
                </a:lnTo>
                <a:lnTo>
                  <a:pt x="98" y="497"/>
                </a:lnTo>
                <a:lnTo>
                  <a:pt x="96" y="499"/>
                </a:lnTo>
                <a:lnTo>
                  <a:pt x="92" y="499"/>
                </a:lnTo>
                <a:lnTo>
                  <a:pt x="89" y="499"/>
                </a:lnTo>
                <a:lnTo>
                  <a:pt x="85" y="498"/>
                </a:lnTo>
                <a:lnTo>
                  <a:pt x="83" y="498"/>
                </a:lnTo>
                <a:lnTo>
                  <a:pt x="82" y="499"/>
                </a:lnTo>
                <a:lnTo>
                  <a:pt x="79" y="494"/>
                </a:lnTo>
                <a:lnTo>
                  <a:pt x="76" y="490"/>
                </a:lnTo>
                <a:lnTo>
                  <a:pt x="75" y="490"/>
                </a:lnTo>
                <a:lnTo>
                  <a:pt x="74" y="490"/>
                </a:lnTo>
                <a:lnTo>
                  <a:pt x="72" y="490"/>
                </a:lnTo>
                <a:lnTo>
                  <a:pt x="70" y="491"/>
                </a:lnTo>
                <a:lnTo>
                  <a:pt x="69" y="491"/>
                </a:lnTo>
                <a:lnTo>
                  <a:pt x="68" y="490"/>
                </a:lnTo>
                <a:lnTo>
                  <a:pt x="65" y="494"/>
                </a:lnTo>
                <a:lnTo>
                  <a:pt x="62" y="498"/>
                </a:lnTo>
                <a:lnTo>
                  <a:pt x="57" y="502"/>
                </a:lnTo>
                <a:lnTo>
                  <a:pt x="57" y="503"/>
                </a:lnTo>
                <a:lnTo>
                  <a:pt x="58" y="504"/>
                </a:lnTo>
                <a:lnTo>
                  <a:pt x="68" y="504"/>
                </a:lnTo>
                <a:lnTo>
                  <a:pt x="67" y="509"/>
                </a:lnTo>
                <a:lnTo>
                  <a:pt x="68" y="513"/>
                </a:lnTo>
                <a:lnTo>
                  <a:pt x="64" y="512"/>
                </a:lnTo>
                <a:lnTo>
                  <a:pt x="59" y="510"/>
                </a:lnTo>
                <a:lnTo>
                  <a:pt x="58" y="512"/>
                </a:lnTo>
                <a:lnTo>
                  <a:pt x="58" y="514"/>
                </a:lnTo>
                <a:lnTo>
                  <a:pt x="57" y="517"/>
                </a:lnTo>
                <a:lnTo>
                  <a:pt x="56" y="518"/>
                </a:lnTo>
                <a:lnTo>
                  <a:pt x="53" y="520"/>
                </a:lnTo>
                <a:lnTo>
                  <a:pt x="49" y="522"/>
                </a:lnTo>
                <a:lnTo>
                  <a:pt x="47" y="523"/>
                </a:lnTo>
                <a:lnTo>
                  <a:pt x="45" y="524"/>
                </a:lnTo>
                <a:lnTo>
                  <a:pt x="43" y="525"/>
                </a:lnTo>
                <a:lnTo>
                  <a:pt x="42" y="527"/>
                </a:lnTo>
                <a:lnTo>
                  <a:pt x="42" y="528"/>
                </a:lnTo>
                <a:lnTo>
                  <a:pt x="42" y="529"/>
                </a:lnTo>
                <a:lnTo>
                  <a:pt x="42" y="531"/>
                </a:lnTo>
                <a:lnTo>
                  <a:pt x="43" y="533"/>
                </a:lnTo>
                <a:lnTo>
                  <a:pt x="43" y="534"/>
                </a:lnTo>
                <a:lnTo>
                  <a:pt x="42" y="535"/>
                </a:lnTo>
                <a:lnTo>
                  <a:pt x="41" y="537"/>
                </a:lnTo>
                <a:lnTo>
                  <a:pt x="38" y="538"/>
                </a:lnTo>
                <a:lnTo>
                  <a:pt x="36" y="539"/>
                </a:lnTo>
                <a:lnTo>
                  <a:pt x="34" y="541"/>
                </a:lnTo>
                <a:lnTo>
                  <a:pt x="44" y="549"/>
                </a:lnTo>
                <a:lnTo>
                  <a:pt x="48" y="552"/>
                </a:lnTo>
                <a:lnTo>
                  <a:pt x="52" y="554"/>
                </a:lnTo>
                <a:lnTo>
                  <a:pt x="56" y="556"/>
                </a:lnTo>
                <a:lnTo>
                  <a:pt x="61" y="557"/>
                </a:lnTo>
                <a:lnTo>
                  <a:pt x="67" y="557"/>
                </a:lnTo>
                <a:lnTo>
                  <a:pt x="76" y="558"/>
                </a:lnTo>
                <a:lnTo>
                  <a:pt x="70" y="569"/>
                </a:lnTo>
                <a:lnTo>
                  <a:pt x="69" y="568"/>
                </a:lnTo>
                <a:lnTo>
                  <a:pt x="68" y="567"/>
                </a:lnTo>
                <a:lnTo>
                  <a:pt x="66" y="565"/>
                </a:lnTo>
                <a:lnTo>
                  <a:pt x="64" y="562"/>
                </a:lnTo>
                <a:lnTo>
                  <a:pt x="62" y="561"/>
                </a:lnTo>
                <a:lnTo>
                  <a:pt x="60" y="560"/>
                </a:lnTo>
                <a:lnTo>
                  <a:pt x="58" y="560"/>
                </a:lnTo>
                <a:lnTo>
                  <a:pt x="54" y="562"/>
                </a:lnTo>
                <a:lnTo>
                  <a:pt x="53" y="563"/>
                </a:lnTo>
                <a:lnTo>
                  <a:pt x="53" y="564"/>
                </a:lnTo>
                <a:lnTo>
                  <a:pt x="54" y="565"/>
                </a:lnTo>
                <a:lnTo>
                  <a:pt x="56" y="566"/>
                </a:lnTo>
                <a:lnTo>
                  <a:pt x="56" y="572"/>
                </a:lnTo>
                <a:lnTo>
                  <a:pt x="62" y="572"/>
                </a:lnTo>
                <a:lnTo>
                  <a:pt x="65" y="572"/>
                </a:lnTo>
                <a:lnTo>
                  <a:pt x="66" y="573"/>
                </a:lnTo>
                <a:lnTo>
                  <a:pt x="66" y="574"/>
                </a:lnTo>
                <a:lnTo>
                  <a:pt x="63" y="577"/>
                </a:lnTo>
                <a:lnTo>
                  <a:pt x="62" y="580"/>
                </a:lnTo>
                <a:lnTo>
                  <a:pt x="62" y="583"/>
                </a:lnTo>
                <a:lnTo>
                  <a:pt x="66" y="588"/>
                </a:lnTo>
                <a:lnTo>
                  <a:pt x="69" y="591"/>
                </a:lnTo>
                <a:lnTo>
                  <a:pt x="70" y="594"/>
                </a:lnTo>
                <a:lnTo>
                  <a:pt x="74" y="594"/>
                </a:lnTo>
                <a:lnTo>
                  <a:pt x="78" y="594"/>
                </a:lnTo>
                <a:lnTo>
                  <a:pt x="82" y="595"/>
                </a:lnTo>
                <a:lnTo>
                  <a:pt x="86" y="595"/>
                </a:lnTo>
                <a:lnTo>
                  <a:pt x="89" y="594"/>
                </a:lnTo>
                <a:lnTo>
                  <a:pt x="92" y="593"/>
                </a:lnTo>
                <a:lnTo>
                  <a:pt x="93" y="591"/>
                </a:lnTo>
                <a:lnTo>
                  <a:pt x="94" y="590"/>
                </a:lnTo>
                <a:lnTo>
                  <a:pt x="95" y="588"/>
                </a:lnTo>
                <a:lnTo>
                  <a:pt x="96" y="586"/>
                </a:lnTo>
                <a:lnTo>
                  <a:pt x="96" y="584"/>
                </a:lnTo>
                <a:lnTo>
                  <a:pt x="95" y="582"/>
                </a:lnTo>
                <a:lnTo>
                  <a:pt x="95" y="579"/>
                </a:lnTo>
                <a:lnTo>
                  <a:pt x="96" y="577"/>
                </a:lnTo>
                <a:lnTo>
                  <a:pt x="98" y="578"/>
                </a:lnTo>
                <a:lnTo>
                  <a:pt x="101" y="578"/>
                </a:lnTo>
                <a:lnTo>
                  <a:pt x="102" y="579"/>
                </a:lnTo>
                <a:lnTo>
                  <a:pt x="103" y="580"/>
                </a:lnTo>
                <a:lnTo>
                  <a:pt x="103" y="581"/>
                </a:lnTo>
                <a:lnTo>
                  <a:pt x="101" y="583"/>
                </a:lnTo>
                <a:lnTo>
                  <a:pt x="101" y="582"/>
                </a:lnTo>
                <a:lnTo>
                  <a:pt x="100" y="583"/>
                </a:lnTo>
                <a:lnTo>
                  <a:pt x="100" y="585"/>
                </a:lnTo>
                <a:lnTo>
                  <a:pt x="101" y="588"/>
                </a:lnTo>
                <a:lnTo>
                  <a:pt x="102" y="592"/>
                </a:lnTo>
                <a:lnTo>
                  <a:pt x="104" y="597"/>
                </a:lnTo>
                <a:lnTo>
                  <a:pt x="105" y="599"/>
                </a:lnTo>
                <a:lnTo>
                  <a:pt x="106" y="601"/>
                </a:lnTo>
                <a:lnTo>
                  <a:pt x="108" y="603"/>
                </a:lnTo>
                <a:lnTo>
                  <a:pt x="110" y="606"/>
                </a:lnTo>
                <a:lnTo>
                  <a:pt x="110" y="607"/>
                </a:lnTo>
                <a:lnTo>
                  <a:pt x="108" y="609"/>
                </a:lnTo>
                <a:lnTo>
                  <a:pt x="107" y="611"/>
                </a:lnTo>
                <a:lnTo>
                  <a:pt x="107" y="612"/>
                </a:lnTo>
                <a:lnTo>
                  <a:pt x="107" y="614"/>
                </a:lnTo>
                <a:lnTo>
                  <a:pt x="106" y="614"/>
                </a:lnTo>
                <a:lnTo>
                  <a:pt x="108" y="616"/>
                </a:lnTo>
                <a:lnTo>
                  <a:pt x="113" y="617"/>
                </a:lnTo>
                <a:lnTo>
                  <a:pt x="110" y="631"/>
                </a:lnTo>
                <a:lnTo>
                  <a:pt x="112" y="631"/>
                </a:lnTo>
                <a:lnTo>
                  <a:pt x="114" y="630"/>
                </a:lnTo>
                <a:lnTo>
                  <a:pt x="118" y="629"/>
                </a:lnTo>
                <a:lnTo>
                  <a:pt x="122" y="626"/>
                </a:lnTo>
                <a:lnTo>
                  <a:pt x="125" y="623"/>
                </a:lnTo>
                <a:lnTo>
                  <a:pt x="130" y="617"/>
                </a:lnTo>
                <a:lnTo>
                  <a:pt x="134" y="615"/>
                </a:lnTo>
                <a:lnTo>
                  <a:pt x="138" y="614"/>
                </a:lnTo>
                <a:lnTo>
                  <a:pt x="139" y="614"/>
                </a:lnTo>
                <a:lnTo>
                  <a:pt x="140" y="615"/>
                </a:lnTo>
                <a:lnTo>
                  <a:pt x="141" y="618"/>
                </a:lnTo>
                <a:lnTo>
                  <a:pt x="142" y="621"/>
                </a:lnTo>
                <a:lnTo>
                  <a:pt x="143" y="622"/>
                </a:lnTo>
                <a:lnTo>
                  <a:pt x="144" y="622"/>
                </a:lnTo>
                <a:lnTo>
                  <a:pt x="146" y="623"/>
                </a:lnTo>
                <a:lnTo>
                  <a:pt x="147" y="623"/>
                </a:lnTo>
                <a:lnTo>
                  <a:pt x="148" y="622"/>
                </a:lnTo>
                <a:lnTo>
                  <a:pt x="149" y="621"/>
                </a:lnTo>
                <a:lnTo>
                  <a:pt x="150" y="620"/>
                </a:lnTo>
                <a:lnTo>
                  <a:pt x="151" y="619"/>
                </a:lnTo>
                <a:lnTo>
                  <a:pt x="153" y="619"/>
                </a:lnTo>
                <a:lnTo>
                  <a:pt x="155" y="620"/>
                </a:lnTo>
                <a:lnTo>
                  <a:pt x="163" y="634"/>
                </a:lnTo>
                <a:lnTo>
                  <a:pt x="165" y="632"/>
                </a:lnTo>
                <a:lnTo>
                  <a:pt x="166" y="631"/>
                </a:lnTo>
                <a:lnTo>
                  <a:pt x="166" y="629"/>
                </a:lnTo>
                <a:lnTo>
                  <a:pt x="166" y="625"/>
                </a:lnTo>
                <a:lnTo>
                  <a:pt x="176" y="628"/>
                </a:lnTo>
                <a:lnTo>
                  <a:pt x="180" y="628"/>
                </a:lnTo>
                <a:lnTo>
                  <a:pt x="183" y="628"/>
                </a:lnTo>
                <a:lnTo>
                  <a:pt x="187" y="627"/>
                </a:lnTo>
                <a:lnTo>
                  <a:pt x="192" y="626"/>
                </a:lnTo>
                <a:lnTo>
                  <a:pt x="203" y="620"/>
                </a:lnTo>
                <a:lnTo>
                  <a:pt x="201" y="624"/>
                </a:lnTo>
                <a:lnTo>
                  <a:pt x="200" y="628"/>
                </a:lnTo>
                <a:lnTo>
                  <a:pt x="199" y="632"/>
                </a:lnTo>
                <a:lnTo>
                  <a:pt x="197" y="636"/>
                </a:lnTo>
                <a:lnTo>
                  <a:pt x="190" y="642"/>
                </a:lnTo>
                <a:lnTo>
                  <a:pt x="186" y="647"/>
                </a:lnTo>
                <a:lnTo>
                  <a:pt x="183" y="651"/>
                </a:lnTo>
                <a:lnTo>
                  <a:pt x="182" y="655"/>
                </a:lnTo>
                <a:lnTo>
                  <a:pt x="183" y="659"/>
                </a:lnTo>
                <a:lnTo>
                  <a:pt x="183" y="663"/>
                </a:lnTo>
                <a:lnTo>
                  <a:pt x="183" y="667"/>
                </a:lnTo>
                <a:lnTo>
                  <a:pt x="172" y="684"/>
                </a:lnTo>
                <a:lnTo>
                  <a:pt x="169" y="687"/>
                </a:lnTo>
                <a:lnTo>
                  <a:pt x="165" y="690"/>
                </a:lnTo>
                <a:lnTo>
                  <a:pt x="160" y="693"/>
                </a:lnTo>
                <a:lnTo>
                  <a:pt x="156" y="695"/>
                </a:lnTo>
                <a:lnTo>
                  <a:pt x="138" y="704"/>
                </a:lnTo>
                <a:lnTo>
                  <a:pt x="138" y="710"/>
                </a:lnTo>
                <a:lnTo>
                  <a:pt x="138" y="713"/>
                </a:lnTo>
                <a:lnTo>
                  <a:pt x="138" y="715"/>
                </a:lnTo>
                <a:lnTo>
                  <a:pt x="134" y="715"/>
                </a:lnTo>
                <a:lnTo>
                  <a:pt x="131" y="716"/>
                </a:lnTo>
                <a:lnTo>
                  <a:pt x="129" y="717"/>
                </a:lnTo>
                <a:lnTo>
                  <a:pt x="127" y="718"/>
                </a:lnTo>
                <a:lnTo>
                  <a:pt x="128" y="718"/>
                </a:lnTo>
                <a:lnTo>
                  <a:pt x="128" y="717"/>
                </a:lnTo>
                <a:lnTo>
                  <a:pt x="127" y="716"/>
                </a:lnTo>
                <a:lnTo>
                  <a:pt x="124" y="715"/>
                </a:lnTo>
                <a:lnTo>
                  <a:pt x="121" y="714"/>
                </a:lnTo>
                <a:lnTo>
                  <a:pt x="117" y="714"/>
                </a:lnTo>
                <a:lnTo>
                  <a:pt x="114" y="714"/>
                </a:lnTo>
                <a:lnTo>
                  <a:pt x="112" y="715"/>
                </a:lnTo>
                <a:lnTo>
                  <a:pt x="110" y="715"/>
                </a:lnTo>
                <a:lnTo>
                  <a:pt x="108" y="717"/>
                </a:lnTo>
                <a:lnTo>
                  <a:pt x="106" y="719"/>
                </a:lnTo>
                <a:lnTo>
                  <a:pt x="102" y="727"/>
                </a:lnTo>
                <a:lnTo>
                  <a:pt x="96" y="738"/>
                </a:lnTo>
                <a:lnTo>
                  <a:pt x="94" y="738"/>
                </a:lnTo>
                <a:lnTo>
                  <a:pt x="92" y="738"/>
                </a:lnTo>
                <a:lnTo>
                  <a:pt x="90" y="737"/>
                </a:lnTo>
                <a:lnTo>
                  <a:pt x="87" y="738"/>
                </a:lnTo>
                <a:lnTo>
                  <a:pt x="85" y="741"/>
                </a:lnTo>
                <a:lnTo>
                  <a:pt x="85" y="746"/>
                </a:lnTo>
                <a:lnTo>
                  <a:pt x="94" y="743"/>
                </a:lnTo>
                <a:lnTo>
                  <a:pt x="96" y="742"/>
                </a:lnTo>
                <a:lnTo>
                  <a:pt x="98" y="742"/>
                </a:lnTo>
                <a:lnTo>
                  <a:pt x="101" y="740"/>
                </a:lnTo>
                <a:lnTo>
                  <a:pt x="103" y="737"/>
                </a:lnTo>
                <a:lnTo>
                  <a:pt x="106" y="734"/>
                </a:lnTo>
                <a:lnTo>
                  <a:pt x="109" y="728"/>
                </a:lnTo>
                <a:lnTo>
                  <a:pt x="113" y="721"/>
                </a:lnTo>
                <a:lnTo>
                  <a:pt x="114" y="721"/>
                </a:lnTo>
                <a:lnTo>
                  <a:pt x="117" y="721"/>
                </a:lnTo>
                <a:lnTo>
                  <a:pt x="121" y="721"/>
                </a:lnTo>
                <a:lnTo>
                  <a:pt x="119" y="725"/>
                </a:lnTo>
                <a:lnTo>
                  <a:pt x="118" y="728"/>
                </a:lnTo>
                <a:lnTo>
                  <a:pt x="118" y="729"/>
                </a:lnTo>
                <a:lnTo>
                  <a:pt x="121" y="730"/>
                </a:lnTo>
                <a:lnTo>
                  <a:pt x="123" y="730"/>
                </a:lnTo>
                <a:lnTo>
                  <a:pt x="126" y="729"/>
                </a:lnTo>
                <a:lnTo>
                  <a:pt x="128" y="728"/>
                </a:lnTo>
                <a:lnTo>
                  <a:pt x="132" y="726"/>
                </a:lnTo>
                <a:lnTo>
                  <a:pt x="137" y="724"/>
                </a:lnTo>
                <a:lnTo>
                  <a:pt x="145" y="718"/>
                </a:lnTo>
                <a:lnTo>
                  <a:pt x="148" y="716"/>
                </a:lnTo>
                <a:lnTo>
                  <a:pt x="152" y="715"/>
                </a:lnTo>
                <a:lnTo>
                  <a:pt x="154" y="716"/>
                </a:lnTo>
                <a:lnTo>
                  <a:pt x="155" y="717"/>
                </a:lnTo>
                <a:lnTo>
                  <a:pt x="155" y="718"/>
                </a:lnTo>
                <a:lnTo>
                  <a:pt x="156" y="718"/>
                </a:lnTo>
                <a:lnTo>
                  <a:pt x="156" y="719"/>
                </a:lnTo>
                <a:lnTo>
                  <a:pt x="158" y="718"/>
                </a:lnTo>
                <a:lnTo>
                  <a:pt x="160" y="710"/>
                </a:lnTo>
                <a:lnTo>
                  <a:pt x="162" y="709"/>
                </a:lnTo>
                <a:lnTo>
                  <a:pt x="163" y="710"/>
                </a:lnTo>
                <a:lnTo>
                  <a:pt x="163" y="711"/>
                </a:lnTo>
                <a:lnTo>
                  <a:pt x="164" y="712"/>
                </a:lnTo>
                <a:lnTo>
                  <a:pt x="164" y="713"/>
                </a:lnTo>
                <a:lnTo>
                  <a:pt x="165" y="713"/>
                </a:lnTo>
                <a:lnTo>
                  <a:pt x="166" y="712"/>
                </a:lnTo>
                <a:lnTo>
                  <a:pt x="166" y="710"/>
                </a:lnTo>
                <a:lnTo>
                  <a:pt x="166" y="707"/>
                </a:lnTo>
                <a:lnTo>
                  <a:pt x="166" y="701"/>
                </a:lnTo>
                <a:lnTo>
                  <a:pt x="171" y="700"/>
                </a:lnTo>
                <a:lnTo>
                  <a:pt x="175" y="699"/>
                </a:lnTo>
                <a:lnTo>
                  <a:pt x="177" y="698"/>
                </a:lnTo>
                <a:lnTo>
                  <a:pt x="175" y="695"/>
                </a:lnTo>
                <a:lnTo>
                  <a:pt x="174" y="694"/>
                </a:lnTo>
                <a:lnTo>
                  <a:pt x="175" y="693"/>
                </a:lnTo>
                <a:lnTo>
                  <a:pt x="176" y="692"/>
                </a:lnTo>
                <a:lnTo>
                  <a:pt x="177" y="692"/>
                </a:lnTo>
                <a:lnTo>
                  <a:pt x="179" y="692"/>
                </a:lnTo>
                <a:lnTo>
                  <a:pt x="181" y="693"/>
                </a:lnTo>
                <a:lnTo>
                  <a:pt x="183" y="693"/>
                </a:lnTo>
                <a:lnTo>
                  <a:pt x="187" y="690"/>
                </a:lnTo>
                <a:lnTo>
                  <a:pt x="193" y="686"/>
                </a:lnTo>
                <a:lnTo>
                  <a:pt x="203" y="679"/>
                </a:lnTo>
                <a:lnTo>
                  <a:pt x="200" y="670"/>
                </a:lnTo>
                <a:lnTo>
                  <a:pt x="201" y="669"/>
                </a:lnTo>
                <a:lnTo>
                  <a:pt x="203" y="668"/>
                </a:lnTo>
                <a:lnTo>
                  <a:pt x="206" y="667"/>
                </a:lnTo>
                <a:lnTo>
                  <a:pt x="210" y="666"/>
                </a:lnTo>
                <a:lnTo>
                  <a:pt x="214" y="665"/>
                </a:lnTo>
                <a:lnTo>
                  <a:pt x="216" y="663"/>
                </a:lnTo>
                <a:lnTo>
                  <a:pt x="218" y="660"/>
                </a:lnTo>
                <a:lnTo>
                  <a:pt x="222" y="655"/>
                </a:lnTo>
                <a:lnTo>
                  <a:pt x="226" y="649"/>
                </a:lnTo>
                <a:lnTo>
                  <a:pt x="229" y="647"/>
                </a:lnTo>
                <a:lnTo>
                  <a:pt x="231" y="645"/>
                </a:lnTo>
                <a:lnTo>
                  <a:pt x="232" y="644"/>
                </a:lnTo>
                <a:lnTo>
                  <a:pt x="234" y="644"/>
                </a:lnTo>
                <a:lnTo>
                  <a:pt x="238" y="643"/>
                </a:lnTo>
                <a:lnTo>
                  <a:pt x="242" y="643"/>
                </a:lnTo>
                <a:lnTo>
                  <a:pt x="243" y="643"/>
                </a:lnTo>
                <a:lnTo>
                  <a:pt x="245" y="642"/>
                </a:lnTo>
                <a:lnTo>
                  <a:pt x="245" y="641"/>
                </a:lnTo>
                <a:lnTo>
                  <a:pt x="245" y="638"/>
                </a:lnTo>
                <a:lnTo>
                  <a:pt x="245" y="636"/>
                </a:lnTo>
                <a:lnTo>
                  <a:pt x="245" y="634"/>
                </a:lnTo>
                <a:lnTo>
                  <a:pt x="246" y="632"/>
                </a:lnTo>
                <a:lnTo>
                  <a:pt x="247" y="631"/>
                </a:lnTo>
                <a:lnTo>
                  <a:pt x="251" y="629"/>
                </a:lnTo>
                <a:lnTo>
                  <a:pt x="255" y="627"/>
                </a:lnTo>
                <a:lnTo>
                  <a:pt x="259" y="625"/>
                </a:lnTo>
                <a:lnTo>
                  <a:pt x="259" y="620"/>
                </a:lnTo>
                <a:lnTo>
                  <a:pt x="256" y="619"/>
                </a:lnTo>
                <a:lnTo>
                  <a:pt x="252" y="619"/>
                </a:lnTo>
                <a:lnTo>
                  <a:pt x="245" y="620"/>
                </a:lnTo>
                <a:lnTo>
                  <a:pt x="249" y="607"/>
                </a:lnTo>
                <a:lnTo>
                  <a:pt x="251" y="603"/>
                </a:lnTo>
                <a:lnTo>
                  <a:pt x="253" y="600"/>
                </a:lnTo>
                <a:lnTo>
                  <a:pt x="256" y="597"/>
                </a:lnTo>
                <a:lnTo>
                  <a:pt x="259" y="594"/>
                </a:lnTo>
                <a:lnTo>
                  <a:pt x="264" y="592"/>
                </a:lnTo>
                <a:lnTo>
                  <a:pt x="270" y="589"/>
                </a:lnTo>
                <a:lnTo>
                  <a:pt x="269" y="587"/>
                </a:lnTo>
                <a:lnTo>
                  <a:pt x="268" y="585"/>
                </a:lnTo>
                <a:lnTo>
                  <a:pt x="267" y="584"/>
                </a:lnTo>
                <a:lnTo>
                  <a:pt x="267" y="583"/>
                </a:lnTo>
                <a:lnTo>
                  <a:pt x="267" y="582"/>
                </a:lnTo>
                <a:lnTo>
                  <a:pt x="267" y="580"/>
                </a:lnTo>
                <a:lnTo>
                  <a:pt x="271" y="580"/>
                </a:lnTo>
                <a:lnTo>
                  <a:pt x="273" y="581"/>
                </a:lnTo>
                <a:lnTo>
                  <a:pt x="275" y="581"/>
                </a:lnTo>
                <a:lnTo>
                  <a:pt x="279" y="580"/>
                </a:lnTo>
                <a:lnTo>
                  <a:pt x="279" y="576"/>
                </a:lnTo>
                <a:lnTo>
                  <a:pt x="279" y="573"/>
                </a:lnTo>
                <a:lnTo>
                  <a:pt x="280" y="571"/>
                </a:lnTo>
                <a:lnTo>
                  <a:pt x="281" y="569"/>
                </a:lnTo>
                <a:lnTo>
                  <a:pt x="284" y="568"/>
                </a:lnTo>
                <a:lnTo>
                  <a:pt x="287" y="568"/>
                </a:lnTo>
                <a:lnTo>
                  <a:pt x="290" y="567"/>
                </a:lnTo>
                <a:lnTo>
                  <a:pt x="293" y="566"/>
                </a:lnTo>
                <a:lnTo>
                  <a:pt x="293" y="565"/>
                </a:lnTo>
                <a:lnTo>
                  <a:pt x="294" y="564"/>
                </a:lnTo>
                <a:lnTo>
                  <a:pt x="294" y="561"/>
                </a:lnTo>
                <a:lnTo>
                  <a:pt x="294" y="558"/>
                </a:lnTo>
                <a:lnTo>
                  <a:pt x="295" y="555"/>
                </a:lnTo>
                <a:lnTo>
                  <a:pt x="310" y="544"/>
                </a:lnTo>
                <a:lnTo>
                  <a:pt x="312" y="543"/>
                </a:lnTo>
                <a:lnTo>
                  <a:pt x="314" y="543"/>
                </a:lnTo>
                <a:lnTo>
                  <a:pt x="314" y="544"/>
                </a:lnTo>
                <a:lnTo>
                  <a:pt x="315" y="545"/>
                </a:lnTo>
                <a:lnTo>
                  <a:pt x="316" y="548"/>
                </a:lnTo>
                <a:lnTo>
                  <a:pt x="316" y="549"/>
                </a:lnTo>
                <a:lnTo>
                  <a:pt x="318" y="549"/>
                </a:lnTo>
                <a:lnTo>
                  <a:pt x="326" y="544"/>
                </a:lnTo>
                <a:lnTo>
                  <a:pt x="329" y="543"/>
                </a:lnTo>
                <a:lnTo>
                  <a:pt x="331" y="544"/>
                </a:lnTo>
                <a:lnTo>
                  <a:pt x="332" y="545"/>
                </a:lnTo>
                <a:lnTo>
                  <a:pt x="331" y="546"/>
                </a:lnTo>
                <a:lnTo>
                  <a:pt x="331" y="547"/>
                </a:lnTo>
                <a:lnTo>
                  <a:pt x="329" y="548"/>
                </a:lnTo>
                <a:lnTo>
                  <a:pt x="328" y="549"/>
                </a:lnTo>
                <a:lnTo>
                  <a:pt x="326" y="549"/>
                </a:lnTo>
                <a:lnTo>
                  <a:pt x="326" y="555"/>
                </a:lnTo>
                <a:lnTo>
                  <a:pt x="329" y="555"/>
                </a:lnTo>
                <a:lnTo>
                  <a:pt x="330" y="555"/>
                </a:lnTo>
                <a:lnTo>
                  <a:pt x="331" y="556"/>
                </a:lnTo>
                <a:lnTo>
                  <a:pt x="331" y="557"/>
                </a:lnTo>
                <a:lnTo>
                  <a:pt x="331" y="559"/>
                </a:lnTo>
                <a:lnTo>
                  <a:pt x="331" y="560"/>
                </a:lnTo>
                <a:lnTo>
                  <a:pt x="332" y="561"/>
                </a:lnTo>
                <a:lnTo>
                  <a:pt x="326" y="560"/>
                </a:lnTo>
                <a:lnTo>
                  <a:pt x="322" y="558"/>
                </a:lnTo>
                <a:lnTo>
                  <a:pt x="317" y="557"/>
                </a:lnTo>
                <a:lnTo>
                  <a:pt x="315" y="557"/>
                </a:lnTo>
                <a:lnTo>
                  <a:pt x="312" y="558"/>
                </a:lnTo>
                <a:lnTo>
                  <a:pt x="308" y="562"/>
                </a:lnTo>
                <a:lnTo>
                  <a:pt x="304" y="566"/>
                </a:lnTo>
                <a:lnTo>
                  <a:pt x="298" y="566"/>
                </a:lnTo>
                <a:lnTo>
                  <a:pt x="297" y="572"/>
                </a:lnTo>
                <a:lnTo>
                  <a:pt x="295" y="582"/>
                </a:lnTo>
                <a:lnTo>
                  <a:pt x="293" y="600"/>
                </a:lnTo>
                <a:lnTo>
                  <a:pt x="295" y="600"/>
                </a:lnTo>
                <a:lnTo>
                  <a:pt x="297" y="600"/>
                </a:lnTo>
                <a:lnTo>
                  <a:pt x="301" y="600"/>
                </a:lnTo>
                <a:lnTo>
                  <a:pt x="301" y="606"/>
                </a:lnTo>
                <a:lnTo>
                  <a:pt x="295" y="608"/>
                </a:lnTo>
                <a:lnTo>
                  <a:pt x="290" y="611"/>
                </a:lnTo>
                <a:lnTo>
                  <a:pt x="293" y="614"/>
                </a:lnTo>
                <a:lnTo>
                  <a:pt x="295" y="615"/>
                </a:lnTo>
                <a:lnTo>
                  <a:pt x="296" y="616"/>
                </a:lnTo>
                <a:lnTo>
                  <a:pt x="295" y="617"/>
                </a:lnTo>
                <a:lnTo>
                  <a:pt x="307" y="613"/>
                </a:lnTo>
                <a:lnTo>
                  <a:pt x="318" y="608"/>
                </a:lnTo>
                <a:lnTo>
                  <a:pt x="318" y="603"/>
                </a:lnTo>
                <a:lnTo>
                  <a:pt x="321" y="602"/>
                </a:lnTo>
                <a:lnTo>
                  <a:pt x="324" y="601"/>
                </a:lnTo>
                <a:lnTo>
                  <a:pt x="327" y="601"/>
                </a:lnTo>
                <a:lnTo>
                  <a:pt x="328" y="601"/>
                </a:lnTo>
                <a:lnTo>
                  <a:pt x="329" y="600"/>
                </a:lnTo>
                <a:lnTo>
                  <a:pt x="330" y="598"/>
                </a:lnTo>
                <a:lnTo>
                  <a:pt x="331" y="597"/>
                </a:lnTo>
                <a:lnTo>
                  <a:pt x="332" y="592"/>
                </a:lnTo>
                <a:lnTo>
                  <a:pt x="333" y="590"/>
                </a:lnTo>
                <a:lnTo>
                  <a:pt x="334" y="588"/>
                </a:lnTo>
                <a:lnTo>
                  <a:pt x="336" y="587"/>
                </a:lnTo>
                <a:lnTo>
                  <a:pt x="338" y="586"/>
                </a:lnTo>
                <a:lnTo>
                  <a:pt x="340" y="586"/>
                </a:lnTo>
                <a:lnTo>
                  <a:pt x="343" y="586"/>
                </a:lnTo>
                <a:lnTo>
                  <a:pt x="348" y="588"/>
                </a:lnTo>
                <a:lnTo>
                  <a:pt x="353" y="591"/>
                </a:lnTo>
                <a:lnTo>
                  <a:pt x="355" y="591"/>
                </a:lnTo>
                <a:lnTo>
                  <a:pt x="357" y="591"/>
                </a:lnTo>
                <a:lnTo>
                  <a:pt x="361" y="588"/>
                </a:lnTo>
                <a:lnTo>
                  <a:pt x="363" y="585"/>
                </a:lnTo>
                <a:lnTo>
                  <a:pt x="366" y="583"/>
                </a:lnTo>
                <a:lnTo>
                  <a:pt x="365" y="580"/>
                </a:lnTo>
                <a:lnTo>
                  <a:pt x="364" y="574"/>
                </a:lnTo>
                <a:lnTo>
                  <a:pt x="363" y="570"/>
                </a:lnTo>
                <a:lnTo>
                  <a:pt x="363" y="572"/>
                </a:lnTo>
                <a:lnTo>
                  <a:pt x="355" y="569"/>
                </a:lnTo>
                <a:lnTo>
                  <a:pt x="355" y="562"/>
                </a:lnTo>
                <a:lnTo>
                  <a:pt x="355" y="558"/>
                </a:lnTo>
                <a:lnTo>
                  <a:pt x="355" y="556"/>
                </a:lnTo>
                <a:lnTo>
                  <a:pt x="355" y="555"/>
                </a:lnTo>
                <a:lnTo>
                  <a:pt x="364" y="557"/>
                </a:lnTo>
                <a:lnTo>
                  <a:pt x="372" y="558"/>
                </a:lnTo>
                <a:lnTo>
                  <a:pt x="376" y="558"/>
                </a:lnTo>
                <a:lnTo>
                  <a:pt x="379" y="558"/>
                </a:lnTo>
                <a:lnTo>
                  <a:pt x="382" y="557"/>
                </a:lnTo>
                <a:lnTo>
                  <a:pt x="385" y="555"/>
                </a:lnTo>
                <a:lnTo>
                  <a:pt x="386" y="554"/>
                </a:lnTo>
                <a:lnTo>
                  <a:pt x="386" y="553"/>
                </a:lnTo>
                <a:lnTo>
                  <a:pt x="385" y="552"/>
                </a:lnTo>
                <a:lnTo>
                  <a:pt x="385" y="551"/>
                </a:lnTo>
                <a:lnTo>
                  <a:pt x="388" y="552"/>
                </a:lnTo>
                <a:lnTo>
                  <a:pt x="388" y="561"/>
                </a:lnTo>
                <a:lnTo>
                  <a:pt x="393" y="563"/>
                </a:lnTo>
                <a:lnTo>
                  <a:pt x="388" y="563"/>
                </a:lnTo>
                <a:lnTo>
                  <a:pt x="395" y="566"/>
                </a:lnTo>
                <a:lnTo>
                  <a:pt x="402" y="569"/>
                </a:lnTo>
                <a:lnTo>
                  <a:pt x="401" y="570"/>
                </a:lnTo>
                <a:lnTo>
                  <a:pt x="401" y="571"/>
                </a:lnTo>
                <a:lnTo>
                  <a:pt x="400" y="573"/>
                </a:lnTo>
                <a:lnTo>
                  <a:pt x="400" y="575"/>
                </a:lnTo>
                <a:lnTo>
                  <a:pt x="401" y="576"/>
                </a:lnTo>
                <a:lnTo>
                  <a:pt x="401" y="578"/>
                </a:lnTo>
                <a:lnTo>
                  <a:pt x="402" y="579"/>
                </a:lnTo>
                <a:lnTo>
                  <a:pt x="402" y="580"/>
                </a:lnTo>
                <a:lnTo>
                  <a:pt x="405" y="581"/>
                </a:lnTo>
                <a:lnTo>
                  <a:pt x="406" y="581"/>
                </a:lnTo>
                <a:lnTo>
                  <a:pt x="408" y="580"/>
                </a:lnTo>
                <a:lnTo>
                  <a:pt x="410" y="579"/>
                </a:lnTo>
                <a:lnTo>
                  <a:pt x="413" y="578"/>
                </a:lnTo>
                <a:lnTo>
                  <a:pt x="414" y="577"/>
                </a:lnTo>
                <a:lnTo>
                  <a:pt x="416" y="577"/>
                </a:lnTo>
                <a:lnTo>
                  <a:pt x="418" y="581"/>
                </a:lnTo>
                <a:lnTo>
                  <a:pt x="419" y="586"/>
                </a:lnTo>
                <a:lnTo>
                  <a:pt x="423" y="587"/>
                </a:lnTo>
                <a:lnTo>
                  <a:pt x="426" y="587"/>
                </a:lnTo>
                <a:lnTo>
                  <a:pt x="430" y="588"/>
                </a:lnTo>
                <a:lnTo>
                  <a:pt x="433" y="589"/>
                </a:lnTo>
                <a:lnTo>
                  <a:pt x="433" y="591"/>
                </a:lnTo>
                <a:lnTo>
                  <a:pt x="438" y="592"/>
                </a:lnTo>
                <a:lnTo>
                  <a:pt x="443" y="592"/>
                </a:lnTo>
                <a:lnTo>
                  <a:pt x="446" y="591"/>
                </a:lnTo>
                <a:lnTo>
                  <a:pt x="450" y="590"/>
                </a:lnTo>
                <a:lnTo>
                  <a:pt x="458" y="589"/>
                </a:lnTo>
                <a:lnTo>
                  <a:pt x="462" y="588"/>
                </a:lnTo>
                <a:lnTo>
                  <a:pt x="467" y="589"/>
                </a:lnTo>
                <a:lnTo>
                  <a:pt x="472" y="590"/>
                </a:lnTo>
                <a:lnTo>
                  <a:pt x="479" y="593"/>
                </a:lnTo>
                <a:lnTo>
                  <a:pt x="493" y="600"/>
                </a:lnTo>
                <a:lnTo>
                  <a:pt x="500" y="603"/>
                </a:lnTo>
                <a:lnTo>
                  <a:pt x="508" y="605"/>
                </a:lnTo>
                <a:lnTo>
                  <a:pt x="511" y="606"/>
                </a:lnTo>
                <a:lnTo>
                  <a:pt x="514" y="606"/>
                </a:lnTo>
                <a:lnTo>
                  <a:pt x="520" y="606"/>
                </a:lnTo>
                <a:lnTo>
                  <a:pt x="523" y="603"/>
                </a:lnTo>
                <a:lnTo>
                  <a:pt x="524" y="601"/>
                </a:lnTo>
                <a:lnTo>
                  <a:pt x="525" y="600"/>
                </a:lnTo>
                <a:lnTo>
                  <a:pt x="526" y="600"/>
                </a:lnTo>
                <a:lnTo>
                  <a:pt x="523" y="614"/>
                </a:lnTo>
                <a:lnTo>
                  <a:pt x="527" y="616"/>
                </a:lnTo>
                <a:lnTo>
                  <a:pt x="533" y="619"/>
                </a:lnTo>
                <a:lnTo>
                  <a:pt x="539" y="622"/>
                </a:lnTo>
                <a:lnTo>
                  <a:pt x="541" y="622"/>
                </a:lnTo>
                <a:lnTo>
                  <a:pt x="543" y="622"/>
                </a:lnTo>
                <a:lnTo>
                  <a:pt x="543" y="614"/>
                </a:lnTo>
                <a:lnTo>
                  <a:pt x="547" y="614"/>
                </a:lnTo>
                <a:lnTo>
                  <a:pt x="551" y="614"/>
                </a:lnTo>
                <a:lnTo>
                  <a:pt x="552" y="615"/>
                </a:lnTo>
                <a:lnTo>
                  <a:pt x="552" y="616"/>
                </a:lnTo>
                <a:lnTo>
                  <a:pt x="550" y="621"/>
                </a:lnTo>
                <a:lnTo>
                  <a:pt x="549" y="626"/>
                </a:lnTo>
                <a:lnTo>
                  <a:pt x="548" y="629"/>
                </a:lnTo>
                <a:lnTo>
                  <a:pt x="549" y="631"/>
                </a:lnTo>
                <a:lnTo>
                  <a:pt x="554" y="631"/>
                </a:lnTo>
                <a:lnTo>
                  <a:pt x="565" y="648"/>
                </a:lnTo>
                <a:lnTo>
                  <a:pt x="567" y="647"/>
                </a:lnTo>
                <a:lnTo>
                  <a:pt x="569" y="645"/>
                </a:lnTo>
                <a:lnTo>
                  <a:pt x="571" y="644"/>
                </a:lnTo>
                <a:lnTo>
                  <a:pt x="574" y="645"/>
                </a:lnTo>
                <a:lnTo>
                  <a:pt x="574" y="649"/>
                </a:lnTo>
                <a:lnTo>
                  <a:pt x="574" y="653"/>
                </a:lnTo>
                <a:lnTo>
                  <a:pt x="579" y="654"/>
                </a:lnTo>
                <a:lnTo>
                  <a:pt x="580" y="655"/>
                </a:lnTo>
                <a:lnTo>
                  <a:pt x="582" y="656"/>
                </a:lnTo>
                <a:lnTo>
                  <a:pt x="580" y="659"/>
                </a:lnTo>
                <a:lnTo>
                  <a:pt x="579" y="660"/>
                </a:lnTo>
                <a:lnTo>
                  <a:pt x="579" y="661"/>
                </a:lnTo>
                <a:lnTo>
                  <a:pt x="580" y="662"/>
                </a:lnTo>
                <a:lnTo>
                  <a:pt x="581" y="662"/>
                </a:lnTo>
                <a:lnTo>
                  <a:pt x="582" y="661"/>
                </a:lnTo>
                <a:lnTo>
                  <a:pt x="585" y="659"/>
                </a:lnTo>
                <a:lnTo>
                  <a:pt x="586" y="660"/>
                </a:lnTo>
                <a:lnTo>
                  <a:pt x="586" y="661"/>
                </a:lnTo>
                <a:lnTo>
                  <a:pt x="585" y="665"/>
                </a:lnTo>
                <a:lnTo>
                  <a:pt x="585" y="668"/>
                </a:lnTo>
                <a:lnTo>
                  <a:pt x="585" y="669"/>
                </a:lnTo>
                <a:lnTo>
                  <a:pt x="585" y="670"/>
                </a:lnTo>
                <a:lnTo>
                  <a:pt x="592" y="674"/>
                </a:lnTo>
                <a:lnTo>
                  <a:pt x="599" y="679"/>
                </a:lnTo>
                <a:lnTo>
                  <a:pt x="600" y="680"/>
                </a:lnTo>
                <a:lnTo>
                  <a:pt x="600" y="681"/>
                </a:lnTo>
                <a:lnTo>
                  <a:pt x="599" y="683"/>
                </a:lnTo>
                <a:lnTo>
                  <a:pt x="599" y="685"/>
                </a:lnTo>
                <a:lnTo>
                  <a:pt x="599" y="687"/>
                </a:lnTo>
                <a:lnTo>
                  <a:pt x="600" y="689"/>
                </a:lnTo>
                <a:lnTo>
                  <a:pt x="602" y="691"/>
                </a:lnTo>
                <a:lnTo>
                  <a:pt x="605" y="697"/>
                </a:lnTo>
                <a:lnTo>
                  <a:pt x="613" y="707"/>
                </a:lnTo>
                <a:lnTo>
                  <a:pt x="615" y="707"/>
                </a:lnTo>
                <a:lnTo>
                  <a:pt x="616" y="707"/>
                </a:lnTo>
                <a:lnTo>
                  <a:pt x="617" y="709"/>
                </a:lnTo>
                <a:lnTo>
                  <a:pt x="618" y="711"/>
                </a:lnTo>
                <a:lnTo>
                  <a:pt x="618" y="712"/>
                </a:lnTo>
                <a:lnTo>
                  <a:pt x="619" y="712"/>
                </a:lnTo>
                <a:lnTo>
                  <a:pt x="621" y="712"/>
                </a:lnTo>
                <a:lnTo>
                  <a:pt x="622" y="712"/>
                </a:lnTo>
                <a:lnTo>
                  <a:pt x="622" y="711"/>
                </a:lnTo>
                <a:lnTo>
                  <a:pt x="622" y="710"/>
                </a:lnTo>
                <a:lnTo>
                  <a:pt x="622" y="707"/>
                </a:lnTo>
                <a:lnTo>
                  <a:pt x="622" y="704"/>
                </a:lnTo>
                <a:lnTo>
                  <a:pt x="624" y="706"/>
                </a:lnTo>
                <a:lnTo>
                  <a:pt x="626" y="707"/>
                </a:lnTo>
                <a:lnTo>
                  <a:pt x="630" y="710"/>
                </a:lnTo>
                <a:lnTo>
                  <a:pt x="628" y="712"/>
                </a:lnTo>
                <a:lnTo>
                  <a:pt x="627" y="714"/>
                </a:lnTo>
                <a:lnTo>
                  <a:pt x="627" y="715"/>
                </a:lnTo>
                <a:lnTo>
                  <a:pt x="632" y="717"/>
                </a:lnTo>
                <a:lnTo>
                  <a:pt x="634" y="717"/>
                </a:lnTo>
                <a:lnTo>
                  <a:pt x="636" y="718"/>
                </a:lnTo>
                <a:lnTo>
                  <a:pt x="633" y="707"/>
                </a:lnTo>
                <a:lnTo>
                  <a:pt x="635" y="706"/>
                </a:lnTo>
                <a:lnTo>
                  <a:pt x="636" y="706"/>
                </a:lnTo>
                <a:lnTo>
                  <a:pt x="635" y="708"/>
                </a:lnTo>
                <a:lnTo>
                  <a:pt x="636" y="710"/>
                </a:lnTo>
                <a:lnTo>
                  <a:pt x="641" y="710"/>
                </a:lnTo>
                <a:lnTo>
                  <a:pt x="642" y="706"/>
                </a:lnTo>
                <a:lnTo>
                  <a:pt x="642" y="701"/>
                </a:lnTo>
                <a:lnTo>
                  <a:pt x="643" y="697"/>
                </a:lnTo>
                <a:lnTo>
                  <a:pt x="644" y="693"/>
                </a:lnTo>
                <a:lnTo>
                  <a:pt x="639" y="693"/>
                </a:lnTo>
                <a:lnTo>
                  <a:pt x="640" y="692"/>
                </a:lnTo>
                <a:lnTo>
                  <a:pt x="639" y="691"/>
                </a:lnTo>
                <a:lnTo>
                  <a:pt x="638" y="691"/>
                </a:lnTo>
                <a:lnTo>
                  <a:pt x="636" y="690"/>
                </a:lnTo>
                <a:lnTo>
                  <a:pt x="630" y="690"/>
                </a:lnTo>
                <a:lnTo>
                  <a:pt x="630" y="701"/>
                </a:lnTo>
                <a:lnTo>
                  <a:pt x="625" y="700"/>
                </a:lnTo>
                <a:lnTo>
                  <a:pt x="619" y="698"/>
                </a:lnTo>
                <a:lnTo>
                  <a:pt x="618" y="697"/>
                </a:lnTo>
                <a:lnTo>
                  <a:pt x="618" y="696"/>
                </a:lnTo>
                <a:lnTo>
                  <a:pt x="617" y="691"/>
                </a:lnTo>
                <a:lnTo>
                  <a:pt x="617" y="687"/>
                </a:lnTo>
                <a:lnTo>
                  <a:pt x="617" y="685"/>
                </a:lnTo>
                <a:lnTo>
                  <a:pt x="616" y="684"/>
                </a:lnTo>
                <a:lnTo>
                  <a:pt x="612" y="683"/>
                </a:lnTo>
                <a:lnTo>
                  <a:pt x="608" y="681"/>
                </a:lnTo>
                <a:lnTo>
                  <a:pt x="616" y="676"/>
                </a:lnTo>
                <a:lnTo>
                  <a:pt x="613" y="667"/>
                </a:lnTo>
                <a:lnTo>
                  <a:pt x="608" y="667"/>
                </a:lnTo>
                <a:lnTo>
                  <a:pt x="607" y="666"/>
                </a:lnTo>
                <a:lnTo>
                  <a:pt x="608" y="665"/>
                </a:lnTo>
                <a:lnTo>
                  <a:pt x="608" y="663"/>
                </a:lnTo>
                <a:lnTo>
                  <a:pt x="608" y="661"/>
                </a:lnTo>
                <a:lnTo>
                  <a:pt x="607" y="660"/>
                </a:lnTo>
                <a:lnTo>
                  <a:pt x="605" y="658"/>
                </a:lnTo>
                <a:lnTo>
                  <a:pt x="602" y="656"/>
                </a:lnTo>
                <a:lnTo>
                  <a:pt x="599" y="655"/>
                </a:lnTo>
                <a:lnTo>
                  <a:pt x="596" y="655"/>
                </a:lnTo>
                <a:lnTo>
                  <a:pt x="589" y="654"/>
                </a:lnTo>
                <a:lnTo>
                  <a:pt x="585" y="654"/>
                </a:lnTo>
                <a:lnTo>
                  <a:pt x="588" y="653"/>
                </a:lnTo>
                <a:lnTo>
                  <a:pt x="593" y="652"/>
                </a:lnTo>
                <a:lnTo>
                  <a:pt x="597" y="651"/>
                </a:lnTo>
                <a:lnTo>
                  <a:pt x="605" y="648"/>
                </a:lnTo>
                <a:lnTo>
                  <a:pt x="605" y="650"/>
                </a:lnTo>
                <a:lnTo>
                  <a:pt x="605" y="652"/>
                </a:lnTo>
                <a:lnTo>
                  <a:pt x="605" y="653"/>
                </a:lnTo>
                <a:lnTo>
                  <a:pt x="608" y="653"/>
                </a:lnTo>
                <a:lnTo>
                  <a:pt x="607" y="652"/>
                </a:lnTo>
                <a:lnTo>
                  <a:pt x="606" y="650"/>
                </a:lnTo>
                <a:lnTo>
                  <a:pt x="605" y="643"/>
                </a:lnTo>
                <a:lnTo>
                  <a:pt x="606" y="637"/>
                </a:lnTo>
                <a:lnTo>
                  <a:pt x="607" y="635"/>
                </a:lnTo>
                <a:lnTo>
                  <a:pt x="607" y="634"/>
                </a:lnTo>
                <a:lnTo>
                  <a:pt x="608" y="634"/>
                </a:lnTo>
                <a:lnTo>
                  <a:pt x="610" y="638"/>
                </a:lnTo>
                <a:lnTo>
                  <a:pt x="613" y="642"/>
                </a:lnTo>
                <a:lnTo>
                  <a:pt x="619" y="651"/>
                </a:lnTo>
                <a:lnTo>
                  <a:pt x="623" y="650"/>
                </a:lnTo>
                <a:lnTo>
                  <a:pt x="627" y="651"/>
                </a:lnTo>
                <a:lnTo>
                  <a:pt x="627" y="656"/>
                </a:lnTo>
                <a:lnTo>
                  <a:pt x="629" y="656"/>
                </a:lnTo>
                <a:lnTo>
                  <a:pt x="632" y="656"/>
                </a:lnTo>
                <a:lnTo>
                  <a:pt x="634" y="656"/>
                </a:lnTo>
                <a:lnTo>
                  <a:pt x="635" y="656"/>
                </a:lnTo>
                <a:lnTo>
                  <a:pt x="636" y="656"/>
                </a:lnTo>
                <a:lnTo>
                  <a:pt x="637" y="657"/>
                </a:lnTo>
                <a:lnTo>
                  <a:pt x="637" y="658"/>
                </a:lnTo>
                <a:lnTo>
                  <a:pt x="637" y="659"/>
                </a:lnTo>
                <a:lnTo>
                  <a:pt x="636" y="660"/>
                </a:lnTo>
                <a:lnTo>
                  <a:pt x="634" y="661"/>
                </a:lnTo>
                <a:lnTo>
                  <a:pt x="633" y="662"/>
                </a:lnTo>
                <a:lnTo>
                  <a:pt x="633" y="663"/>
                </a:lnTo>
                <a:lnTo>
                  <a:pt x="634" y="665"/>
                </a:lnTo>
                <a:lnTo>
                  <a:pt x="636" y="667"/>
                </a:lnTo>
                <a:lnTo>
                  <a:pt x="638" y="670"/>
                </a:lnTo>
                <a:lnTo>
                  <a:pt x="639" y="672"/>
                </a:lnTo>
                <a:lnTo>
                  <a:pt x="640" y="673"/>
                </a:lnTo>
                <a:lnTo>
                  <a:pt x="639" y="675"/>
                </a:lnTo>
                <a:lnTo>
                  <a:pt x="639" y="677"/>
                </a:lnTo>
                <a:lnTo>
                  <a:pt x="639" y="679"/>
                </a:lnTo>
                <a:lnTo>
                  <a:pt x="640" y="683"/>
                </a:lnTo>
                <a:lnTo>
                  <a:pt x="641" y="687"/>
                </a:lnTo>
                <a:lnTo>
                  <a:pt x="650" y="687"/>
                </a:lnTo>
                <a:lnTo>
                  <a:pt x="650" y="691"/>
                </a:lnTo>
                <a:lnTo>
                  <a:pt x="651" y="694"/>
                </a:lnTo>
                <a:lnTo>
                  <a:pt x="651" y="696"/>
                </a:lnTo>
                <a:lnTo>
                  <a:pt x="653" y="698"/>
                </a:lnTo>
                <a:lnTo>
                  <a:pt x="650" y="700"/>
                </a:lnTo>
                <a:lnTo>
                  <a:pt x="649" y="701"/>
                </a:lnTo>
                <a:lnTo>
                  <a:pt x="648" y="703"/>
                </a:lnTo>
                <a:lnTo>
                  <a:pt x="647" y="707"/>
                </a:lnTo>
                <a:lnTo>
                  <a:pt x="648" y="707"/>
                </a:lnTo>
                <a:lnTo>
                  <a:pt x="650" y="708"/>
                </a:lnTo>
                <a:lnTo>
                  <a:pt x="653" y="710"/>
                </a:lnTo>
                <a:lnTo>
                  <a:pt x="653" y="701"/>
                </a:lnTo>
                <a:lnTo>
                  <a:pt x="658" y="705"/>
                </a:lnTo>
                <a:lnTo>
                  <a:pt x="660" y="706"/>
                </a:lnTo>
                <a:lnTo>
                  <a:pt x="664" y="707"/>
                </a:lnTo>
                <a:lnTo>
                  <a:pt x="662" y="709"/>
                </a:lnTo>
                <a:lnTo>
                  <a:pt x="661" y="711"/>
                </a:lnTo>
                <a:lnTo>
                  <a:pt x="661" y="712"/>
                </a:lnTo>
                <a:lnTo>
                  <a:pt x="662" y="712"/>
                </a:lnTo>
                <a:lnTo>
                  <a:pt x="664" y="711"/>
                </a:lnTo>
                <a:lnTo>
                  <a:pt x="667" y="710"/>
                </a:lnTo>
                <a:lnTo>
                  <a:pt x="667" y="719"/>
                </a:lnTo>
                <a:lnTo>
                  <a:pt x="667" y="732"/>
                </a:lnTo>
                <a:lnTo>
                  <a:pt x="670" y="731"/>
                </a:lnTo>
                <a:lnTo>
                  <a:pt x="671" y="729"/>
                </a:lnTo>
                <a:lnTo>
                  <a:pt x="671" y="727"/>
                </a:lnTo>
                <a:lnTo>
                  <a:pt x="672" y="724"/>
                </a:lnTo>
                <a:lnTo>
                  <a:pt x="678" y="743"/>
                </a:lnTo>
                <a:lnTo>
                  <a:pt x="680" y="743"/>
                </a:lnTo>
                <a:lnTo>
                  <a:pt x="681" y="743"/>
                </a:lnTo>
                <a:lnTo>
                  <a:pt x="682" y="742"/>
                </a:lnTo>
                <a:lnTo>
                  <a:pt x="683" y="741"/>
                </a:lnTo>
                <a:lnTo>
                  <a:pt x="684" y="741"/>
                </a:lnTo>
                <a:lnTo>
                  <a:pt x="686" y="743"/>
                </a:lnTo>
                <a:lnTo>
                  <a:pt x="687" y="736"/>
                </a:lnTo>
                <a:lnTo>
                  <a:pt x="688" y="734"/>
                </a:lnTo>
                <a:lnTo>
                  <a:pt x="688" y="733"/>
                </a:lnTo>
                <a:lnTo>
                  <a:pt x="689" y="732"/>
                </a:lnTo>
                <a:lnTo>
                  <a:pt x="689" y="735"/>
                </a:lnTo>
                <a:lnTo>
                  <a:pt x="689" y="741"/>
                </a:lnTo>
                <a:lnTo>
                  <a:pt x="689" y="743"/>
                </a:lnTo>
                <a:lnTo>
                  <a:pt x="688" y="745"/>
                </a:lnTo>
                <a:lnTo>
                  <a:pt x="684" y="749"/>
                </a:lnTo>
                <a:lnTo>
                  <a:pt x="685" y="751"/>
                </a:lnTo>
                <a:lnTo>
                  <a:pt x="686" y="754"/>
                </a:lnTo>
                <a:lnTo>
                  <a:pt x="686" y="757"/>
                </a:lnTo>
                <a:lnTo>
                  <a:pt x="689" y="759"/>
                </a:lnTo>
                <a:lnTo>
                  <a:pt x="692" y="759"/>
                </a:lnTo>
                <a:lnTo>
                  <a:pt x="695" y="760"/>
                </a:lnTo>
                <a:lnTo>
                  <a:pt x="698" y="760"/>
                </a:lnTo>
                <a:lnTo>
                  <a:pt x="698" y="762"/>
                </a:lnTo>
                <a:lnTo>
                  <a:pt x="698" y="765"/>
                </a:lnTo>
                <a:lnTo>
                  <a:pt x="698" y="766"/>
                </a:lnTo>
                <a:lnTo>
                  <a:pt x="697" y="766"/>
                </a:lnTo>
                <a:lnTo>
                  <a:pt x="696" y="767"/>
                </a:lnTo>
                <a:lnTo>
                  <a:pt x="695" y="766"/>
                </a:lnTo>
                <a:lnTo>
                  <a:pt x="694" y="771"/>
                </a:lnTo>
                <a:lnTo>
                  <a:pt x="693" y="773"/>
                </a:lnTo>
                <a:lnTo>
                  <a:pt x="692" y="774"/>
                </a:lnTo>
                <a:lnTo>
                  <a:pt x="700" y="777"/>
                </a:lnTo>
                <a:lnTo>
                  <a:pt x="700" y="800"/>
                </a:lnTo>
                <a:lnTo>
                  <a:pt x="705" y="802"/>
                </a:lnTo>
                <a:lnTo>
                  <a:pt x="709" y="805"/>
                </a:lnTo>
                <a:lnTo>
                  <a:pt x="706" y="807"/>
                </a:lnTo>
                <a:lnTo>
                  <a:pt x="705" y="808"/>
                </a:lnTo>
                <a:lnTo>
                  <a:pt x="705" y="809"/>
                </a:lnTo>
                <a:lnTo>
                  <a:pt x="706" y="809"/>
                </a:lnTo>
                <a:lnTo>
                  <a:pt x="712" y="808"/>
                </a:lnTo>
                <a:lnTo>
                  <a:pt x="713" y="807"/>
                </a:lnTo>
                <a:lnTo>
                  <a:pt x="714" y="804"/>
                </a:lnTo>
                <a:lnTo>
                  <a:pt x="715" y="803"/>
                </a:lnTo>
                <a:lnTo>
                  <a:pt x="714" y="802"/>
                </a:lnTo>
                <a:lnTo>
                  <a:pt x="712" y="802"/>
                </a:lnTo>
                <a:lnTo>
                  <a:pt x="712" y="800"/>
                </a:lnTo>
                <a:lnTo>
                  <a:pt x="715" y="799"/>
                </a:lnTo>
                <a:lnTo>
                  <a:pt x="718" y="799"/>
                </a:lnTo>
                <a:lnTo>
                  <a:pt x="720" y="798"/>
                </a:lnTo>
                <a:lnTo>
                  <a:pt x="723" y="797"/>
                </a:lnTo>
                <a:lnTo>
                  <a:pt x="722" y="800"/>
                </a:lnTo>
                <a:lnTo>
                  <a:pt x="721" y="803"/>
                </a:lnTo>
                <a:lnTo>
                  <a:pt x="720" y="811"/>
                </a:lnTo>
                <a:lnTo>
                  <a:pt x="715" y="811"/>
                </a:lnTo>
                <a:lnTo>
                  <a:pt x="714" y="813"/>
                </a:lnTo>
                <a:lnTo>
                  <a:pt x="714" y="815"/>
                </a:lnTo>
                <a:lnTo>
                  <a:pt x="715" y="815"/>
                </a:lnTo>
                <a:lnTo>
                  <a:pt x="716" y="816"/>
                </a:lnTo>
                <a:lnTo>
                  <a:pt x="717" y="817"/>
                </a:lnTo>
                <a:lnTo>
                  <a:pt x="718" y="818"/>
                </a:lnTo>
                <a:lnTo>
                  <a:pt x="717" y="819"/>
                </a:lnTo>
                <a:lnTo>
                  <a:pt x="720" y="820"/>
                </a:lnTo>
                <a:lnTo>
                  <a:pt x="720" y="821"/>
                </a:lnTo>
                <a:lnTo>
                  <a:pt x="720" y="822"/>
                </a:lnTo>
                <a:lnTo>
                  <a:pt x="720" y="825"/>
                </a:lnTo>
                <a:lnTo>
                  <a:pt x="720" y="828"/>
                </a:lnTo>
                <a:lnTo>
                  <a:pt x="723" y="828"/>
                </a:lnTo>
                <a:lnTo>
                  <a:pt x="723" y="827"/>
                </a:lnTo>
                <a:lnTo>
                  <a:pt x="723" y="824"/>
                </a:lnTo>
                <a:lnTo>
                  <a:pt x="723" y="822"/>
                </a:lnTo>
                <a:lnTo>
                  <a:pt x="733" y="828"/>
                </a:lnTo>
                <a:lnTo>
                  <a:pt x="743" y="833"/>
                </a:lnTo>
                <a:lnTo>
                  <a:pt x="743" y="838"/>
                </a:lnTo>
                <a:lnTo>
                  <a:pt x="743" y="848"/>
                </a:lnTo>
                <a:lnTo>
                  <a:pt x="743" y="868"/>
                </a:lnTo>
                <a:lnTo>
                  <a:pt x="737" y="868"/>
                </a:lnTo>
                <a:lnTo>
                  <a:pt x="733" y="868"/>
                </a:lnTo>
                <a:lnTo>
                  <a:pt x="731" y="868"/>
                </a:lnTo>
                <a:lnTo>
                  <a:pt x="734" y="875"/>
                </a:lnTo>
                <a:lnTo>
                  <a:pt x="735" y="879"/>
                </a:lnTo>
                <a:lnTo>
                  <a:pt x="735" y="883"/>
                </a:lnTo>
                <a:lnTo>
                  <a:pt x="737" y="891"/>
                </a:lnTo>
                <a:lnTo>
                  <a:pt x="744" y="890"/>
                </a:lnTo>
                <a:lnTo>
                  <a:pt x="750" y="889"/>
                </a:lnTo>
                <a:lnTo>
                  <a:pt x="754" y="889"/>
                </a:lnTo>
                <a:lnTo>
                  <a:pt x="757" y="889"/>
                </a:lnTo>
                <a:lnTo>
                  <a:pt x="761" y="889"/>
                </a:lnTo>
                <a:lnTo>
                  <a:pt x="765" y="891"/>
                </a:lnTo>
                <a:lnTo>
                  <a:pt x="765" y="899"/>
                </a:lnTo>
                <a:lnTo>
                  <a:pt x="762" y="902"/>
                </a:lnTo>
                <a:lnTo>
                  <a:pt x="765" y="902"/>
                </a:lnTo>
                <a:lnTo>
                  <a:pt x="766" y="902"/>
                </a:lnTo>
                <a:lnTo>
                  <a:pt x="769" y="901"/>
                </a:lnTo>
                <a:lnTo>
                  <a:pt x="771" y="899"/>
                </a:lnTo>
                <a:lnTo>
                  <a:pt x="772" y="899"/>
                </a:lnTo>
                <a:lnTo>
                  <a:pt x="774" y="899"/>
                </a:lnTo>
                <a:lnTo>
                  <a:pt x="775" y="900"/>
                </a:lnTo>
                <a:lnTo>
                  <a:pt x="777" y="901"/>
                </a:lnTo>
                <a:lnTo>
                  <a:pt x="780" y="903"/>
                </a:lnTo>
                <a:lnTo>
                  <a:pt x="782" y="905"/>
                </a:lnTo>
                <a:lnTo>
                  <a:pt x="790" y="913"/>
                </a:lnTo>
                <a:lnTo>
                  <a:pt x="790" y="912"/>
                </a:lnTo>
                <a:lnTo>
                  <a:pt x="791" y="910"/>
                </a:lnTo>
                <a:lnTo>
                  <a:pt x="791" y="909"/>
                </a:lnTo>
                <a:lnTo>
                  <a:pt x="792" y="909"/>
                </a:lnTo>
                <a:lnTo>
                  <a:pt x="793" y="910"/>
                </a:lnTo>
                <a:lnTo>
                  <a:pt x="795" y="913"/>
                </a:lnTo>
                <a:lnTo>
                  <a:pt x="795" y="915"/>
                </a:lnTo>
                <a:lnTo>
                  <a:pt x="795" y="920"/>
                </a:lnTo>
                <a:lnTo>
                  <a:pt x="795" y="922"/>
                </a:lnTo>
                <a:lnTo>
                  <a:pt x="796" y="924"/>
                </a:lnTo>
                <a:lnTo>
                  <a:pt x="796" y="925"/>
                </a:lnTo>
                <a:lnTo>
                  <a:pt x="797" y="926"/>
                </a:lnTo>
                <a:lnTo>
                  <a:pt x="799" y="927"/>
                </a:lnTo>
                <a:lnTo>
                  <a:pt x="803" y="929"/>
                </a:lnTo>
                <a:lnTo>
                  <a:pt x="808" y="930"/>
                </a:lnTo>
                <a:lnTo>
                  <a:pt x="812" y="931"/>
                </a:lnTo>
                <a:lnTo>
                  <a:pt x="817" y="931"/>
                </a:lnTo>
                <a:lnTo>
                  <a:pt x="825" y="930"/>
                </a:lnTo>
                <a:lnTo>
                  <a:pt x="828" y="930"/>
                </a:lnTo>
                <a:lnTo>
                  <a:pt x="831" y="930"/>
                </a:lnTo>
                <a:lnTo>
                  <a:pt x="834" y="930"/>
                </a:lnTo>
                <a:lnTo>
                  <a:pt x="826" y="917"/>
                </a:lnTo>
                <a:lnTo>
                  <a:pt x="820" y="909"/>
                </a:lnTo>
                <a:lnTo>
                  <a:pt x="817" y="905"/>
                </a:lnTo>
                <a:lnTo>
                  <a:pt x="813" y="903"/>
                </a:lnTo>
                <a:lnTo>
                  <a:pt x="810" y="902"/>
                </a:lnTo>
                <a:lnTo>
                  <a:pt x="804" y="901"/>
                </a:lnTo>
                <a:lnTo>
                  <a:pt x="798" y="899"/>
                </a:lnTo>
                <a:lnTo>
                  <a:pt x="796" y="898"/>
                </a:lnTo>
                <a:lnTo>
                  <a:pt x="793" y="896"/>
                </a:lnTo>
                <a:lnTo>
                  <a:pt x="785" y="885"/>
                </a:lnTo>
                <a:lnTo>
                  <a:pt x="787" y="882"/>
                </a:lnTo>
                <a:lnTo>
                  <a:pt x="788" y="881"/>
                </a:lnTo>
                <a:lnTo>
                  <a:pt x="788" y="880"/>
                </a:lnTo>
                <a:lnTo>
                  <a:pt x="788" y="879"/>
                </a:lnTo>
                <a:lnTo>
                  <a:pt x="768" y="877"/>
                </a:lnTo>
                <a:lnTo>
                  <a:pt x="779" y="875"/>
                </a:lnTo>
                <a:lnTo>
                  <a:pt x="786" y="874"/>
                </a:lnTo>
                <a:lnTo>
                  <a:pt x="788" y="874"/>
                </a:lnTo>
                <a:lnTo>
                  <a:pt x="786" y="874"/>
                </a:lnTo>
                <a:lnTo>
                  <a:pt x="785" y="874"/>
                </a:lnTo>
                <a:lnTo>
                  <a:pt x="787" y="872"/>
                </a:lnTo>
                <a:lnTo>
                  <a:pt x="793" y="868"/>
                </a:lnTo>
                <a:lnTo>
                  <a:pt x="796" y="874"/>
                </a:lnTo>
                <a:lnTo>
                  <a:pt x="797" y="878"/>
                </a:lnTo>
                <a:lnTo>
                  <a:pt x="798" y="881"/>
                </a:lnTo>
                <a:lnTo>
                  <a:pt x="800" y="881"/>
                </a:lnTo>
                <a:lnTo>
                  <a:pt x="802" y="882"/>
                </a:lnTo>
                <a:lnTo>
                  <a:pt x="813" y="885"/>
                </a:lnTo>
                <a:lnTo>
                  <a:pt x="817" y="891"/>
                </a:lnTo>
                <a:lnTo>
                  <a:pt x="815" y="891"/>
                </a:lnTo>
                <a:lnTo>
                  <a:pt x="813" y="893"/>
                </a:lnTo>
                <a:lnTo>
                  <a:pt x="812" y="894"/>
                </a:lnTo>
                <a:lnTo>
                  <a:pt x="812" y="895"/>
                </a:lnTo>
                <a:lnTo>
                  <a:pt x="813" y="896"/>
                </a:lnTo>
                <a:lnTo>
                  <a:pt x="815" y="897"/>
                </a:lnTo>
                <a:lnTo>
                  <a:pt x="817" y="897"/>
                </a:lnTo>
                <a:lnTo>
                  <a:pt x="820" y="895"/>
                </a:lnTo>
                <a:lnTo>
                  <a:pt x="825" y="891"/>
                </a:lnTo>
                <a:lnTo>
                  <a:pt x="826" y="892"/>
                </a:lnTo>
                <a:lnTo>
                  <a:pt x="826" y="893"/>
                </a:lnTo>
                <a:lnTo>
                  <a:pt x="825" y="895"/>
                </a:lnTo>
                <a:lnTo>
                  <a:pt x="822" y="899"/>
                </a:lnTo>
                <a:lnTo>
                  <a:pt x="827" y="902"/>
                </a:lnTo>
                <a:lnTo>
                  <a:pt x="832" y="905"/>
                </a:lnTo>
                <a:lnTo>
                  <a:pt x="836" y="908"/>
                </a:lnTo>
                <a:lnTo>
                  <a:pt x="838" y="910"/>
                </a:lnTo>
                <a:lnTo>
                  <a:pt x="839" y="913"/>
                </a:lnTo>
                <a:lnTo>
                  <a:pt x="840" y="915"/>
                </a:lnTo>
                <a:lnTo>
                  <a:pt x="840" y="918"/>
                </a:lnTo>
                <a:lnTo>
                  <a:pt x="839" y="922"/>
                </a:lnTo>
                <a:lnTo>
                  <a:pt x="838" y="925"/>
                </a:lnTo>
                <a:lnTo>
                  <a:pt x="837" y="927"/>
                </a:lnTo>
                <a:lnTo>
                  <a:pt x="837" y="929"/>
                </a:lnTo>
                <a:lnTo>
                  <a:pt x="836" y="933"/>
                </a:lnTo>
                <a:lnTo>
                  <a:pt x="834" y="939"/>
                </a:lnTo>
                <a:lnTo>
                  <a:pt x="826" y="938"/>
                </a:lnTo>
                <a:lnTo>
                  <a:pt x="817" y="936"/>
                </a:lnTo>
                <a:lnTo>
                  <a:pt x="796" y="933"/>
                </a:lnTo>
                <a:lnTo>
                  <a:pt x="797" y="936"/>
                </a:lnTo>
                <a:lnTo>
                  <a:pt x="797" y="939"/>
                </a:lnTo>
                <a:lnTo>
                  <a:pt x="798" y="943"/>
                </a:lnTo>
                <a:lnTo>
                  <a:pt x="799" y="947"/>
                </a:lnTo>
                <a:lnTo>
                  <a:pt x="802" y="952"/>
                </a:lnTo>
                <a:lnTo>
                  <a:pt x="808" y="959"/>
                </a:lnTo>
                <a:lnTo>
                  <a:pt x="813" y="967"/>
                </a:lnTo>
                <a:lnTo>
                  <a:pt x="815" y="971"/>
                </a:lnTo>
                <a:lnTo>
                  <a:pt x="817" y="975"/>
                </a:lnTo>
                <a:lnTo>
                  <a:pt x="817" y="978"/>
                </a:lnTo>
                <a:lnTo>
                  <a:pt x="815" y="981"/>
                </a:lnTo>
                <a:lnTo>
                  <a:pt x="813" y="987"/>
                </a:lnTo>
                <a:lnTo>
                  <a:pt x="811" y="993"/>
                </a:lnTo>
                <a:lnTo>
                  <a:pt x="810" y="998"/>
                </a:lnTo>
                <a:lnTo>
                  <a:pt x="810" y="1001"/>
                </a:lnTo>
                <a:lnTo>
                  <a:pt x="811" y="1005"/>
                </a:lnTo>
                <a:lnTo>
                  <a:pt x="812" y="1014"/>
                </a:lnTo>
                <a:lnTo>
                  <a:pt x="813" y="1024"/>
                </a:lnTo>
                <a:lnTo>
                  <a:pt x="813" y="1034"/>
                </a:lnTo>
                <a:lnTo>
                  <a:pt x="812" y="1041"/>
                </a:lnTo>
                <a:lnTo>
                  <a:pt x="810" y="1049"/>
                </a:lnTo>
                <a:lnTo>
                  <a:pt x="807" y="1066"/>
                </a:lnTo>
                <a:lnTo>
                  <a:pt x="805" y="1074"/>
                </a:lnTo>
                <a:lnTo>
                  <a:pt x="805" y="1083"/>
                </a:lnTo>
                <a:lnTo>
                  <a:pt x="805" y="1091"/>
                </a:lnTo>
                <a:lnTo>
                  <a:pt x="806" y="1095"/>
                </a:lnTo>
                <a:lnTo>
                  <a:pt x="807" y="1099"/>
                </a:lnTo>
                <a:lnTo>
                  <a:pt x="809" y="1100"/>
                </a:lnTo>
                <a:lnTo>
                  <a:pt x="812" y="1102"/>
                </a:lnTo>
                <a:lnTo>
                  <a:pt x="814" y="1103"/>
                </a:lnTo>
                <a:lnTo>
                  <a:pt x="817" y="1104"/>
                </a:lnTo>
                <a:lnTo>
                  <a:pt x="815" y="1114"/>
                </a:lnTo>
                <a:lnTo>
                  <a:pt x="814" y="1120"/>
                </a:lnTo>
                <a:lnTo>
                  <a:pt x="815" y="1123"/>
                </a:lnTo>
                <a:lnTo>
                  <a:pt x="815" y="1124"/>
                </a:lnTo>
                <a:lnTo>
                  <a:pt x="817" y="1124"/>
                </a:lnTo>
                <a:lnTo>
                  <a:pt x="811" y="1138"/>
                </a:lnTo>
                <a:lnTo>
                  <a:pt x="807" y="1150"/>
                </a:lnTo>
                <a:lnTo>
                  <a:pt x="809" y="1151"/>
                </a:lnTo>
                <a:lnTo>
                  <a:pt x="811" y="1154"/>
                </a:lnTo>
                <a:lnTo>
                  <a:pt x="817" y="1158"/>
                </a:lnTo>
                <a:lnTo>
                  <a:pt x="819" y="1163"/>
                </a:lnTo>
                <a:lnTo>
                  <a:pt x="820" y="1166"/>
                </a:lnTo>
                <a:lnTo>
                  <a:pt x="820" y="1170"/>
                </a:lnTo>
                <a:lnTo>
                  <a:pt x="820" y="1172"/>
                </a:lnTo>
                <a:lnTo>
                  <a:pt x="820" y="1178"/>
                </a:lnTo>
                <a:lnTo>
                  <a:pt x="821" y="1182"/>
                </a:lnTo>
                <a:lnTo>
                  <a:pt x="822" y="1186"/>
                </a:lnTo>
                <a:lnTo>
                  <a:pt x="825" y="1190"/>
                </a:lnTo>
                <a:lnTo>
                  <a:pt x="829" y="1196"/>
                </a:lnTo>
                <a:lnTo>
                  <a:pt x="833" y="1203"/>
                </a:lnTo>
                <a:lnTo>
                  <a:pt x="836" y="1209"/>
                </a:lnTo>
                <a:lnTo>
                  <a:pt x="839" y="1207"/>
                </a:lnTo>
                <a:lnTo>
                  <a:pt x="840" y="1206"/>
                </a:lnTo>
                <a:lnTo>
                  <a:pt x="840" y="1203"/>
                </a:lnTo>
                <a:lnTo>
                  <a:pt x="840" y="1201"/>
                </a:lnTo>
                <a:lnTo>
                  <a:pt x="839" y="1200"/>
                </a:lnTo>
                <a:lnTo>
                  <a:pt x="841" y="1200"/>
                </a:lnTo>
                <a:lnTo>
                  <a:pt x="842" y="1201"/>
                </a:lnTo>
                <a:lnTo>
                  <a:pt x="844" y="1202"/>
                </a:lnTo>
                <a:lnTo>
                  <a:pt x="846" y="1203"/>
                </a:lnTo>
                <a:lnTo>
                  <a:pt x="848" y="1203"/>
                </a:lnTo>
                <a:lnTo>
                  <a:pt x="847" y="1204"/>
                </a:lnTo>
                <a:lnTo>
                  <a:pt x="846" y="1204"/>
                </a:lnTo>
                <a:lnTo>
                  <a:pt x="845" y="1207"/>
                </a:lnTo>
                <a:lnTo>
                  <a:pt x="845" y="1212"/>
                </a:lnTo>
                <a:lnTo>
                  <a:pt x="845" y="1215"/>
                </a:lnTo>
                <a:lnTo>
                  <a:pt x="845" y="1218"/>
                </a:lnTo>
                <a:lnTo>
                  <a:pt x="844" y="1220"/>
                </a:lnTo>
                <a:lnTo>
                  <a:pt x="842" y="1223"/>
                </a:lnTo>
                <a:lnTo>
                  <a:pt x="856" y="1228"/>
                </a:lnTo>
                <a:lnTo>
                  <a:pt x="852" y="1236"/>
                </a:lnTo>
                <a:lnTo>
                  <a:pt x="851" y="1238"/>
                </a:lnTo>
                <a:lnTo>
                  <a:pt x="850" y="1240"/>
                </a:lnTo>
                <a:lnTo>
                  <a:pt x="850" y="1242"/>
                </a:lnTo>
                <a:lnTo>
                  <a:pt x="851" y="1245"/>
                </a:lnTo>
                <a:lnTo>
                  <a:pt x="852" y="1248"/>
                </a:lnTo>
                <a:lnTo>
                  <a:pt x="854" y="1251"/>
                </a:lnTo>
                <a:lnTo>
                  <a:pt x="858" y="1255"/>
                </a:lnTo>
                <a:lnTo>
                  <a:pt x="862" y="1258"/>
                </a:lnTo>
                <a:lnTo>
                  <a:pt x="869" y="1264"/>
                </a:lnTo>
                <a:lnTo>
                  <a:pt x="873" y="1268"/>
                </a:lnTo>
                <a:lnTo>
                  <a:pt x="872" y="1269"/>
                </a:lnTo>
                <a:lnTo>
                  <a:pt x="870" y="1271"/>
                </a:lnTo>
                <a:lnTo>
                  <a:pt x="867" y="1273"/>
                </a:lnTo>
                <a:lnTo>
                  <a:pt x="873" y="1276"/>
                </a:lnTo>
                <a:lnTo>
                  <a:pt x="874" y="1279"/>
                </a:lnTo>
                <a:lnTo>
                  <a:pt x="875" y="1281"/>
                </a:lnTo>
                <a:lnTo>
                  <a:pt x="876" y="1286"/>
                </a:lnTo>
                <a:lnTo>
                  <a:pt x="875" y="1292"/>
                </a:lnTo>
                <a:lnTo>
                  <a:pt x="876" y="1295"/>
                </a:lnTo>
                <a:lnTo>
                  <a:pt x="876" y="1299"/>
                </a:lnTo>
                <a:lnTo>
                  <a:pt x="878" y="1299"/>
                </a:lnTo>
                <a:lnTo>
                  <a:pt x="879" y="1299"/>
                </a:lnTo>
                <a:lnTo>
                  <a:pt x="879" y="1298"/>
                </a:lnTo>
                <a:lnTo>
                  <a:pt x="879" y="1296"/>
                </a:lnTo>
                <a:lnTo>
                  <a:pt x="881" y="1296"/>
                </a:lnTo>
                <a:lnTo>
                  <a:pt x="885" y="1297"/>
                </a:lnTo>
                <a:lnTo>
                  <a:pt x="892" y="1299"/>
                </a:lnTo>
                <a:lnTo>
                  <a:pt x="898" y="1302"/>
                </a:lnTo>
                <a:lnTo>
                  <a:pt x="904" y="1304"/>
                </a:lnTo>
                <a:lnTo>
                  <a:pt x="904" y="1313"/>
                </a:lnTo>
                <a:lnTo>
                  <a:pt x="906" y="1313"/>
                </a:lnTo>
                <a:lnTo>
                  <a:pt x="907" y="1313"/>
                </a:lnTo>
                <a:lnTo>
                  <a:pt x="909" y="1311"/>
                </a:lnTo>
                <a:lnTo>
                  <a:pt x="911" y="1310"/>
                </a:lnTo>
                <a:lnTo>
                  <a:pt x="911" y="1309"/>
                </a:lnTo>
                <a:lnTo>
                  <a:pt x="912" y="1310"/>
                </a:lnTo>
                <a:lnTo>
                  <a:pt x="915" y="1313"/>
                </a:lnTo>
                <a:lnTo>
                  <a:pt x="917" y="1317"/>
                </a:lnTo>
                <a:lnTo>
                  <a:pt x="919" y="1321"/>
                </a:lnTo>
                <a:lnTo>
                  <a:pt x="921" y="1324"/>
                </a:lnTo>
                <a:lnTo>
                  <a:pt x="929" y="1327"/>
                </a:lnTo>
                <a:lnTo>
                  <a:pt x="930" y="1330"/>
                </a:lnTo>
                <a:lnTo>
                  <a:pt x="931" y="1332"/>
                </a:lnTo>
                <a:lnTo>
                  <a:pt x="931" y="1338"/>
                </a:lnTo>
                <a:lnTo>
                  <a:pt x="931" y="1344"/>
                </a:lnTo>
                <a:lnTo>
                  <a:pt x="931" y="1346"/>
                </a:lnTo>
                <a:lnTo>
                  <a:pt x="932" y="1349"/>
                </a:lnTo>
                <a:lnTo>
                  <a:pt x="933" y="1352"/>
                </a:lnTo>
                <a:lnTo>
                  <a:pt x="934" y="1355"/>
                </a:lnTo>
                <a:lnTo>
                  <a:pt x="935" y="1358"/>
                </a:lnTo>
                <a:lnTo>
                  <a:pt x="941" y="1358"/>
                </a:lnTo>
                <a:lnTo>
                  <a:pt x="942" y="1361"/>
                </a:lnTo>
                <a:lnTo>
                  <a:pt x="943" y="1364"/>
                </a:lnTo>
                <a:lnTo>
                  <a:pt x="943" y="1370"/>
                </a:lnTo>
                <a:lnTo>
                  <a:pt x="944" y="1376"/>
                </a:lnTo>
                <a:lnTo>
                  <a:pt x="945" y="1379"/>
                </a:lnTo>
                <a:lnTo>
                  <a:pt x="946" y="1383"/>
                </a:lnTo>
                <a:lnTo>
                  <a:pt x="948" y="1386"/>
                </a:lnTo>
                <a:lnTo>
                  <a:pt x="950" y="1389"/>
                </a:lnTo>
                <a:lnTo>
                  <a:pt x="956" y="1395"/>
                </a:lnTo>
                <a:lnTo>
                  <a:pt x="969" y="1406"/>
                </a:lnTo>
                <a:lnTo>
                  <a:pt x="970" y="1406"/>
                </a:lnTo>
                <a:lnTo>
                  <a:pt x="973" y="1407"/>
                </a:lnTo>
                <a:lnTo>
                  <a:pt x="975" y="1407"/>
                </a:lnTo>
                <a:lnTo>
                  <a:pt x="977" y="1408"/>
                </a:lnTo>
                <a:lnTo>
                  <a:pt x="980" y="1412"/>
                </a:lnTo>
                <a:lnTo>
                  <a:pt x="982" y="1416"/>
                </a:lnTo>
                <a:lnTo>
                  <a:pt x="983" y="1422"/>
                </a:lnTo>
                <a:lnTo>
                  <a:pt x="984" y="1428"/>
                </a:lnTo>
                <a:lnTo>
                  <a:pt x="985" y="1441"/>
                </a:lnTo>
                <a:lnTo>
                  <a:pt x="986" y="1453"/>
                </a:lnTo>
                <a:lnTo>
                  <a:pt x="976" y="1456"/>
                </a:lnTo>
                <a:lnTo>
                  <a:pt x="969" y="1459"/>
                </a:lnTo>
                <a:lnTo>
                  <a:pt x="980" y="1466"/>
                </a:lnTo>
                <a:lnTo>
                  <a:pt x="991" y="1473"/>
                </a:lnTo>
                <a:lnTo>
                  <a:pt x="991" y="1479"/>
                </a:lnTo>
                <a:lnTo>
                  <a:pt x="993" y="1480"/>
                </a:lnTo>
                <a:lnTo>
                  <a:pt x="996" y="1481"/>
                </a:lnTo>
                <a:lnTo>
                  <a:pt x="1000" y="1481"/>
                </a:lnTo>
                <a:lnTo>
                  <a:pt x="1004" y="1482"/>
                </a:lnTo>
                <a:lnTo>
                  <a:pt x="1006" y="1483"/>
                </a:lnTo>
                <a:lnTo>
                  <a:pt x="1008" y="1484"/>
                </a:lnTo>
                <a:lnTo>
                  <a:pt x="1009" y="1487"/>
                </a:lnTo>
                <a:lnTo>
                  <a:pt x="1011" y="1490"/>
                </a:lnTo>
                <a:lnTo>
                  <a:pt x="1013" y="1494"/>
                </a:lnTo>
                <a:lnTo>
                  <a:pt x="1013" y="1495"/>
                </a:lnTo>
                <a:lnTo>
                  <a:pt x="1014" y="1496"/>
                </a:lnTo>
                <a:lnTo>
                  <a:pt x="1019" y="1496"/>
                </a:lnTo>
                <a:lnTo>
                  <a:pt x="1021" y="1499"/>
                </a:lnTo>
                <a:lnTo>
                  <a:pt x="1021" y="1503"/>
                </a:lnTo>
                <a:lnTo>
                  <a:pt x="1021" y="1508"/>
                </a:lnTo>
                <a:lnTo>
                  <a:pt x="1021" y="1512"/>
                </a:lnTo>
                <a:lnTo>
                  <a:pt x="1020" y="1521"/>
                </a:lnTo>
                <a:lnTo>
                  <a:pt x="1021" y="1525"/>
                </a:lnTo>
                <a:lnTo>
                  <a:pt x="1022" y="1529"/>
                </a:lnTo>
                <a:lnTo>
                  <a:pt x="1024" y="1531"/>
                </a:lnTo>
                <a:lnTo>
                  <a:pt x="1027" y="1532"/>
                </a:lnTo>
                <a:lnTo>
                  <a:pt x="1031" y="1534"/>
                </a:lnTo>
                <a:lnTo>
                  <a:pt x="1033" y="1535"/>
                </a:lnTo>
                <a:lnTo>
                  <a:pt x="1033" y="1541"/>
                </a:lnTo>
                <a:lnTo>
                  <a:pt x="1035" y="1543"/>
                </a:lnTo>
                <a:lnTo>
                  <a:pt x="1038" y="1546"/>
                </a:lnTo>
                <a:lnTo>
                  <a:pt x="1046" y="1555"/>
                </a:lnTo>
                <a:lnTo>
                  <a:pt x="1051" y="1560"/>
                </a:lnTo>
                <a:lnTo>
                  <a:pt x="1055" y="1566"/>
                </a:lnTo>
                <a:lnTo>
                  <a:pt x="1059" y="1570"/>
                </a:lnTo>
                <a:lnTo>
                  <a:pt x="1061" y="1574"/>
                </a:lnTo>
                <a:lnTo>
                  <a:pt x="1062" y="1571"/>
                </a:lnTo>
                <a:lnTo>
                  <a:pt x="1063" y="1570"/>
                </a:lnTo>
                <a:lnTo>
                  <a:pt x="1064" y="1570"/>
                </a:lnTo>
                <a:lnTo>
                  <a:pt x="1067" y="1569"/>
                </a:lnTo>
                <a:lnTo>
                  <a:pt x="1067" y="1566"/>
                </a:lnTo>
                <a:lnTo>
                  <a:pt x="1067" y="1563"/>
                </a:lnTo>
                <a:lnTo>
                  <a:pt x="1067" y="1560"/>
                </a:lnTo>
                <a:lnTo>
                  <a:pt x="1067" y="1557"/>
                </a:lnTo>
                <a:lnTo>
                  <a:pt x="1066" y="1556"/>
                </a:lnTo>
                <a:lnTo>
                  <a:pt x="1065" y="1555"/>
                </a:lnTo>
                <a:lnTo>
                  <a:pt x="1062" y="1553"/>
                </a:lnTo>
                <a:lnTo>
                  <a:pt x="1058" y="1551"/>
                </a:lnTo>
                <a:lnTo>
                  <a:pt x="1056" y="1549"/>
                </a:lnTo>
                <a:lnTo>
                  <a:pt x="1055" y="1547"/>
                </a:lnTo>
                <a:lnTo>
                  <a:pt x="1055" y="1544"/>
                </a:lnTo>
                <a:lnTo>
                  <a:pt x="1054" y="1542"/>
                </a:lnTo>
                <a:lnTo>
                  <a:pt x="1054" y="1541"/>
                </a:lnTo>
                <a:lnTo>
                  <a:pt x="1053" y="1541"/>
                </a:lnTo>
                <a:lnTo>
                  <a:pt x="1052" y="1540"/>
                </a:lnTo>
                <a:lnTo>
                  <a:pt x="1051" y="1540"/>
                </a:lnTo>
                <a:lnTo>
                  <a:pt x="1048" y="1539"/>
                </a:lnTo>
                <a:lnTo>
                  <a:pt x="1046" y="1539"/>
                </a:lnTo>
                <a:lnTo>
                  <a:pt x="1045" y="1539"/>
                </a:lnTo>
                <a:lnTo>
                  <a:pt x="1045" y="1538"/>
                </a:lnTo>
                <a:lnTo>
                  <a:pt x="1045" y="1537"/>
                </a:lnTo>
                <a:lnTo>
                  <a:pt x="1045" y="1536"/>
                </a:lnTo>
                <a:lnTo>
                  <a:pt x="1046" y="1533"/>
                </a:lnTo>
                <a:lnTo>
                  <a:pt x="1047" y="1530"/>
                </a:lnTo>
                <a:lnTo>
                  <a:pt x="1047" y="1527"/>
                </a:lnTo>
                <a:lnTo>
                  <a:pt x="1042" y="1527"/>
                </a:lnTo>
                <a:lnTo>
                  <a:pt x="1039" y="1514"/>
                </a:lnTo>
                <a:lnTo>
                  <a:pt x="1037" y="1503"/>
                </a:lnTo>
                <a:lnTo>
                  <a:pt x="1035" y="1493"/>
                </a:lnTo>
                <a:lnTo>
                  <a:pt x="1031" y="1481"/>
                </a:lnTo>
                <a:lnTo>
                  <a:pt x="1026" y="1480"/>
                </a:lnTo>
                <a:lnTo>
                  <a:pt x="1024" y="1480"/>
                </a:lnTo>
                <a:lnTo>
                  <a:pt x="1023" y="1479"/>
                </a:lnTo>
                <a:lnTo>
                  <a:pt x="1022" y="1479"/>
                </a:lnTo>
                <a:lnTo>
                  <a:pt x="1022" y="1477"/>
                </a:lnTo>
                <a:lnTo>
                  <a:pt x="1022" y="1475"/>
                </a:lnTo>
                <a:lnTo>
                  <a:pt x="1022" y="1472"/>
                </a:lnTo>
                <a:lnTo>
                  <a:pt x="1023" y="1468"/>
                </a:lnTo>
                <a:lnTo>
                  <a:pt x="1023" y="1466"/>
                </a:lnTo>
                <a:lnTo>
                  <a:pt x="1022" y="1465"/>
                </a:lnTo>
                <a:lnTo>
                  <a:pt x="1016" y="1465"/>
                </a:lnTo>
                <a:lnTo>
                  <a:pt x="1013" y="1457"/>
                </a:lnTo>
                <a:lnTo>
                  <a:pt x="1010" y="1449"/>
                </a:lnTo>
                <a:lnTo>
                  <a:pt x="1007" y="1440"/>
                </a:lnTo>
                <a:lnTo>
                  <a:pt x="1005" y="1431"/>
                </a:lnTo>
                <a:lnTo>
                  <a:pt x="997" y="1431"/>
                </a:lnTo>
                <a:lnTo>
                  <a:pt x="996" y="1428"/>
                </a:lnTo>
                <a:lnTo>
                  <a:pt x="995" y="1425"/>
                </a:lnTo>
                <a:lnTo>
                  <a:pt x="995" y="1419"/>
                </a:lnTo>
                <a:lnTo>
                  <a:pt x="995" y="1413"/>
                </a:lnTo>
                <a:lnTo>
                  <a:pt x="995" y="1411"/>
                </a:lnTo>
                <a:lnTo>
                  <a:pt x="994" y="1408"/>
                </a:lnTo>
                <a:lnTo>
                  <a:pt x="990" y="1408"/>
                </a:lnTo>
                <a:lnTo>
                  <a:pt x="986" y="1408"/>
                </a:lnTo>
                <a:lnTo>
                  <a:pt x="983" y="1402"/>
                </a:lnTo>
                <a:lnTo>
                  <a:pt x="981" y="1396"/>
                </a:lnTo>
                <a:lnTo>
                  <a:pt x="980" y="1390"/>
                </a:lnTo>
                <a:lnTo>
                  <a:pt x="977" y="1383"/>
                </a:lnTo>
                <a:lnTo>
                  <a:pt x="976" y="1381"/>
                </a:lnTo>
                <a:lnTo>
                  <a:pt x="973" y="1379"/>
                </a:lnTo>
                <a:lnTo>
                  <a:pt x="970" y="1377"/>
                </a:lnTo>
                <a:lnTo>
                  <a:pt x="969" y="1375"/>
                </a:lnTo>
                <a:lnTo>
                  <a:pt x="970" y="1373"/>
                </a:lnTo>
                <a:lnTo>
                  <a:pt x="970" y="1372"/>
                </a:lnTo>
                <a:lnTo>
                  <a:pt x="971" y="1368"/>
                </a:lnTo>
                <a:lnTo>
                  <a:pt x="971" y="1364"/>
                </a:lnTo>
                <a:lnTo>
                  <a:pt x="971" y="1361"/>
                </a:lnTo>
                <a:lnTo>
                  <a:pt x="975" y="1363"/>
                </a:lnTo>
                <a:lnTo>
                  <a:pt x="979" y="1365"/>
                </a:lnTo>
                <a:lnTo>
                  <a:pt x="986" y="1369"/>
                </a:lnTo>
                <a:lnTo>
                  <a:pt x="989" y="1366"/>
                </a:lnTo>
                <a:lnTo>
                  <a:pt x="991" y="1365"/>
                </a:lnTo>
                <a:lnTo>
                  <a:pt x="992" y="1364"/>
                </a:lnTo>
                <a:lnTo>
                  <a:pt x="991" y="1363"/>
                </a:lnTo>
                <a:lnTo>
                  <a:pt x="995" y="1364"/>
                </a:lnTo>
                <a:lnTo>
                  <a:pt x="1000" y="1363"/>
                </a:lnTo>
                <a:lnTo>
                  <a:pt x="1000" y="1368"/>
                </a:lnTo>
                <a:lnTo>
                  <a:pt x="1000" y="1372"/>
                </a:lnTo>
                <a:lnTo>
                  <a:pt x="1005" y="1372"/>
                </a:lnTo>
                <a:lnTo>
                  <a:pt x="1006" y="1374"/>
                </a:lnTo>
                <a:lnTo>
                  <a:pt x="1005" y="1376"/>
                </a:lnTo>
                <a:lnTo>
                  <a:pt x="1004" y="1380"/>
                </a:lnTo>
                <a:lnTo>
                  <a:pt x="1003" y="1384"/>
                </a:lnTo>
                <a:lnTo>
                  <a:pt x="1002" y="1385"/>
                </a:lnTo>
                <a:lnTo>
                  <a:pt x="1002" y="1386"/>
                </a:lnTo>
                <a:lnTo>
                  <a:pt x="1004" y="1388"/>
                </a:lnTo>
                <a:lnTo>
                  <a:pt x="1008" y="1391"/>
                </a:lnTo>
                <a:lnTo>
                  <a:pt x="1012" y="1395"/>
                </a:lnTo>
                <a:lnTo>
                  <a:pt x="1014" y="1397"/>
                </a:lnTo>
                <a:lnTo>
                  <a:pt x="1014" y="1399"/>
                </a:lnTo>
                <a:lnTo>
                  <a:pt x="1015" y="1402"/>
                </a:lnTo>
                <a:lnTo>
                  <a:pt x="1015" y="1406"/>
                </a:lnTo>
                <a:lnTo>
                  <a:pt x="1015" y="1410"/>
                </a:lnTo>
                <a:lnTo>
                  <a:pt x="1016" y="1414"/>
                </a:lnTo>
                <a:lnTo>
                  <a:pt x="1019" y="1416"/>
                </a:lnTo>
                <a:lnTo>
                  <a:pt x="1024" y="1420"/>
                </a:lnTo>
                <a:lnTo>
                  <a:pt x="1031" y="1425"/>
                </a:lnTo>
                <a:lnTo>
                  <a:pt x="1031" y="1426"/>
                </a:lnTo>
                <a:lnTo>
                  <a:pt x="1031" y="1428"/>
                </a:lnTo>
                <a:lnTo>
                  <a:pt x="1031" y="1431"/>
                </a:lnTo>
                <a:lnTo>
                  <a:pt x="1030" y="1434"/>
                </a:lnTo>
                <a:lnTo>
                  <a:pt x="1031" y="1436"/>
                </a:lnTo>
                <a:lnTo>
                  <a:pt x="1033" y="1436"/>
                </a:lnTo>
                <a:lnTo>
                  <a:pt x="1036" y="1438"/>
                </a:lnTo>
                <a:lnTo>
                  <a:pt x="1038" y="1440"/>
                </a:lnTo>
                <a:lnTo>
                  <a:pt x="1042" y="1445"/>
                </a:lnTo>
                <a:lnTo>
                  <a:pt x="1047" y="1456"/>
                </a:lnTo>
                <a:lnTo>
                  <a:pt x="1052" y="1456"/>
                </a:lnTo>
                <a:lnTo>
                  <a:pt x="1056" y="1456"/>
                </a:lnTo>
                <a:lnTo>
                  <a:pt x="1056" y="1457"/>
                </a:lnTo>
                <a:lnTo>
                  <a:pt x="1056" y="1458"/>
                </a:lnTo>
                <a:lnTo>
                  <a:pt x="1056" y="1462"/>
                </a:lnTo>
                <a:lnTo>
                  <a:pt x="1056" y="1465"/>
                </a:lnTo>
                <a:lnTo>
                  <a:pt x="1056" y="1467"/>
                </a:lnTo>
                <a:lnTo>
                  <a:pt x="1057" y="1468"/>
                </a:lnTo>
                <a:lnTo>
                  <a:pt x="1057" y="1469"/>
                </a:lnTo>
                <a:lnTo>
                  <a:pt x="1060" y="1469"/>
                </a:lnTo>
                <a:lnTo>
                  <a:pt x="1062" y="1469"/>
                </a:lnTo>
                <a:lnTo>
                  <a:pt x="1063" y="1470"/>
                </a:lnTo>
                <a:lnTo>
                  <a:pt x="1064" y="1470"/>
                </a:lnTo>
                <a:lnTo>
                  <a:pt x="1065" y="1471"/>
                </a:lnTo>
                <a:lnTo>
                  <a:pt x="1065" y="1472"/>
                </a:lnTo>
                <a:lnTo>
                  <a:pt x="1066" y="1476"/>
                </a:lnTo>
                <a:lnTo>
                  <a:pt x="1066" y="1479"/>
                </a:lnTo>
                <a:lnTo>
                  <a:pt x="1067" y="1481"/>
                </a:lnTo>
                <a:lnTo>
                  <a:pt x="1074" y="1484"/>
                </a:lnTo>
                <a:lnTo>
                  <a:pt x="1081" y="1487"/>
                </a:lnTo>
                <a:lnTo>
                  <a:pt x="1079" y="1489"/>
                </a:lnTo>
                <a:lnTo>
                  <a:pt x="1078" y="1492"/>
                </a:lnTo>
                <a:lnTo>
                  <a:pt x="1076" y="1494"/>
                </a:lnTo>
                <a:lnTo>
                  <a:pt x="1073" y="1496"/>
                </a:lnTo>
                <a:lnTo>
                  <a:pt x="1073" y="1500"/>
                </a:lnTo>
                <a:lnTo>
                  <a:pt x="1073" y="1504"/>
                </a:lnTo>
                <a:lnTo>
                  <a:pt x="1080" y="1509"/>
                </a:lnTo>
                <a:lnTo>
                  <a:pt x="1088" y="1514"/>
                </a:lnTo>
                <a:lnTo>
                  <a:pt x="1095" y="1520"/>
                </a:lnTo>
                <a:lnTo>
                  <a:pt x="1098" y="1523"/>
                </a:lnTo>
                <a:lnTo>
                  <a:pt x="1101" y="1527"/>
                </a:lnTo>
                <a:lnTo>
                  <a:pt x="1102" y="1528"/>
                </a:lnTo>
                <a:lnTo>
                  <a:pt x="1102" y="1530"/>
                </a:lnTo>
                <a:lnTo>
                  <a:pt x="1103" y="1534"/>
                </a:lnTo>
                <a:lnTo>
                  <a:pt x="1104" y="1538"/>
                </a:lnTo>
                <a:lnTo>
                  <a:pt x="1105" y="1539"/>
                </a:lnTo>
                <a:lnTo>
                  <a:pt x="1106" y="1541"/>
                </a:lnTo>
                <a:lnTo>
                  <a:pt x="1109" y="1541"/>
                </a:lnTo>
                <a:lnTo>
                  <a:pt x="1111" y="1541"/>
                </a:lnTo>
                <a:lnTo>
                  <a:pt x="1113" y="1542"/>
                </a:lnTo>
                <a:lnTo>
                  <a:pt x="1114" y="1542"/>
                </a:lnTo>
                <a:lnTo>
                  <a:pt x="1115" y="1543"/>
                </a:lnTo>
                <a:lnTo>
                  <a:pt x="1115" y="1546"/>
                </a:lnTo>
                <a:lnTo>
                  <a:pt x="1115" y="1548"/>
                </a:lnTo>
                <a:lnTo>
                  <a:pt x="1114" y="1550"/>
                </a:lnTo>
                <a:lnTo>
                  <a:pt x="1115" y="1552"/>
                </a:lnTo>
                <a:lnTo>
                  <a:pt x="1121" y="1552"/>
                </a:lnTo>
                <a:lnTo>
                  <a:pt x="1125" y="1559"/>
                </a:lnTo>
                <a:lnTo>
                  <a:pt x="1129" y="1566"/>
                </a:lnTo>
                <a:lnTo>
                  <a:pt x="1129" y="1568"/>
                </a:lnTo>
                <a:lnTo>
                  <a:pt x="1129" y="1570"/>
                </a:lnTo>
                <a:lnTo>
                  <a:pt x="1128" y="1572"/>
                </a:lnTo>
                <a:lnTo>
                  <a:pt x="1129" y="1574"/>
                </a:lnTo>
                <a:lnTo>
                  <a:pt x="1133" y="1580"/>
                </a:lnTo>
                <a:lnTo>
                  <a:pt x="1138" y="1585"/>
                </a:lnTo>
                <a:lnTo>
                  <a:pt x="1143" y="1591"/>
                </a:lnTo>
                <a:lnTo>
                  <a:pt x="1144" y="1594"/>
                </a:lnTo>
                <a:lnTo>
                  <a:pt x="1146" y="1597"/>
                </a:lnTo>
                <a:lnTo>
                  <a:pt x="1147" y="1602"/>
                </a:lnTo>
                <a:lnTo>
                  <a:pt x="1148" y="1607"/>
                </a:lnTo>
                <a:lnTo>
                  <a:pt x="1148" y="1611"/>
                </a:lnTo>
                <a:lnTo>
                  <a:pt x="1148" y="1615"/>
                </a:lnTo>
                <a:lnTo>
                  <a:pt x="1146" y="1623"/>
                </a:lnTo>
                <a:lnTo>
                  <a:pt x="1143" y="1630"/>
                </a:lnTo>
                <a:lnTo>
                  <a:pt x="1141" y="1637"/>
                </a:lnTo>
                <a:lnTo>
                  <a:pt x="1141" y="1640"/>
                </a:lnTo>
                <a:lnTo>
                  <a:pt x="1140" y="1644"/>
                </a:lnTo>
                <a:lnTo>
                  <a:pt x="1141" y="1647"/>
                </a:lnTo>
                <a:lnTo>
                  <a:pt x="1142" y="1651"/>
                </a:lnTo>
                <a:lnTo>
                  <a:pt x="1143" y="1655"/>
                </a:lnTo>
                <a:lnTo>
                  <a:pt x="1146" y="1659"/>
                </a:lnTo>
                <a:lnTo>
                  <a:pt x="1148" y="1661"/>
                </a:lnTo>
                <a:lnTo>
                  <a:pt x="1150" y="1662"/>
                </a:lnTo>
                <a:lnTo>
                  <a:pt x="1152" y="1663"/>
                </a:lnTo>
                <a:lnTo>
                  <a:pt x="1155" y="1663"/>
                </a:lnTo>
                <a:lnTo>
                  <a:pt x="1160" y="1665"/>
                </a:lnTo>
                <a:lnTo>
                  <a:pt x="1163" y="1666"/>
                </a:lnTo>
                <a:lnTo>
                  <a:pt x="1166" y="1667"/>
                </a:lnTo>
                <a:lnTo>
                  <a:pt x="1174" y="1680"/>
                </a:lnTo>
                <a:lnTo>
                  <a:pt x="1182" y="1692"/>
                </a:lnTo>
                <a:lnTo>
                  <a:pt x="1185" y="1694"/>
                </a:lnTo>
                <a:lnTo>
                  <a:pt x="1189" y="1695"/>
                </a:lnTo>
                <a:lnTo>
                  <a:pt x="1195" y="1696"/>
                </a:lnTo>
                <a:lnTo>
                  <a:pt x="1202" y="1696"/>
                </a:lnTo>
                <a:lnTo>
                  <a:pt x="1205" y="1697"/>
                </a:lnTo>
                <a:lnTo>
                  <a:pt x="1208" y="1698"/>
                </a:lnTo>
                <a:lnTo>
                  <a:pt x="1210" y="1700"/>
                </a:lnTo>
                <a:lnTo>
                  <a:pt x="1213" y="1702"/>
                </a:lnTo>
                <a:lnTo>
                  <a:pt x="1219" y="1708"/>
                </a:lnTo>
                <a:lnTo>
                  <a:pt x="1225" y="1714"/>
                </a:lnTo>
                <a:lnTo>
                  <a:pt x="1227" y="1716"/>
                </a:lnTo>
                <a:lnTo>
                  <a:pt x="1230" y="1718"/>
                </a:lnTo>
                <a:lnTo>
                  <a:pt x="1234" y="1719"/>
                </a:lnTo>
                <a:lnTo>
                  <a:pt x="1237" y="1720"/>
                </a:lnTo>
                <a:lnTo>
                  <a:pt x="1244" y="1721"/>
                </a:lnTo>
                <a:lnTo>
                  <a:pt x="1251" y="1721"/>
                </a:lnTo>
                <a:lnTo>
                  <a:pt x="1255" y="1722"/>
                </a:lnTo>
                <a:lnTo>
                  <a:pt x="1258" y="1723"/>
                </a:lnTo>
                <a:lnTo>
                  <a:pt x="1261" y="1726"/>
                </a:lnTo>
                <a:lnTo>
                  <a:pt x="1264" y="1729"/>
                </a:lnTo>
                <a:lnTo>
                  <a:pt x="1267" y="1733"/>
                </a:lnTo>
                <a:lnTo>
                  <a:pt x="1270" y="1735"/>
                </a:lnTo>
                <a:lnTo>
                  <a:pt x="1283" y="1738"/>
                </a:lnTo>
                <a:lnTo>
                  <a:pt x="1295" y="1740"/>
                </a:lnTo>
                <a:lnTo>
                  <a:pt x="1299" y="1740"/>
                </a:lnTo>
                <a:lnTo>
                  <a:pt x="1302" y="1740"/>
                </a:lnTo>
                <a:lnTo>
                  <a:pt x="1307" y="1738"/>
                </a:lnTo>
                <a:lnTo>
                  <a:pt x="1311" y="1736"/>
                </a:lnTo>
                <a:lnTo>
                  <a:pt x="1315" y="1735"/>
                </a:lnTo>
                <a:lnTo>
                  <a:pt x="1321" y="1734"/>
                </a:lnTo>
                <a:lnTo>
                  <a:pt x="1326" y="1733"/>
                </a:lnTo>
                <a:lnTo>
                  <a:pt x="1332" y="1733"/>
                </a:lnTo>
                <a:lnTo>
                  <a:pt x="1337" y="1733"/>
                </a:lnTo>
                <a:lnTo>
                  <a:pt x="1346" y="1735"/>
                </a:lnTo>
                <a:lnTo>
                  <a:pt x="1357" y="1738"/>
                </a:lnTo>
                <a:lnTo>
                  <a:pt x="1357" y="1735"/>
                </a:lnTo>
                <a:lnTo>
                  <a:pt x="1357" y="1733"/>
                </a:lnTo>
                <a:lnTo>
                  <a:pt x="1357" y="1732"/>
                </a:lnTo>
                <a:lnTo>
                  <a:pt x="1360" y="1732"/>
                </a:lnTo>
                <a:lnTo>
                  <a:pt x="1362" y="1733"/>
                </a:lnTo>
                <a:lnTo>
                  <a:pt x="1364" y="1735"/>
                </a:lnTo>
                <a:lnTo>
                  <a:pt x="1368" y="1739"/>
                </a:lnTo>
                <a:lnTo>
                  <a:pt x="1371" y="1744"/>
                </a:lnTo>
                <a:lnTo>
                  <a:pt x="1374" y="1749"/>
                </a:lnTo>
                <a:lnTo>
                  <a:pt x="1389" y="1766"/>
                </a:lnTo>
                <a:lnTo>
                  <a:pt x="1394" y="1770"/>
                </a:lnTo>
                <a:lnTo>
                  <a:pt x="1399" y="1775"/>
                </a:lnTo>
                <a:lnTo>
                  <a:pt x="1403" y="1778"/>
                </a:lnTo>
                <a:lnTo>
                  <a:pt x="1407" y="1780"/>
                </a:lnTo>
                <a:lnTo>
                  <a:pt x="1410" y="1780"/>
                </a:lnTo>
                <a:lnTo>
                  <a:pt x="1412" y="1779"/>
                </a:lnTo>
                <a:lnTo>
                  <a:pt x="1415" y="1778"/>
                </a:lnTo>
                <a:lnTo>
                  <a:pt x="1416" y="1779"/>
                </a:lnTo>
                <a:lnTo>
                  <a:pt x="1419" y="1780"/>
                </a:lnTo>
                <a:lnTo>
                  <a:pt x="1427" y="1791"/>
                </a:lnTo>
                <a:lnTo>
                  <a:pt x="1432" y="1792"/>
                </a:lnTo>
                <a:lnTo>
                  <a:pt x="1438" y="1791"/>
                </a:lnTo>
                <a:lnTo>
                  <a:pt x="1444" y="1791"/>
                </a:lnTo>
                <a:lnTo>
                  <a:pt x="1450" y="1791"/>
                </a:lnTo>
                <a:lnTo>
                  <a:pt x="1452" y="1792"/>
                </a:lnTo>
                <a:lnTo>
                  <a:pt x="1456" y="1794"/>
                </a:lnTo>
                <a:lnTo>
                  <a:pt x="1458" y="1795"/>
                </a:lnTo>
                <a:lnTo>
                  <a:pt x="1460" y="1796"/>
                </a:lnTo>
                <a:lnTo>
                  <a:pt x="1462" y="1797"/>
                </a:lnTo>
                <a:lnTo>
                  <a:pt x="1464" y="1797"/>
                </a:lnTo>
                <a:lnTo>
                  <a:pt x="1465" y="1796"/>
                </a:lnTo>
                <a:lnTo>
                  <a:pt x="1465" y="1795"/>
                </a:lnTo>
                <a:lnTo>
                  <a:pt x="1466" y="1794"/>
                </a:lnTo>
                <a:lnTo>
                  <a:pt x="1467" y="1793"/>
                </a:lnTo>
                <a:lnTo>
                  <a:pt x="1469" y="1793"/>
                </a:lnTo>
                <a:lnTo>
                  <a:pt x="1473" y="1790"/>
                </a:lnTo>
                <a:lnTo>
                  <a:pt x="1473" y="1797"/>
                </a:lnTo>
                <a:lnTo>
                  <a:pt x="1474" y="1799"/>
                </a:lnTo>
                <a:lnTo>
                  <a:pt x="1474" y="1800"/>
                </a:lnTo>
                <a:lnTo>
                  <a:pt x="1473" y="1801"/>
                </a:lnTo>
                <a:lnTo>
                  <a:pt x="1472" y="1802"/>
                </a:lnTo>
                <a:lnTo>
                  <a:pt x="1472" y="1803"/>
                </a:lnTo>
                <a:lnTo>
                  <a:pt x="1472" y="1805"/>
                </a:lnTo>
                <a:lnTo>
                  <a:pt x="1474" y="1807"/>
                </a:lnTo>
                <a:lnTo>
                  <a:pt x="1478" y="1809"/>
                </a:lnTo>
                <a:lnTo>
                  <a:pt x="1481" y="1812"/>
                </a:lnTo>
                <a:lnTo>
                  <a:pt x="1483" y="1813"/>
                </a:lnTo>
                <a:lnTo>
                  <a:pt x="1485" y="1816"/>
                </a:lnTo>
                <a:lnTo>
                  <a:pt x="1485" y="1818"/>
                </a:lnTo>
                <a:lnTo>
                  <a:pt x="1486" y="1822"/>
                </a:lnTo>
                <a:lnTo>
                  <a:pt x="1487" y="1826"/>
                </a:lnTo>
                <a:lnTo>
                  <a:pt x="1489" y="1830"/>
                </a:lnTo>
                <a:lnTo>
                  <a:pt x="1491" y="1832"/>
                </a:lnTo>
                <a:lnTo>
                  <a:pt x="1493" y="1833"/>
                </a:lnTo>
                <a:lnTo>
                  <a:pt x="1496" y="1835"/>
                </a:lnTo>
                <a:lnTo>
                  <a:pt x="1497" y="1836"/>
                </a:lnTo>
                <a:lnTo>
                  <a:pt x="1500" y="1840"/>
                </a:lnTo>
                <a:lnTo>
                  <a:pt x="1501" y="1845"/>
                </a:lnTo>
                <a:lnTo>
                  <a:pt x="1502" y="1849"/>
                </a:lnTo>
                <a:lnTo>
                  <a:pt x="1502" y="1853"/>
                </a:lnTo>
                <a:lnTo>
                  <a:pt x="1501" y="1857"/>
                </a:lnTo>
                <a:lnTo>
                  <a:pt x="1500" y="1861"/>
                </a:lnTo>
                <a:lnTo>
                  <a:pt x="1497" y="1870"/>
                </a:lnTo>
                <a:lnTo>
                  <a:pt x="1499" y="1871"/>
                </a:lnTo>
                <a:lnTo>
                  <a:pt x="1501" y="1872"/>
                </a:lnTo>
                <a:lnTo>
                  <a:pt x="1503" y="1874"/>
                </a:lnTo>
                <a:lnTo>
                  <a:pt x="1505" y="1877"/>
                </a:lnTo>
                <a:lnTo>
                  <a:pt x="1506" y="1878"/>
                </a:lnTo>
                <a:lnTo>
                  <a:pt x="1514" y="1875"/>
                </a:lnTo>
                <a:lnTo>
                  <a:pt x="1515" y="1872"/>
                </a:lnTo>
                <a:lnTo>
                  <a:pt x="1514" y="1870"/>
                </a:lnTo>
                <a:lnTo>
                  <a:pt x="1515" y="1869"/>
                </a:lnTo>
                <a:lnTo>
                  <a:pt x="1517" y="1867"/>
                </a:lnTo>
                <a:lnTo>
                  <a:pt x="1522" y="1873"/>
                </a:lnTo>
                <a:lnTo>
                  <a:pt x="1527" y="1878"/>
                </a:lnTo>
                <a:lnTo>
                  <a:pt x="1533" y="1882"/>
                </a:lnTo>
                <a:lnTo>
                  <a:pt x="1540" y="1887"/>
                </a:lnTo>
                <a:lnTo>
                  <a:pt x="1539" y="1895"/>
                </a:lnTo>
                <a:lnTo>
                  <a:pt x="1539" y="1898"/>
                </a:lnTo>
                <a:lnTo>
                  <a:pt x="1540" y="1901"/>
                </a:lnTo>
                <a:lnTo>
                  <a:pt x="1540" y="1906"/>
                </a:lnTo>
                <a:lnTo>
                  <a:pt x="1541" y="1907"/>
                </a:lnTo>
                <a:lnTo>
                  <a:pt x="1542" y="1907"/>
                </a:lnTo>
                <a:lnTo>
                  <a:pt x="1542" y="1905"/>
                </a:lnTo>
                <a:lnTo>
                  <a:pt x="1543" y="1904"/>
                </a:lnTo>
                <a:lnTo>
                  <a:pt x="1542" y="1898"/>
                </a:lnTo>
                <a:lnTo>
                  <a:pt x="1548" y="1898"/>
                </a:lnTo>
                <a:lnTo>
                  <a:pt x="1551" y="1909"/>
                </a:lnTo>
                <a:lnTo>
                  <a:pt x="1557" y="1909"/>
                </a:lnTo>
                <a:lnTo>
                  <a:pt x="1563" y="1909"/>
                </a:lnTo>
                <a:lnTo>
                  <a:pt x="1569" y="1909"/>
                </a:lnTo>
                <a:lnTo>
                  <a:pt x="1572" y="1910"/>
                </a:lnTo>
                <a:lnTo>
                  <a:pt x="1576" y="1912"/>
                </a:lnTo>
                <a:lnTo>
                  <a:pt x="1576" y="1916"/>
                </a:lnTo>
                <a:lnTo>
                  <a:pt x="1576" y="1920"/>
                </a:lnTo>
                <a:lnTo>
                  <a:pt x="1579" y="1921"/>
                </a:lnTo>
                <a:lnTo>
                  <a:pt x="1582" y="1920"/>
                </a:lnTo>
                <a:lnTo>
                  <a:pt x="1585" y="1920"/>
                </a:lnTo>
                <a:lnTo>
                  <a:pt x="1586" y="1920"/>
                </a:lnTo>
                <a:lnTo>
                  <a:pt x="1587" y="1920"/>
                </a:lnTo>
                <a:lnTo>
                  <a:pt x="1587" y="1926"/>
                </a:lnTo>
                <a:lnTo>
                  <a:pt x="1597" y="1928"/>
                </a:lnTo>
                <a:lnTo>
                  <a:pt x="1602" y="1929"/>
                </a:lnTo>
                <a:lnTo>
                  <a:pt x="1607" y="1929"/>
                </a:lnTo>
                <a:lnTo>
                  <a:pt x="1608" y="1929"/>
                </a:lnTo>
                <a:lnTo>
                  <a:pt x="1608" y="1928"/>
                </a:lnTo>
                <a:lnTo>
                  <a:pt x="1606" y="1927"/>
                </a:lnTo>
                <a:lnTo>
                  <a:pt x="1602" y="1926"/>
                </a:lnTo>
                <a:lnTo>
                  <a:pt x="1601" y="1927"/>
                </a:lnTo>
                <a:lnTo>
                  <a:pt x="1600" y="1928"/>
                </a:lnTo>
                <a:lnTo>
                  <a:pt x="1599" y="1927"/>
                </a:lnTo>
                <a:lnTo>
                  <a:pt x="1599" y="1926"/>
                </a:lnTo>
                <a:lnTo>
                  <a:pt x="1600" y="1925"/>
                </a:lnTo>
                <a:lnTo>
                  <a:pt x="1602" y="1924"/>
                </a:lnTo>
                <a:lnTo>
                  <a:pt x="1604" y="1923"/>
                </a:lnTo>
                <a:lnTo>
                  <a:pt x="1602" y="1918"/>
                </a:lnTo>
                <a:lnTo>
                  <a:pt x="1602" y="1915"/>
                </a:lnTo>
                <a:lnTo>
                  <a:pt x="1596" y="1915"/>
                </a:lnTo>
                <a:lnTo>
                  <a:pt x="1596" y="1909"/>
                </a:lnTo>
                <a:lnTo>
                  <a:pt x="1604" y="1905"/>
                </a:lnTo>
                <a:lnTo>
                  <a:pt x="1610" y="1901"/>
                </a:lnTo>
                <a:lnTo>
                  <a:pt x="1608" y="1901"/>
                </a:lnTo>
                <a:lnTo>
                  <a:pt x="1609" y="1899"/>
                </a:lnTo>
                <a:lnTo>
                  <a:pt x="1613" y="1895"/>
                </a:lnTo>
                <a:lnTo>
                  <a:pt x="1614" y="1895"/>
                </a:lnTo>
                <a:lnTo>
                  <a:pt x="1616" y="1894"/>
                </a:lnTo>
                <a:lnTo>
                  <a:pt x="1618" y="1892"/>
                </a:lnTo>
                <a:lnTo>
                  <a:pt x="1621" y="1897"/>
                </a:lnTo>
                <a:lnTo>
                  <a:pt x="1624" y="1902"/>
                </a:lnTo>
                <a:lnTo>
                  <a:pt x="1630" y="1912"/>
                </a:lnTo>
                <a:lnTo>
                  <a:pt x="1636" y="1910"/>
                </a:lnTo>
                <a:lnTo>
                  <a:pt x="1641" y="1909"/>
                </a:lnTo>
                <a:lnTo>
                  <a:pt x="1639" y="1913"/>
                </a:lnTo>
                <a:lnTo>
                  <a:pt x="1638" y="1915"/>
                </a:lnTo>
                <a:lnTo>
                  <a:pt x="1635" y="1932"/>
                </a:lnTo>
                <a:lnTo>
                  <a:pt x="1637" y="1933"/>
                </a:lnTo>
                <a:lnTo>
                  <a:pt x="1639" y="1936"/>
                </a:lnTo>
                <a:lnTo>
                  <a:pt x="1641" y="1939"/>
                </a:lnTo>
                <a:lnTo>
                  <a:pt x="1644" y="1940"/>
                </a:lnTo>
                <a:lnTo>
                  <a:pt x="1646" y="1940"/>
                </a:lnTo>
                <a:lnTo>
                  <a:pt x="1648" y="1940"/>
                </a:lnTo>
                <a:lnTo>
                  <a:pt x="1650" y="1940"/>
                </a:lnTo>
                <a:lnTo>
                  <a:pt x="1651" y="1940"/>
                </a:lnTo>
                <a:lnTo>
                  <a:pt x="1652" y="1940"/>
                </a:lnTo>
                <a:lnTo>
                  <a:pt x="1652" y="1955"/>
                </a:lnTo>
                <a:lnTo>
                  <a:pt x="1653" y="1959"/>
                </a:lnTo>
                <a:lnTo>
                  <a:pt x="1653" y="1962"/>
                </a:lnTo>
                <a:lnTo>
                  <a:pt x="1654" y="1964"/>
                </a:lnTo>
                <a:lnTo>
                  <a:pt x="1655" y="1965"/>
                </a:lnTo>
                <a:lnTo>
                  <a:pt x="1652" y="1976"/>
                </a:lnTo>
                <a:lnTo>
                  <a:pt x="1650" y="1988"/>
                </a:lnTo>
                <a:lnTo>
                  <a:pt x="1647" y="2000"/>
                </a:lnTo>
                <a:lnTo>
                  <a:pt x="1644" y="2013"/>
                </a:lnTo>
                <a:lnTo>
                  <a:pt x="1650" y="2016"/>
                </a:lnTo>
                <a:lnTo>
                  <a:pt x="1653" y="2017"/>
                </a:lnTo>
                <a:lnTo>
                  <a:pt x="1655" y="2019"/>
                </a:lnTo>
                <a:lnTo>
                  <a:pt x="1649" y="2026"/>
                </a:lnTo>
                <a:lnTo>
                  <a:pt x="1646" y="2029"/>
                </a:lnTo>
                <a:lnTo>
                  <a:pt x="1643" y="2032"/>
                </a:lnTo>
                <a:lnTo>
                  <a:pt x="1635" y="2037"/>
                </a:lnTo>
                <a:lnTo>
                  <a:pt x="1627" y="2041"/>
                </a:lnTo>
                <a:lnTo>
                  <a:pt x="1629" y="2043"/>
                </a:lnTo>
                <a:lnTo>
                  <a:pt x="1629" y="2045"/>
                </a:lnTo>
                <a:lnTo>
                  <a:pt x="1627" y="2047"/>
                </a:lnTo>
                <a:lnTo>
                  <a:pt x="1626" y="2049"/>
                </a:lnTo>
                <a:lnTo>
                  <a:pt x="1625" y="2051"/>
                </a:lnTo>
                <a:lnTo>
                  <a:pt x="1624" y="2052"/>
                </a:lnTo>
                <a:lnTo>
                  <a:pt x="1624" y="2053"/>
                </a:lnTo>
                <a:lnTo>
                  <a:pt x="1625" y="2054"/>
                </a:lnTo>
                <a:lnTo>
                  <a:pt x="1626" y="2056"/>
                </a:lnTo>
                <a:lnTo>
                  <a:pt x="1627" y="2057"/>
                </a:lnTo>
                <a:lnTo>
                  <a:pt x="1630" y="2058"/>
                </a:lnTo>
                <a:lnTo>
                  <a:pt x="1627" y="2059"/>
                </a:lnTo>
                <a:lnTo>
                  <a:pt x="1624" y="2059"/>
                </a:lnTo>
                <a:lnTo>
                  <a:pt x="1618" y="2058"/>
                </a:lnTo>
                <a:lnTo>
                  <a:pt x="1619" y="2060"/>
                </a:lnTo>
                <a:lnTo>
                  <a:pt x="1619" y="2062"/>
                </a:lnTo>
                <a:lnTo>
                  <a:pt x="1621" y="2067"/>
                </a:lnTo>
                <a:lnTo>
                  <a:pt x="1611" y="2074"/>
                </a:lnTo>
                <a:lnTo>
                  <a:pt x="1602" y="2081"/>
                </a:lnTo>
                <a:lnTo>
                  <a:pt x="1603" y="2083"/>
                </a:lnTo>
                <a:lnTo>
                  <a:pt x="1605" y="2085"/>
                </a:lnTo>
                <a:lnTo>
                  <a:pt x="1605" y="2087"/>
                </a:lnTo>
                <a:lnTo>
                  <a:pt x="1606" y="2089"/>
                </a:lnTo>
                <a:lnTo>
                  <a:pt x="1605" y="2093"/>
                </a:lnTo>
                <a:lnTo>
                  <a:pt x="1603" y="2097"/>
                </a:lnTo>
                <a:lnTo>
                  <a:pt x="1599" y="2103"/>
                </a:lnTo>
                <a:lnTo>
                  <a:pt x="1597" y="2105"/>
                </a:lnTo>
                <a:lnTo>
                  <a:pt x="1596" y="2106"/>
                </a:lnTo>
                <a:lnTo>
                  <a:pt x="1595" y="2109"/>
                </a:lnTo>
                <a:lnTo>
                  <a:pt x="1596" y="2111"/>
                </a:lnTo>
                <a:lnTo>
                  <a:pt x="1596" y="2112"/>
                </a:lnTo>
                <a:lnTo>
                  <a:pt x="1596" y="2113"/>
                </a:lnTo>
                <a:lnTo>
                  <a:pt x="1597" y="2115"/>
                </a:lnTo>
                <a:lnTo>
                  <a:pt x="1599" y="2119"/>
                </a:lnTo>
                <a:lnTo>
                  <a:pt x="1599" y="2121"/>
                </a:lnTo>
                <a:lnTo>
                  <a:pt x="1599" y="2123"/>
                </a:lnTo>
                <a:lnTo>
                  <a:pt x="1597" y="2125"/>
                </a:lnTo>
                <a:lnTo>
                  <a:pt x="1594" y="2127"/>
                </a:lnTo>
                <a:lnTo>
                  <a:pt x="1587" y="2131"/>
                </a:lnTo>
                <a:lnTo>
                  <a:pt x="1589" y="2134"/>
                </a:lnTo>
                <a:lnTo>
                  <a:pt x="1590" y="2135"/>
                </a:lnTo>
                <a:lnTo>
                  <a:pt x="1591" y="2135"/>
                </a:lnTo>
                <a:lnTo>
                  <a:pt x="1592" y="2135"/>
                </a:lnTo>
                <a:lnTo>
                  <a:pt x="1593" y="2134"/>
                </a:lnTo>
                <a:lnTo>
                  <a:pt x="1590" y="2143"/>
                </a:lnTo>
                <a:lnTo>
                  <a:pt x="1590" y="2144"/>
                </a:lnTo>
                <a:lnTo>
                  <a:pt x="1589" y="2148"/>
                </a:lnTo>
                <a:lnTo>
                  <a:pt x="1589" y="2151"/>
                </a:lnTo>
                <a:lnTo>
                  <a:pt x="1589" y="2152"/>
                </a:lnTo>
                <a:lnTo>
                  <a:pt x="1590" y="2153"/>
                </a:lnTo>
                <a:lnTo>
                  <a:pt x="1591" y="2154"/>
                </a:lnTo>
                <a:lnTo>
                  <a:pt x="1593" y="2154"/>
                </a:lnTo>
                <a:lnTo>
                  <a:pt x="1592" y="2156"/>
                </a:lnTo>
                <a:lnTo>
                  <a:pt x="1590" y="2160"/>
                </a:lnTo>
                <a:lnTo>
                  <a:pt x="1589" y="2163"/>
                </a:lnTo>
                <a:lnTo>
                  <a:pt x="1587" y="2165"/>
                </a:lnTo>
                <a:lnTo>
                  <a:pt x="1589" y="2166"/>
                </a:lnTo>
                <a:lnTo>
                  <a:pt x="1591" y="2166"/>
                </a:lnTo>
                <a:lnTo>
                  <a:pt x="1595" y="2168"/>
                </a:lnTo>
                <a:lnTo>
                  <a:pt x="1599" y="2169"/>
                </a:lnTo>
                <a:lnTo>
                  <a:pt x="1601" y="2170"/>
                </a:lnTo>
                <a:lnTo>
                  <a:pt x="1602" y="2171"/>
                </a:lnTo>
                <a:lnTo>
                  <a:pt x="1602" y="2172"/>
                </a:lnTo>
                <a:lnTo>
                  <a:pt x="1601" y="2174"/>
                </a:lnTo>
                <a:lnTo>
                  <a:pt x="1600" y="2176"/>
                </a:lnTo>
                <a:lnTo>
                  <a:pt x="1601" y="2178"/>
                </a:lnTo>
                <a:lnTo>
                  <a:pt x="1602" y="2179"/>
                </a:lnTo>
                <a:lnTo>
                  <a:pt x="1591" y="2189"/>
                </a:lnTo>
                <a:lnTo>
                  <a:pt x="1587" y="2193"/>
                </a:lnTo>
                <a:lnTo>
                  <a:pt x="1583" y="2197"/>
                </a:lnTo>
                <a:lnTo>
                  <a:pt x="1580" y="2201"/>
                </a:lnTo>
                <a:lnTo>
                  <a:pt x="1580" y="2203"/>
                </a:lnTo>
                <a:lnTo>
                  <a:pt x="1579" y="2205"/>
                </a:lnTo>
                <a:lnTo>
                  <a:pt x="1579" y="2207"/>
                </a:lnTo>
                <a:lnTo>
                  <a:pt x="1580" y="2209"/>
                </a:lnTo>
                <a:lnTo>
                  <a:pt x="1582" y="2213"/>
                </a:lnTo>
                <a:lnTo>
                  <a:pt x="1585" y="2219"/>
                </a:lnTo>
                <a:lnTo>
                  <a:pt x="1583" y="2219"/>
                </a:lnTo>
                <a:lnTo>
                  <a:pt x="1581" y="2220"/>
                </a:lnTo>
                <a:lnTo>
                  <a:pt x="1581" y="2221"/>
                </a:lnTo>
                <a:lnTo>
                  <a:pt x="1581" y="2222"/>
                </a:lnTo>
                <a:lnTo>
                  <a:pt x="1581" y="2223"/>
                </a:lnTo>
                <a:lnTo>
                  <a:pt x="1582" y="2224"/>
                </a:lnTo>
                <a:lnTo>
                  <a:pt x="1587" y="2227"/>
                </a:lnTo>
                <a:lnTo>
                  <a:pt x="1588" y="2229"/>
                </a:lnTo>
                <a:lnTo>
                  <a:pt x="1587" y="2231"/>
                </a:lnTo>
                <a:lnTo>
                  <a:pt x="1586" y="2235"/>
                </a:lnTo>
                <a:lnTo>
                  <a:pt x="1584" y="2238"/>
                </a:lnTo>
                <a:lnTo>
                  <a:pt x="1584" y="2239"/>
                </a:lnTo>
                <a:lnTo>
                  <a:pt x="1585" y="2241"/>
                </a:lnTo>
                <a:lnTo>
                  <a:pt x="1586" y="2243"/>
                </a:lnTo>
                <a:lnTo>
                  <a:pt x="1588" y="2244"/>
                </a:lnTo>
                <a:lnTo>
                  <a:pt x="1594" y="2248"/>
                </a:lnTo>
                <a:lnTo>
                  <a:pt x="1600" y="2252"/>
                </a:lnTo>
                <a:lnTo>
                  <a:pt x="1604" y="2255"/>
                </a:lnTo>
                <a:lnTo>
                  <a:pt x="1606" y="2258"/>
                </a:lnTo>
                <a:lnTo>
                  <a:pt x="1607" y="2262"/>
                </a:lnTo>
                <a:lnTo>
                  <a:pt x="1608" y="2266"/>
                </a:lnTo>
                <a:lnTo>
                  <a:pt x="1610" y="2269"/>
                </a:lnTo>
                <a:lnTo>
                  <a:pt x="1611" y="2270"/>
                </a:lnTo>
                <a:lnTo>
                  <a:pt x="1612" y="2271"/>
                </a:lnTo>
                <a:lnTo>
                  <a:pt x="1615" y="2272"/>
                </a:lnTo>
                <a:lnTo>
                  <a:pt x="1619" y="2273"/>
                </a:lnTo>
                <a:lnTo>
                  <a:pt x="1621" y="2275"/>
                </a:lnTo>
                <a:lnTo>
                  <a:pt x="1623" y="2278"/>
                </a:lnTo>
                <a:lnTo>
                  <a:pt x="1624" y="2282"/>
                </a:lnTo>
                <a:lnTo>
                  <a:pt x="1625" y="2286"/>
                </a:lnTo>
                <a:lnTo>
                  <a:pt x="1627" y="2289"/>
                </a:lnTo>
                <a:lnTo>
                  <a:pt x="1629" y="2291"/>
                </a:lnTo>
                <a:lnTo>
                  <a:pt x="1632" y="2293"/>
                </a:lnTo>
                <a:lnTo>
                  <a:pt x="1636" y="2295"/>
                </a:lnTo>
                <a:lnTo>
                  <a:pt x="1638" y="2297"/>
                </a:lnTo>
                <a:lnTo>
                  <a:pt x="1641" y="2303"/>
                </a:lnTo>
                <a:lnTo>
                  <a:pt x="1644" y="2308"/>
                </a:lnTo>
                <a:lnTo>
                  <a:pt x="1645" y="2314"/>
                </a:lnTo>
                <a:lnTo>
                  <a:pt x="1647" y="2319"/>
                </a:lnTo>
                <a:lnTo>
                  <a:pt x="1649" y="2332"/>
                </a:lnTo>
                <a:lnTo>
                  <a:pt x="1652" y="2345"/>
                </a:lnTo>
                <a:lnTo>
                  <a:pt x="1655" y="2352"/>
                </a:lnTo>
                <a:lnTo>
                  <a:pt x="1659" y="2361"/>
                </a:lnTo>
                <a:lnTo>
                  <a:pt x="1669" y="2382"/>
                </a:lnTo>
                <a:lnTo>
                  <a:pt x="1674" y="2393"/>
                </a:lnTo>
                <a:lnTo>
                  <a:pt x="1678" y="2403"/>
                </a:lnTo>
                <a:lnTo>
                  <a:pt x="1679" y="2408"/>
                </a:lnTo>
                <a:lnTo>
                  <a:pt x="1680" y="2412"/>
                </a:lnTo>
                <a:lnTo>
                  <a:pt x="1681" y="2415"/>
                </a:lnTo>
                <a:lnTo>
                  <a:pt x="1680" y="2418"/>
                </a:lnTo>
                <a:lnTo>
                  <a:pt x="1677" y="2424"/>
                </a:lnTo>
                <a:lnTo>
                  <a:pt x="1680" y="2427"/>
                </a:lnTo>
                <a:lnTo>
                  <a:pt x="1683" y="2430"/>
                </a:lnTo>
                <a:lnTo>
                  <a:pt x="1687" y="2433"/>
                </a:lnTo>
                <a:lnTo>
                  <a:pt x="1689" y="2435"/>
                </a:lnTo>
                <a:lnTo>
                  <a:pt x="1690" y="2438"/>
                </a:lnTo>
                <a:lnTo>
                  <a:pt x="1691" y="2440"/>
                </a:lnTo>
                <a:lnTo>
                  <a:pt x="1691" y="2444"/>
                </a:lnTo>
                <a:lnTo>
                  <a:pt x="1692" y="2448"/>
                </a:lnTo>
                <a:lnTo>
                  <a:pt x="1694" y="2452"/>
                </a:lnTo>
                <a:lnTo>
                  <a:pt x="1698" y="2455"/>
                </a:lnTo>
                <a:lnTo>
                  <a:pt x="1704" y="2458"/>
                </a:lnTo>
                <a:lnTo>
                  <a:pt x="1710" y="2461"/>
                </a:lnTo>
                <a:lnTo>
                  <a:pt x="1714" y="2463"/>
                </a:lnTo>
                <a:lnTo>
                  <a:pt x="1715" y="2465"/>
                </a:lnTo>
                <a:lnTo>
                  <a:pt x="1717" y="2468"/>
                </a:lnTo>
                <a:lnTo>
                  <a:pt x="1718" y="2470"/>
                </a:lnTo>
                <a:lnTo>
                  <a:pt x="1720" y="2472"/>
                </a:lnTo>
                <a:lnTo>
                  <a:pt x="1734" y="2480"/>
                </a:lnTo>
                <a:lnTo>
                  <a:pt x="1748" y="2488"/>
                </a:lnTo>
                <a:lnTo>
                  <a:pt x="1754" y="2492"/>
                </a:lnTo>
                <a:lnTo>
                  <a:pt x="1761" y="2497"/>
                </a:lnTo>
                <a:lnTo>
                  <a:pt x="1764" y="2499"/>
                </a:lnTo>
                <a:lnTo>
                  <a:pt x="1766" y="2502"/>
                </a:lnTo>
                <a:lnTo>
                  <a:pt x="1772" y="2508"/>
                </a:lnTo>
                <a:lnTo>
                  <a:pt x="1775" y="2512"/>
                </a:lnTo>
                <a:lnTo>
                  <a:pt x="1777" y="2517"/>
                </a:lnTo>
                <a:lnTo>
                  <a:pt x="1780" y="2522"/>
                </a:lnTo>
                <a:lnTo>
                  <a:pt x="1782" y="2528"/>
                </a:lnTo>
                <a:lnTo>
                  <a:pt x="1784" y="2539"/>
                </a:lnTo>
                <a:lnTo>
                  <a:pt x="1785" y="2551"/>
                </a:lnTo>
                <a:lnTo>
                  <a:pt x="1785" y="2563"/>
                </a:lnTo>
                <a:lnTo>
                  <a:pt x="1784" y="2575"/>
                </a:lnTo>
                <a:lnTo>
                  <a:pt x="1783" y="2602"/>
                </a:lnTo>
                <a:lnTo>
                  <a:pt x="1782" y="2616"/>
                </a:lnTo>
                <a:lnTo>
                  <a:pt x="1782" y="2630"/>
                </a:lnTo>
                <a:lnTo>
                  <a:pt x="1776" y="2630"/>
                </a:lnTo>
                <a:lnTo>
                  <a:pt x="1776" y="2633"/>
                </a:lnTo>
                <a:lnTo>
                  <a:pt x="1776" y="2635"/>
                </a:lnTo>
                <a:lnTo>
                  <a:pt x="1778" y="2638"/>
                </a:lnTo>
                <a:lnTo>
                  <a:pt x="1780" y="2640"/>
                </a:lnTo>
                <a:lnTo>
                  <a:pt x="1782" y="2642"/>
                </a:lnTo>
                <a:lnTo>
                  <a:pt x="1779" y="2649"/>
                </a:lnTo>
                <a:lnTo>
                  <a:pt x="1776" y="2656"/>
                </a:lnTo>
                <a:lnTo>
                  <a:pt x="1775" y="2660"/>
                </a:lnTo>
                <a:lnTo>
                  <a:pt x="1776" y="2665"/>
                </a:lnTo>
                <a:lnTo>
                  <a:pt x="1777" y="2674"/>
                </a:lnTo>
                <a:lnTo>
                  <a:pt x="1778" y="2682"/>
                </a:lnTo>
                <a:lnTo>
                  <a:pt x="1779" y="2686"/>
                </a:lnTo>
                <a:lnTo>
                  <a:pt x="1779" y="2689"/>
                </a:lnTo>
                <a:lnTo>
                  <a:pt x="1773" y="2698"/>
                </a:lnTo>
                <a:lnTo>
                  <a:pt x="1772" y="2705"/>
                </a:lnTo>
                <a:lnTo>
                  <a:pt x="1772" y="2714"/>
                </a:lnTo>
                <a:lnTo>
                  <a:pt x="1771" y="2725"/>
                </a:lnTo>
                <a:lnTo>
                  <a:pt x="1770" y="2737"/>
                </a:lnTo>
                <a:lnTo>
                  <a:pt x="1768" y="2748"/>
                </a:lnTo>
                <a:lnTo>
                  <a:pt x="1767" y="2753"/>
                </a:lnTo>
                <a:lnTo>
                  <a:pt x="1766" y="2758"/>
                </a:lnTo>
                <a:lnTo>
                  <a:pt x="1765" y="2762"/>
                </a:lnTo>
                <a:lnTo>
                  <a:pt x="1763" y="2766"/>
                </a:lnTo>
                <a:lnTo>
                  <a:pt x="1761" y="2769"/>
                </a:lnTo>
                <a:lnTo>
                  <a:pt x="1759" y="2771"/>
                </a:lnTo>
                <a:lnTo>
                  <a:pt x="1765" y="2788"/>
                </a:lnTo>
                <a:lnTo>
                  <a:pt x="1766" y="2789"/>
                </a:lnTo>
                <a:lnTo>
                  <a:pt x="1767" y="2791"/>
                </a:lnTo>
                <a:lnTo>
                  <a:pt x="1767" y="2794"/>
                </a:lnTo>
                <a:lnTo>
                  <a:pt x="1767" y="2797"/>
                </a:lnTo>
                <a:lnTo>
                  <a:pt x="1766" y="2800"/>
                </a:lnTo>
                <a:lnTo>
                  <a:pt x="1763" y="2807"/>
                </a:lnTo>
                <a:lnTo>
                  <a:pt x="1761" y="2811"/>
                </a:lnTo>
                <a:lnTo>
                  <a:pt x="1760" y="2814"/>
                </a:lnTo>
                <a:lnTo>
                  <a:pt x="1759" y="2818"/>
                </a:lnTo>
                <a:lnTo>
                  <a:pt x="1759" y="2822"/>
                </a:lnTo>
                <a:lnTo>
                  <a:pt x="1760" y="2825"/>
                </a:lnTo>
                <a:lnTo>
                  <a:pt x="1761" y="2829"/>
                </a:lnTo>
                <a:lnTo>
                  <a:pt x="1764" y="2839"/>
                </a:lnTo>
                <a:lnTo>
                  <a:pt x="1765" y="2845"/>
                </a:lnTo>
                <a:lnTo>
                  <a:pt x="1766" y="2852"/>
                </a:lnTo>
                <a:lnTo>
                  <a:pt x="1766" y="2858"/>
                </a:lnTo>
                <a:lnTo>
                  <a:pt x="1765" y="2864"/>
                </a:lnTo>
                <a:lnTo>
                  <a:pt x="1764" y="2865"/>
                </a:lnTo>
                <a:lnTo>
                  <a:pt x="1763" y="2866"/>
                </a:lnTo>
                <a:lnTo>
                  <a:pt x="1759" y="2868"/>
                </a:lnTo>
                <a:lnTo>
                  <a:pt x="1756" y="2870"/>
                </a:lnTo>
                <a:lnTo>
                  <a:pt x="1754" y="2871"/>
                </a:lnTo>
                <a:lnTo>
                  <a:pt x="1753" y="2872"/>
                </a:lnTo>
                <a:lnTo>
                  <a:pt x="1753" y="2877"/>
                </a:lnTo>
                <a:lnTo>
                  <a:pt x="1753" y="2883"/>
                </a:lnTo>
                <a:lnTo>
                  <a:pt x="1753" y="2895"/>
                </a:lnTo>
                <a:lnTo>
                  <a:pt x="1750" y="2896"/>
                </a:lnTo>
                <a:lnTo>
                  <a:pt x="1748" y="2898"/>
                </a:lnTo>
                <a:lnTo>
                  <a:pt x="1741" y="2924"/>
                </a:lnTo>
                <a:lnTo>
                  <a:pt x="1739" y="2935"/>
                </a:lnTo>
                <a:lnTo>
                  <a:pt x="1739" y="2936"/>
                </a:lnTo>
                <a:lnTo>
                  <a:pt x="1739" y="2934"/>
                </a:lnTo>
                <a:lnTo>
                  <a:pt x="1741" y="2936"/>
                </a:lnTo>
                <a:lnTo>
                  <a:pt x="1741" y="2937"/>
                </a:lnTo>
                <a:lnTo>
                  <a:pt x="1741" y="2938"/>
                </a:lnTo>
                <a:lnTo>
                  <a:pt x="1740" y="2939"/>
                </a:lnTo>
                <a:lnTo>
                  <a:pt x="1739" y="2940"/>
                </a:lnTo>
                <a:lnTo>
                  <a:pt x="1736" y="2951"/>
                </a:lnTo>
                <a:lnTo>
                  <a:pt x="1732" y="2967"/>
                </a:lnTo>
                <a:lnTo>
                  <a:pt x="1729" y="2974"/>
                </a:lnTo>
                <a:lnTo>
                  <a:pt x="1726" y="2980"/>
                </a:lnTo>
                <a:lnTo>
                  <a:pt x="1725" y="2982"/>
                </a:lnTo>
                <a:lnTo>
                  <a:pt x="1723" y="2984"/>
                </a:lnTo>
                <a:lnTo>
                  <a:pt x="1721" y="2985"/>
                </a:lnTo>
                <a:lnTo>
                  <a:pt x="1720" y="2985"/>
                </a:lnTo>
                <a:lnTo>
                  <a:pt x="1723" y="2986"/>
                </a:lnTo>
                <a:lnTo>
                  <a:pt x="1728" y="2988"/>
                </a:lnTo>
                <a:lnTo>
                  <a:pt x="1729" y="2993"/>
                </a:lnTo>
                <a:lnTo>
                  <a:pt x="1729" y="2997"/>
                </a:lnTo>
                <a:lnTo>
                  <a:pt x="1730" y="3002"/>
                </a:lnTo>
                <a:lnTo>
                  <a:pt x="1731" y="3007"/>
                </a:lnTo>
                <a:lnTo>
                  <a:pt x="1733" y="3021"/>
                </a:lnTo>
                <a:lnTo>
                  <a:pt x="1734" y="3034"/>
                </a:lnTo>
                <a:lnTo>
                  <a:pt x="1734" y="3044"/>
                </a:lnTo>
                <a:lnTo>
                  <a:pt x="1728" y="3044"/>
                </a:lnTo>
                <a:lnTo>
                  <a:pt x="1724" y="3063"/>
                </a:lnTo>
                <a:lnTo>
                  <a:pt x="1722" y="3072"/>
                </a:lnTo>
                <a:lnTo>
                  <a:pt x="1722" y="3076"/>
                </a:lnTo>
                <a:lnTo>
                  <a:pt x="1722" y="3079"/>
                </a:lnTo>
                <a:lnTo>
                  <a:pt x="1722" y="3082"/>
                </a:lnTo>
                <a:lnTo>
                  <a:pt x="1723" y="3085"/>
                </a:lnTo>
                <a:lnTo>
                  <a:pt x="1724" y="3086"/>
                </a:lnTo>
                <a:lnTo>
                  <a:pt x="1725" y="3087"/>
                </a:lnTo>
                <a:lnTo>
                  <a:pt x="1727" y="3088"/>
                </a:lnTo>
                <a:lnTo>
                  <a:pt x="1729" y="3089"/>
                </a:lnTo>
                <a:lnTo>
                  <a:pt x="1733" y="3090"/>
                </a:lnTo>
                <a:lnTo>
                  <a:pt x="1737" y="3090"/>
                </a:lnTo>
                <a:lnTo>
                  <a:pt x="1742" y="3089"/>
                </a:lnTo>
                <a:lnTo>
                  <a:pt x="1740" y="3106"/>
                </a:lnTo>
                <a:lnTo>
                  <a:pt x="1740" y="3115"/>
                </a:lnTo>
                <a:lnTo>
                  <a:pt x="1739" y="3126"/>
                </a:lnTo>
                <a:lnTo>
                  <a:pt x="1734" y="3128"/>
                </a:lnTo>
                <a:lnTo>
                  <a:pt x="1734" y="3132"/>
                </a:lnTo>
                <a:lnTo>
                  <a:pt x="1734" y="3134"/>
                </a:lnTo>
                <a:lnTo>
                  <a:pt x="1735" y="3136"/>
                </a:lnTo>
                <a:lnTo>
                  <a:pt x="1737" y="3138"/>
                </a:lnTo>
                <a:lnTo>
                  <a:pt x="1738" y="3140"/>
                </a:lnTo>
                <a:lnTo>
                  <a:pt x="1739" y="3142"/>
                </a:lnTo>
                <a:lnTo>
                  <a:pt x="1739" y="3145"/>
                </a:lnTo>
                <a:lnTo>
                  <a:pt x="1739" y="3148"/>
                </a:lnTo>
                <a:lnTo>
                  <a:pt x="1737" y="3151"/>
                </a:lnTo>
                <a:lnTo>
                  <a:pt x="1734" y="3153"/>
                </a:lnTo>
                <a:lnTo>
                  <a:pt x="1732" y="3154"/>
                </a:lnTo>
                <a:lnTo>
                  <a:pt x="1732" y="3155"/>
                </a:lnTo>
                <a:lnTo>
                  <a:pt x="1731" y="3156"/>
                </a:lnTo>
                <a:lnTo>
                  <a:pt x="1731" y="3157"/>
                </a:lnTo>
                <a:lnTo>
                  <a:pt x="1732" y="3157"/>
                </a:lnTo>
                <a:lnTo>
                  <a:pt x="1734" y="3156"/>
                </a:lnTo>
                <a:lnTo>
                  <a:pt x="1734" y="3162"/>
                </a:lnTo>
                <a:lnTo>
                  <a:pt x="1732" y="3162"/>
                </a:lnTo>
                <a:lnTo>
                  <a:pt x="1730" y="3160"/>
                </a:lnTo>
                <a:lnTo>
                  <a:pt x="1729" y="3159"/>
                </a:lnTo>
                <a:lnTo>
                  <a:pt x="1728" y="3159"/>
                </a:lnTo>
                <a:lnTo>
                  <a:pt x="1726" y="3167"/>
                </a:lnTo>
                <a:lnTo>
                  <a:pt x="1726" y="3174"/>
                </a:lnTo>
                <a:lnTo>
                  <a:pt x="1726" y="3186"/>
                </a:lnTo>
                <a:lnTo>
                  <a:pt x="1726" y="3199"/>
                </a:lnTo>
                <a:lnTo>
                  <a:pt x="1726" y="3207"/>
                </a:lnTo>
                <a:lnTo>
                  <a:pt x="1725" y="3216"/>
                </a:lnTo>
                <a:lnTo>
                  <a:pt x="1720" y="3212"/>
                </a:lnTo>
                <a:lnTo>
                  <a:pt x="1717" y="3210"/>
                </a:lnTo>
                <a:lnTo>
                  <a:pt x="1716" y="3210"/>
                </a:lnTo>
                <a:lnTo>
                  <a:pt x="1714" y="3210"/>
                </a:lnTo>
                <a:lnTo>
                  <a:pt x="1716" y="3211"/>
                </a:lnTo>
                <a:lnTo>
                  <a:pt x="1716" y="3212"/>
                </a:lnTo>
                <a:lnTo>
                  <a:pt x="1715" y="3213"/>
                </a:lnTo>
                <a:lnTo>
                  <a:pt x="1714" y="3214"/>
                </a:lnTo>
                <a:lnTo>
                  <a:pt x="1710" y="3215"/>
                </a:lnTo>
                <a:lnTo>
                  <a:pt x="1708" y="3216"/>
                </a:lnTo>
                <a:lnTo>
                  <a:pt x="1708" y="3214"/>
                </a:lnTo>
                <a:lnTo>
                  <a:pt x="1709" y="3213"/>
                </a:lnTo>
                <a:lnTo>
                  <a:pt x="1711" y="3210"/>
                </a:lnTo>
                <a:lnTo>
                  <a:pt x="1705" y="3207"/>
                </a:lnTo>
                <a:lnTo>
                  <a:pt x="1703" y="3206"/>
                </a:lnTo>
                <a:lnTo>
                  <a:pt x="1700" y="3204"/>
                </a:lnTo>
                <a:lnTo>
                  <a:pt x="1699" y="3206"/>
                </a:lnTo>
                <a:lnTo>
                  <a:pt x="1699" y="3207"/>
                </a:lnTo>
                <a:lnTo>
                  <a:pt x="1698" y="3207"/>
                </a:lnTo>
                <a:lnTo>
                  <a:pt x="1697" y="3206"/>
                </a:lnTo>
                <a:lnTo>
                  <a:pt x="1696" y="3206"/>
                </a:lnTo>
                <a:lnTo>
                  <a:pt x="1694" y="3207"/>
                </a:lnTo>
                <a:lnTo>
                  <a:pt x="1694" y="3213"/>
                </a:lnTo>
                <a:lnTo>
                  <a:pt x="1693" y="3219"/>
                </a:lnTo>
                <a:lnTo>
                  <a:pt x="1689" y="3230"/>
                </a:lnTo>
                <a:lnTo>
                  <a:pt x="1697" y="3224"/>
                </a:lnTo>
                <a:lnTo>
                  <a:pt x="1697" y="3228"/>
                </a:lnTo>
                <a:lnTo>
                  <a:pt x="1697" y="3232"/>
                </a:lnTo>
                <a:lnTo>
                  <a:pt x="1702" y="3232"/>
                </a:lnTo>
                <a:lnTo>
                  <a:pt x="1706" y="3232"/>
                </a:lnTo>
                <a:lnTo>
                  <a:pt x="1705" y="3232"/>
                </a:lnTo>
                <a:lnTo>
                  <a:pt x="1706" y="3231"/>
                </a:lnTo>
                <a:lnTo>
                  <a:pt x="1709" y="3228"/>
                </a:lnTo>
                <a:lnTo>
                  <a:pt x="1711" y="3228"/>
                </a:lnTo>
                <a:lnTo>
                  <a:pt x="1714" y="3228"/>
                </a:lnTo>
                <a:lnTo>
                  <a:pt x="1715" y="3229"/>
                </a:lnTo>
                <a:lnTo>
                  <a:pt x="1717" y="3232"/>
                </a:lnTo>
                <a:lnTo>
                  <a:pt x="1717" y="3236"/>
                </a:lnTo>
                <a:lnTo>
                  <a:pt x="1716" y="3240"/>
                </a:lnTo>
                <a:lnTo>
                  <a:pt x="1714" y="3244"/>
                </a:lnTo>
                <a:lnTo>
                  <a:pt x="1716" y="3245"/>
                </a:lnTo>
                <a:lnTo>
                  <a:pt x="1719" y="3249"/>
                </a:lnTo>
                <a:lnTo>
                  <a:pt x="1719" y="3250"/>
                </a:lnTo>
                <a:lnTo>
                  <a:pt x="1719" y="3251"/>
                </a:lnTo>
                <a:lnTo>
                  <a:pt x="1718" y="3252"/>
                </a:lnTo>
                <a:lnTo>
                  <a:pt x="1716" y="3252"/>
                </a:lnTo>
                <a:lnTo>
                  <a:pt x="1711" y="3252"/>
                </a:lnTo>
                <a:lnTo>
                  <a:pt x="1712" y="3265"/>
                </a:lnTo>
                <a:lnTo>
                  <a:pt x="1712" y="3275"/>
                </a:lnTo>
                <a:lnTo>
                  <a:pt x="1712" y="3285"/>
                </a:lnTo>
                <a:lnTo>
                  <a:pt x="1711" y="3297"/>
                </a:lnTo>
                <a:lnTo>
                  <a:pt x="1714" y="3294"/>
                </a:lnTo>
                <a:lnTo>
                  <a:pt x="1715" y="3292"/>
                </a:lnTo>
                <a:lnTo>
                  <a:pt x="1717" y="3292"/>
                </a:lnTo>
                <a:lnTo>
                  <a:pt x="1718" y="3292"/>
                </a:lnTo>
                <a:lnTo>
                  <a:pt x="1718" y="3293"/>
                </a:lnTo>
                <a:lnTo>
                  <a:pt x="1716" y="3297"/>
                </a:lnTo>
                <a:lnTo>
                  <a:pt x="1713" y="3301"/>
                </a:lnTo>
                <a:lnTo>
                  <a:pt x="1711" y="3303"/>
                </a:lnTo>
                <a:lnTo>
                  <a:pt x="1710" y="3305"/>
                </a:lnTo>
                <a:lnTo>
                  <a:pt x="1710" y="3309"/>
                </a:lnTo>
                <a:lnTo>
                  <a:pt x="1710" y="3312"/>
                </a:lnTo>
                <a:lnTo>
                  <a:pt x="1709" y="3313"/>
                </a:lnTo>
                <a:lnTo>
                  <a:pt x="1708" y="3314"/>
                </a:lnTo>
                <a:lnTo>
                  <a:pt x="1706" y="3315"/>
                </a:lnTo>
                <a:lnTo>
                  <a:pt x="1706" y="3314"/>
                </a:lnTo>
                <a:lnTo>
                  <a:pt x="1706" y="3312"/>
                </a:lnTo>
                <a:lnTo>
                  <a:pt x="1706" y="3311"/>
                </a:lnTo>
                <a:lnTo>
                  <a:pt x="1707" y="3298"/>
                </a:lnTo>
                <a:lnTo>
                  <a:pt x="1707" y="3285"/>
                </a:lnTo>
                <a:lnTo>
                  <a:pt x="1705" y="3273"/>
                </a:lnTo>
                <a:lnTo>
                  <a:pt x="1703" y="3261"/>
                </a:lnTo>
                <a:lnTo>
                  <a:pt x="1700" y="3261"/>
                </a:lnTo>
                <a:lnTo>
                  <a:pt x="1697" y="3261"/>
                </a:lnTo>
                <a:lnTo>
                  <a:pt x="1692" y="3261"/>
                </a:lnTo>
                <a:lnTo>
                  <a:pt x="1691" y="3262"/>
                </a:lnTo>
                <a:lnTo>
                  <a:pt x="1692" y="3262"/>
                </a:lnTo>
                <a:lnTo>
                  <a:pt x="1693" y="3264"/>
                </a:lnTo>
                <a:lnTo>
                  <a:pt x="1695" y="3265"/>
                </a:lnTo>
                <a:lnTo>
                  <a:pt x="1695" y="3266"/>
                </a:lnTo>
                <a:lnTo>
                  <a:pt x="1694" y="3266"/>
                </a:lnTo>
                <a:lnTo>
                  <a:pt x="1689" y="3270"/>
                </a:lnTo>
                <a:lnTo>
                  <a:pt x="1687" y="3271"/>
                </a:lnTo>
                <a:lnTo>
                  <a:pt x="1686" y="3273"/>
                </a:lnTo>
                <a:lnTo>
                  <a:pt x="1685" y="3276"/>
                </a:lnTo>
                <a:lnTo>
                  <a:pt x="1686" y="3279"/>
                </a:lnTo>
                <a:lnTo>
                  <a:pt x="1689" y="3285"/>
                </a:lnTo>
                <a:lnTo>
                  <a:pt x="1690" y="3287"/>
                </a:lnTo>
                <a:lnTo>
                  <a:pt x="1691" y="3288"/>
                </a:lnTo>
                <a:lnTo>
                  <a:pt x="1692" y="3292"/>
                </a:lnTo>
                <a:lnTo>
                  <a:pt x="1692" y="3296"/>
                </a:lnTo>
                <a:lnTo>
                  <a:pt x="1691" y="3298"/>
                </a:lnTo>
                <a:lnTo>
                  <a:pt x="1689" y="3298"/>
                </a:lnTo>
                <a:lnTo>
                  <a:pt x="1686" y="3300"/>
                </a:lnTo>
                <a:lnTo>
                  <a:pt x="1687" y="3303"/>
                </a:lnTo>
                <a:lnTo>
                  <a:pt x="1688" y="3305"/>
                </a:lnTo>
                <a:lnTo>
                  <a:pt x="1689" y="3308"/>
                </a:lnTo>
                <a:lnTo>
                  <a:pt x="1689" y="3311"/>
                </a:lnTo>
                <a:lnTo>
                  <a:pt x="1693" y="3312"/>
                </a:lnTo>
                <a:lnTo>
                  <a:pt x="1697" y="3313"/>
                </a:lnTo>
                <a:lnTo>
                  <a:pt x="1701" y="3313"/>
                </a:lnTo>
                <a:lnTo>
                  <a:pt x="1706" y="3314"/>
                </a:lnTo>
                <a:lnTo>
                  <a:pt x="1705" y="3318"/>
                </a:lnTo>
                <a:lnTo>
                  <a:pt x="1706" y="3322"/>
                </a:lnTo>
                <a:lnTo>
                  <a:pt x="1707" y="3323"/>
                </a:lnTo>
                <a:lnTo>
                  <a:pt x="1708" y="3323"/>
                </a:lnTo>
                <a:lnTo>
                  <a:pt x="1710" y="3322"/>
                </a:lnTo>
                <a:lnTo>
                  <a:pt x="1712" y="3322"/>
                </a:lnTo>
                <a:lnTo>
                  <a:pt x="1713" y="3322"/>
                </a:lnTo>
                <a:lnTo>
                  <a:pt x="1714" y="3322"/>
                </a:lnTo>
                <a:lnTo>
                  <a:pt x="1714" y="3324"/>
                </a:lnTo>
                <a:lnTo>
                  <a:pt x="1714" y="3326"/>
                </a:lnTo>
                <a:lnTo>
                  <a:pt x="1714" y="3329"/>
                </a:lnTo>
                <a:lnTo>
                  <a:pt x="1714" y="3331"/>
                </a:lnTo>
                <a:lnTo>
                  <a:pt x="1710" y="3328"/>
                </a:lnTo>
                <a:lnTo>
                  <a:pt x="1708" y="3326"/>
                </a:lnTo>
                <a:lnTo>
                  <a:pt x="1706" y="3325"/>
                </a:lnTo>
                <a:lnTo>
                  <a:pt x="1706" y="3326"/>
                </a:lnTo>
                <a:lnTo>
                  <a:pt x="1707" y="3326"/>
                </a:lnTo>
                <a:lnTo>
                  <a:pt x="1707" y="3328"/>
                </a:lnTo>
                <a:lnTo>
                  <a:pt x="1707" y="3333"/>
                </a:lnTo>
                <a:lnTo>
                  <a:pt x="1707" y="3336"/>
                </a:lnTo>
                <a:lnTo>
                  <a:pt x="1706" y="3336"/>
                </a:lnTo>
                <a:lnTo>
                  <a:pt x="1706" y="3334"/>
                </a:lnTo>
                <a:lnTo>
                  <a:pt x="1702" y="3332"/>
                </a:lnTo>
                <a:lnTo>
                  <a:pt x="1697" y="3331"/>
                </a:lnTo>
                <a:lnTo>
                  <a:pt x="1697" y="3339"/>
                </a:lnTo>
                <a:lnTo>
                  <a:pt x="1694" y="3339"/>
                </a:lnTo>
                <a:lnTo>
                  <a:pt x="1695" y="3348"/>
                </a:lnTo>
                <a:lnTo>
                  <a:pt x="1694" y="3356"/>
                </a:lnTo>
                <a:lnTo>
                  <a:pt x="1698" y="3356"/>
                </a:lnTo>
                <a:lnTo>
                  <a:pt x="1703" y="3356"/>
                </a:lnTo>
                <a:lnTo>
                  <a:pt x="1705" y="3351"/>
                </a:lnTo>
                <a:lnTo>
                  <a:pt x="1707" y="3347"/>
                </a:lnTo>
                <a:lnTo>
                  <a:pt x="1708" y="3345"/>
                </a:lnTo>
                <a:lnTo>
                  <a:pt x="1710" y="3349"/>
                </a:lnTo>
                <a:lnTo>
                  <a:pt x="1711" y="3351"/>
                </a:lnTo>
                <a:lnTo>
                  <a:pt x="1711" y="3344"/>
                </a:lnTo>
                <a:lnTo>
                  <a:pt x="1710" y="3341"/>
                </a:lnTo>
                <a:lnTo>
                  <a:pt x="1710" y="3340"/>
                </a:lnTo>
                <a:lnTo>
                  <a:pt x="1710" y="3339"/>
                </a:lnTo>
                <a:lnTo>
                  <a:pt x="1714" y="3337"/>
                </a:lnTo>
                <a:lnTo>
                  <a:pt x="1714" y="3331"/>
                </a:lnTo>
                <a:lnTo>
                  <a:pt x="1716" y="3332"/>
                </a:lnTo>
                <a:lnTo>
                  <a:pt x="1717" y="3333"/>
                </a:lnTo>
                <a:lnTo>
                  <a:pt x="1719" y="3334"/>
                </a:lnTo>
                <a:lnTo>
                  <a:pt x="1721" y="3334"/>
                </a:lnTo>
                <a:lnTo>
                  <a:pt x="1722" y="3334"/>
                </a:lnTo>
                <a:lnTo>
                  <a:pt x="1719" y="3337"/>
                </a:lnTo>
                <a:lnTo>
                  <a:pt x="1716" y="3341"/>
                </a:lnTo>
                <a:lnTo>
                  <a:pt x="1715" y="3343"/>
                </a:lnTo>
                <a:lnTo>
                  <a:pt x="1715" y="3346"/>
                </a:lnTo>
                <a:lnTo>
                  <a:pt x="1715" y="3347"/>
                </a:lnTo>
                <a:lnTo>
                  <a:pt x="1715" y="3348"/>
                </a:lnTo>
                <a:lnTo>
                  <a:pt x="1716" y="3349"/>
                </a:lnTo>
                <a:lnTo>
                  <a:pt x="1717" y="3348"/>
                </a:lnTo>
                <a:lnTo>
                  <a:pt x="1720" y="3348"/>
                </a:lnTo>
                <a:lnTo>
                  <a:pt x="1719" y="3354"/>
                </a:lnTo>
                <a:lnTo>
                  <a:pt x="1718" y="3357"/>
                </a:lnTo>
                <a:lnTo>
                  <a:pt x="1717" y="3357"/>
                </a:lnTo>
                <a:lnTo>
                  <a:pt x="1717" y="3356"/>
                </a:lnTo>
                <a:lnTo>
                  <a:pt x="1717" y="3362"/>
                </a:lnTo>
                <a:lnTo>
                  <a:pt x="1715" y="3362"/>
                </a:lnTo>
                <a:lnTo>
                  <a:pt x="1713" y="3362"/>
                </a:lnTo>
                <a:lnTo>
                  <a:pt x="1712" y="3361"/>
                </a:lnTo>
                <a:lnTo>
                  <a:pt x="1711" y="3359"/>
                </a:lnTo>
                <a:lnTo>
                  <a:pt x="1710" y="3359"/>
                </a:lnTo>
                <a:lnTo>
                  <a:pt x="1708" y="3359"/>
                </a:lnTo>
                <a:lnTo>
                  <a:pt x="1708" y="3365"/>
                </a:lnTo>
                <a:lnTo>
                  <a:pt x="1707" y="3365"/>
                </a:lnTo>
                <a:lnTo>
                  <a:pt x="1704" y="3364"/>
                </a:lnTo>
                <a:lnTo>
                  <a:pt x="1703" y="3364"/>
                </a:lnTo>
                <a:lnTo>
                  <a:pt x="1703" y="3363"/>
                </a:lnTo>
                <a:lnTo>
                  <a:pt x="1706" y="3362"/>
                </a:lnTo>
                <a:lnTo>
                  <a:pt x="1702" y="3363"/>
                </a:lnTo>
                <a:lnTo>
                  <a:pt x="1699" y="3362"/>
                </a:lnTo>
                <a:lnTo>
                  <a:pt x="1692" y="3362"/>
                </a:lnTo>
                <a:lnTo>
                  <a:pt x="1694" y="3368"/>
                </a:lnTo>
                <a:lnTo>
                  <a:pt x="1696" y="3373"/>
                </a:lnTo>
                <a:lnTo>
                  <a:pt x="1699" y="3384"/>
                </a:lnTo>
                <a:lnTo>
                  <a:pt x="1701" y="3388"/>
                </a:lnTo>
                <a:lnTo>
                  <a:pt x="1703" y="3390"/>
                </a:lnTo>
                <a:lnTo>
                  <a:pt x="1704" y="3392"/>
                </a:lnTo>
                <a:lnTo>
                  <a:pt x="1709" y="3396"/>
                </a:lnTo>
                <a:lnTo>
                  <a:pt x="1711" y="3397"/>
                </a:lnTo>
                <a:lnTo>
                  <a:pt x="1714" y="3398"/>
                </a:lnTo>
                <a:lnTo>
                  <a:pt x="1720" y="3399"/>
                </a:lnTo>
                <a:lnTo>
                  <a:pt x="1723" y="3399"/>
                </a:lnTo>
                <a:lnTo>
                  <a:pt x="1722" y="3398"/>
                </a:lnTo>
                <a:lnTo>
                  <a:pt x="1715" y="3394"/>
                </a:lnTo>
                <a:lnTo>
                  <a:pt x="1709" y="3390"/>
                </a:lnTo>
                <a:lnTo>
                  <a:pt x="1707" y="3388"/>
                </a:lnTo>
                <a:lnTo>
                  <a:pt x="1707" y="3387"/>
                </a:lnTo>
                <a:lnTo>
                  <a:pt x="1708" y="3387"/>
                </a:lnTo>
                <a:lnTo>
                  <a:pt x="1709" y="3386"/>
                </a:lnTo>
                <a:lnTo>
                  <a:pt x="1711" y="3386"/>
                </a:lnTo>
                <a:lnTo>
                  <a:pt x="1717" y="3387"/>
                </a:lnTo>
                <a:lnTo>
                  <a:pt x="1717" y="3383"/>
                </a:lnTo>
                <a:lnTo>
                  <a:pt x="1717" y="3379"/>
                </a:lnTo>
                <a:lnTo>
                  <a:pt x="1717" y="3374"/>
                </a:lnTo>
                <a:lnTo>
                  <a:pt x="1717" y="3370"/>
                </a:lnTo>
                <a:lnTo>
                  <a:pt x="1714" y="3368"/>
                </a:lnTo>
                <a:lnTo>
                  <a:pt x="1712" y="3367"/>
                </a:lnTo>
                <a:lnTo>
                  <a:pt x="1712" y="3366"/>
                </a:lnTo>
                <a:lnTo>
                  <a:pt x="1711" y="3365"/>
                </a:lnTo>
                <a:lnTo>
                  <a:pt x="1713" y="3365"/>
                </a:lnTo>
                <a:lnTo>
                  <a:pt x="1715" y="3364"/>
                </a:lnTo>
                <a:lnTo>
                  <a:pt x="1718" y="3363"/>
                </a:lnTo>
                <a:lnTo>
                  <a:pt x="1720" y="3362"/>
                </a:lnTo>
                <a:lnTo>
                  <a:pt x="1721" y="3362"/>
                </a:lnTo>
                <a:lnTo>
                  <a:pt x="1722" y="3362"/>
                </a:lnTo>
                <a:lnTo>
                  <a:pt x="1723" y="3364"/>
                </a:lnTo>
                <a:lnTo>
                  <a:pt x="1724" y="3365"/>
                </a:lnTo>
                <a:lnTo>
                  <a:pt x="1725" y="3366"/>
                </a:lnTo>
                <a:lnTo>
                  <a:pt x="1728" y="3367"/>
                </a:lnTo>
                <a:lnTo>
                  <a:pt x="1731" y="3363"/>
                </a:lnTo>
                <a:lnTo>
                  <a:pt x="1734" y="3359"/>
                </a:lnTo>
                <a:lnTo>
                  <a:pt x="1736" y="3359"/>
                </a:lnTo>
                <a:lnTo>
                  <a:pt x="1738" y="3359"/>
                </a:lnTo>
                <a:lnTo>
                  <a:pt x="1741" y="3361"/>
                </a:lnTo>
                <a:lnTo>
                  <a:pt x="1742" y="3362"/>
                </a:lnTo>
                <a:lnTo>
                  <a:pt x="1742" y="3363"/>
                </a:lnTo>
                <a:lnTo>
                  <a:pt x="1741" y="3364"/>
                </a:lnTo>
                <a:lnTo>
                  <a:pt x="1739" y="3365"/>
                </a:lnTo>
                <a:lnTo>
                  <a:pt x="1737" y="3368"/>
                </a:lnTo>
                <a:lnTo>
                  <a:pt x="1737" y="3367"/>
                </a:lnTo>
                <a:lnTo>
                  <a:pt x="1737" y="3366"/>
                </a:lnTo>
                <a:lnTo>
                  <a:pt x="1736" y="3364"/>
                </a:lnTo>
                <a:lnTo>
                  <a:pt x="1735" y="3364"/>
                </a:lnTo>
                <a:lnTo>
                  <a:pt x="1734" y="3365"/>
                </a:lnTo>
                <a:lnTo>
                  <a:pt x="1733" y="3367"/>
                </a:lnTo>
                <a:lnTo>
                  <a:pt x="1733" y="3370"/>
                </a:lnTo>
                <a:lnTo>
                  <a:pt x="1734" y="3376"/>
                </a:lnTo>
                <a:lnTo>
                  <a:pt x="1732" y="3375"/>
                </a:lnTo>
                <a:lnTo>
                  <a:pt x="1730" y="3373"/>
                </a:lnTo>
                <a:lnTo>
                  <a:pt x="1729" y="3371"/>
                </a:lnTo>
                <a:lnTo>
                  <a:pt x="1728" y="3370"/>
                </a:lnTo>
                <a:lnTo>
                  <a:pt x="1723" y="3374"/>
                </a:lnTo>
                <a:lnTo>
                  <a:pt x="1721" y="3376"/>
                </a:lnTo>
                <a:lnTo>
                  <a:pt x="1722" y="3376"/>
                </a:lnTo>
                <a:lnTo>
                  <a:pt x="1724" y="3387"/>
                </a:lnTo>
                <a:lnTo>
                  <a:pt x="1725" y="3396"/>
                </a:lnTo>
                <a:lnTo>
                  <a:pt x="1730" y="3395"/>
                </a:lnTo>
                <a:lnTo>
                  <a:pt x="1732" y="3396"/>
                </a:lnTo>
                <a:lnTo>
                  <a:pt x="1733" y="3397"/>
                </a:lnTo>
                <a:lnTo>
                  <a:pt x="1732" y="3398"/>
                </a:lnTo>
                <a:lnTo>
                  <a:pt x="1729" y="3398"/>
                </a:lnTo>
                <a:lnTo>
                  <a:pt x="1725" y="3398"/>
                </a:lnTo>
                <a:lnTo>
                  <a:pt x="1725" y="3403"/>
                </a:lnTo>
                <a:lnTo>
                  <a:pt x="1724" y="3406"/>
                </a:lnTo>
                <a:lnTo>
                  <a:pt x="1724" y="3409"/>
                </a:lnTo>
                <a:lnTo>
                  <a:pt x="1722" y="3412"/>
                </a:lnTo>
                <a:lnTo>
                  <a:pt x="1725" y="3414"/>
                </a:lnTo>
                <a:lnTo>
                  <a:pt x="1728" y="3415"/>
                </a:lnTo>
                <a:lnTo>
                  <a:pt x="1731" y="3415"/>
                </a:lnTo>
                <a:lnTo>
                  <a:pt x="1731" y="3416"/>
                </a:lnTo>
                <a:lnTo>
                  <a:pt x="1731" y="3415"/>
                </a:lnTo>
                <a:lnTo>
                  <a:pt x="1734" y="3415"/>
                </a:lnTo>
                <a:lnTo>
                  <a:pt x="1734" y="3421"/>
                </a:lnTo>
                <a:lnTo>
                  <a:pt x="1732" y="3420"/>
                </a:lnTo>
                <a:lnTo>
                  <a:pt x="1731" y="3421"/>
                </a:lnTo>
                <a:lnTo>
                  <a:pt x="1732" y="3422"/>
                </a:lnTo>
                <a:lnTo>
                  <a:pt x="1735" y="3423"/>
                </a:lnTo>
                <a:lnTo>
                  <a:pt x="1742" y="3427"/>
                </a:lnTo>
                <a:lnTo>
                  <a:pt x="1744" y="3426"/>
                </a:lnTo>
                <a:lnTo>
                  <a:pt x="1745" y="3425"/>
                </a:lnTo>
                <a:lnTo>
                  <a:pt x="1745" y="3424"/>
                </a:lnTo>
                <a:lnTo>
                  <a:pt x="1745" y="3422"/>
                </a:lnTo>
                <a:lnTo>
                  <a:pt x="1745" y="3421"/>
                </a:lnTo>
                <a:lnTo>
                  <a:pt x="1744" y="3420"/>
                </a:lnTo>
                <a:lnTo>
                  <a:pt x="1743" y="3419"/>
                </a:lnTo>
                <a:lnTo>
                  <a:pt x="1742" y="3418"/>
                </a:lnTo>
                <a:lnTo>
                  <a:pt x="1745" y="3410"/>
                </a:lnTo>
                <a:lnTo>
                  <a:pt x="1739" y="3409"/>
                </a:lnTo>
                <a:lnTo>
                  <a:pt x="1737" y="3408"/>
                </a:lnTo>
                <a:lnTo>
                  <a:pt x="1737" y="3407"/>
                </a:lnTo>
                <a:lnTo>
                  <a:pt x="1738" y="3406"/>
                </a:lnTo>
                <a:lnTo>
                  <a:pt x="1742" y="3404"/>
                </a:lnTo>
                <a:lnTo>
                  <a:pt x="1743" y="3404"/>
                </a:lnTo>
                <a:lnTo>
                  <a:pt x="1742" y="3404"/>
                </a:lnTo>
                <a:lnTo>
                  <a:pt x="1743" y="3402"/>
                </a:lnTo>
                <a:lnTo>
                  <a:pt x="1745" y="3401"/>
                </a:lnTo>
                <a:lnTo>
                  <a:pt x="1746" y="3401"/>
                </a:lnTo>
                <a:lnTo>
                  <a:pt x="1748" y="3401"/>
                </a:lnTo>
                <a:lnTo>
                  <a:pt x="1748" y="3403"/>
                </a:lnTo>
                <a:lnTo>
                  <a:pt x="1749" y="3407"/>
                </a:lnTo>
                <a:lnTo>
                  <a:pt x="1750" y="3410"/>
                </a:lnTo>
                <a:lnTo>
                  <a:pt x="1750" y="3412"/>
                </a:lnTo>
                <a:lnTo>
                  <a:pt x="1751" y="3412"/>
                </a:lnTo>
                <a:lnTo>
                  <a:pt x="1754" y="3414"/>
                </a:lnTo>
                <a:lnTo>
                  <a:pt x="1758" y="3414"/>
                </a:lnTo>
                <a:lnTo>
                  <a:pt x="1765" y="3415"/>
                </a:lnTo>
                <a:lnTo>
                  <a:pt x="1764" y="3419"/>
                </a:lnTo>
                <a:lnTo>
                  <a:pt x="1765" y="3424"/>
                </a:lnTo>
                <a:lnTo>
                  <a:pt x="1757" y="3421"/>
                </a:lnTo>
                <a:lnTo>
                  <a:pt x="1748" y="3418"/>
                </a:lnTo>
                <a:lnTo>
                  <a:pt x="1751" y="3423"/>
                </a:lnTo>
                <a:lnTo>
                  <a:pt x="1753" y="3429"/>
                </a:lnTo>
                <a:lnTo>
                  <a:pt x="1756" y="3429"/>
                </a:lnTo>
                <a:lnTo>
                  <a:pt x="1760" y="3428"/>
                </a:lnTo>
                <a:lnTo>
                  <a:pt x="1765" y="3427"/>
                </a:lnTo>
                <a:lnTo>
                  <a:pt x="1772" y="3427"/>
                </a:lnTo>
                <a:lnTo>
                  <a:pt x="1773" y="3427"/>
                </a:lnTo>
                <a:lnTo>
                  <a:pt x="1773" y="3428"/>
                </a:lnTo>
                <a:lnTo>
                  <a:pt x="1771" y="3429"/>
                </a:lnTo>
                <a:lnTo>
                  <a:pt x="1766" y="3431"/>
                </a:lnTo>
                <a:lnTo>
                  <a:pt x="1754" y="3434"/>
                </a:lnTo>
                <a:lnTo>
                  <a:pt x="1748" y="3435"/>
                </a:lnTo>
                <a:lnTo>
                  <a:pt x="1748" y="3443"/>
                </a:lnTo>
                <a:lnTo>
                  <a:pt x="1750" y="3443"/>
                </a:lnTo>
                <a:lnTo>
                  <a:pt x="1751" y="3443"/>
                </a:lnTo>
                <a:lnTo>
                  <a:pt x="1751" y="3442"/>
                </a:lnTo>
                <a:lnTo>
                  <a:pt x="1750" y="3440"/>
                </a:lnTo>
                <a:lnTo>
                  <a:pt x="1750" y="3439"/>
                </a:lnTo>
                <a:lnTo>
                  <a:pt x="1751" y="3438"/>
                </a:lnTo>
                <a:lnTo>
                  <a:pt x="1755" y="3439"/>
                </a:lnTo>
                <a:lnTo>
                  <a:pt x="1758" y="3439"/>
                </a:lnTo>
                <a:lnTo>
                  <a:pt x="1762" y="3440"/>
                </a:lnTo>
                <a:lnTo>
                  <a:pt x="1767" y="3441"/>
                </a:lnTo>
                <a:lnTo>
                  <a:pt x="1767" y="3446"/>
                </a:lnTo>
                <a:lnTo>
                  <a:pt x="1771" y="3446"/>
                </a:lnTo>
                <a:lnTo>
                  <a:pt x="1775" y="3446"/>
                </a:lnTo>
                <a:lnTo>
                  <a:pt x="1778" y="3446"/>
                </a:lnTo>
                <a:lnTo>
                  <a:pt x="1782" y="3446"/>
                </a:lnTo>
                <a:lnTo>
                  <a:pt x="1782" y="3447"/>
                </a:lnTo>
                <a:lnTo>
                  <a:pt x="1782" y="3449"/>
                </a:lnTo>
                <a:lnTo>
                  <a:pt x="1782" y="3450"/>
                </a:lnTo>
                <a:lnTo>
                  <a:pt x="1784" y="3452"/>
                </a:lnTo>
                <a:lnTo>
                  <a:pt x="1790" y="3449"/>
                </a:lnTo>
                <a:lnTo>
                  <a:pt x="1790" y="3450"/>
                </a:lnTo>
                <a:lnTo>
                  <a:pt x="1790" y="3452"/>
                </a:lnTo>
                <a:lnTo>
                  <a:pt x="1790" y="3453"/>
                </a:lnTo>
                <a:lnTo>
                  <a:pt x="1788" y="3454"/>
                </a:lnTo>
                <a:lnTo>
                  <a:pt x="1786" y="3454"/>
                </a:lnTo>
                <a:lnTo>
                  <a:pt x="1782" y="3455"/>
                </a:lnTo>
                <a:lnTo>
                  <a:pt x="1785" y="3459"/>
                </a:lnTo>
                <a:lnTo>
                  <a:pt x="1787" y="3463"/>
                </a:lnTo>
                <a:lnTo>
                  <a:pt x="1790" y="3464"/>
                </a:lnTo>
                <a:lnTo>
                  <a:pt x="1793" y="3464"/>
                </a:lnTo>
                <a:lnTo>
                  <a:pt x="1796" y="3466"/>
                </a:lnTo>
                <a:lnTo>
                  <a:pt x="1799" y="3466"/>
                </a:lnTo>
                <a:lnTo>
                  <a:pt x="1800" y="3466"/>
                </a:lnTo>
                <a:lnTo>
                  <a:pt x="1801" y="3465"/>
                </a:lnTo>
                <a:lnTo>
                  <a:pt x="1800" y="3463"/>
                </a:lnTo>
                <a:lnTo>
                  <a:pt x="1799" y="3462"/>
                </a:lnTo>
                <a:lnTo>
                  <a:pt x="1799" y="3460"/>
                </a:lnTo>
                <a:lnTo>
                  <a:pt x="1799" y="3459"/>
                </a:lnTo>
                <a:lnTo>
                  <a:pt x="1800" y="3458"/>
                </a:lnTo>
                <a:lnTo>
                  <a:pt x="1801" y="3457"/>
                </a:lnTo>
                <a:lnTo>
                  <a:pt x="1803" y="3457"/>
                </a:lnTo>
                <a:lnTo>
                  <a:pt x="1806" y="3457"/>
                </a:lnTo>
                <a:lnTo>
                  <a:pt x="1812" y="3458"/>
                </a:lnTo>
                <a:lnTo>
                  <a:pt x="1814" y="3458"/>
                </a:lnTo>
                <a:lnTo>
                  <a:pt x="1815" y="3458"/>
                </a:lnTo>
                <a:lnTo>
                  <a:pt x="1815" y="3457"/>
                </a:lnTo>
                <a:lnTo>
                  <a:pt x="1812" y="3455"/>
                </a:lnTo>
                <a:lnTo>
                  <a:pt x="1812" y="3449"/>
                </a:lnTo>
                <a:lnTo>
                  <a:pt x="1807" y="3448"/>
                </a:lnTo>
                <a:lnTo>
                  <a:pt x="1804" y="3446"/>
                </a:lnTo>
                <a:lnTo>
                  <a:pt x="1807" y="3447"/>
                </a:lnTo>
                <a:lnTo>
                  <a:pt x="1810" y="3446"/>
                </a:lnTo>
                <a:lnTo>
                  <a:pt x="1813" y="3446"/>
                </a:lnTo>
                <a:lnTo>
                  <a:pt x="1814" y="3446"/>
                </a:lnTo>
                <a:lnTo>
                  <a:pt x="1815" y="3446"/>
                </a:lnTo>
                <a:lnTo>
                  <a:pt x="1824" y="3460"/>
                </a:lnTo>
                <a:lnTo>
                  <a:pt x="1829" y="3460"/>
                </a:lnTo>
                <a:lnTo>
                  <a:pt x="1831" y="3459"/>
                </a:lnTo>
                <a:lnTo>
                  <a:pt x="1831" y="3457"/>
                </a:lnTo>
                <a:lnTo>
                  <a:pt x="1833" y="3455"/>
                </a:lnTo>
                <a:lnTo>
                  <a:pt x="1835" y="3455"/>
                </a:lnTo>
                <a:lnTo>
                  <a:pt x="1836" y="3450"/>
                </a:lnTo>
                <a:lnTo>
                  <a:pt x="1836" y="3448"/>
                </a:lnTo>
                <a:lnTo>
                  <a:pt x="1838" y="3446"/>
                </a:lnTo>
                <a:lnTo>
                  <a:pt x="1840" y="3445"/>
                </a:lnTo>
                <a:lnTo>
                  <a:pt x="1842" y="3445"/>
                </a:lnTo>
                <a:lnTo>
                  <a:pt x="1846" y="3444"/>
                </a:lnTo>
                <a:lnTo>
                  <a:pt x="1851" y="3444"/>
                </a:lnTo>
                <a:lnTo>
                  <a:pt x="1855" y="3444"/>
                </a:lnTo>
                <a:lnTo>
                  <a:pt x="1862" y="3446"/>
                </a:lnTo>
                <a:lnTo>
                  <a:pt x="1866" y="3446"/>
                </a:lnTo>
                <a:lnTo>
                  <a:pt x="1869" y="3446"/>
                </a:lnTo>
                <a:lnTo>
                  <a:pt x="1868" y="3445"/>
                </a:lnTo>
                <a:lnTo>
                  <a:pt x="1867" y="3442"/>
                </a:lnTo>
                <a:lnTo>
                  <a:pt x="1867" y="3439"/>
                </a:lnTo>
                <a:lnTo>
                  <a:pt x="1866" y="3438"/>
                </a:lnTo>
                <a:lnTo>
                  <a:pt x="1863" y="3437"/>
                </a:lnTo>
                <a:lnTo>
                  <a:pt x="1861" y="3436"/>
                </a:lnTo>
                <a:lnTo>
                  <a:pt x="1855" y="3436"/>
                </a:lnTo>
                <a:lnTo>
                  <a:pt x="1849" y="3436"/>
                </a:lnTo>
                <a:lnTo>
                  <a:pt x="1846" y="3436"/>
                </a:lnTo>
                <a:lnTo>
                  <a:pt x="1843" y="3435"/>
                </a:lnTo>
                <a:lnTo>
                  <a:pt x="1815" y="3410"/>
                </a:lnTo>
                <a:lnTo>
                  <a:pt x="1815" y="3407"/>
                </a:lnTo>
                <a:lnTo>
                  <a:pt x="1814" y="3404"/>
                </a:lnTo>
                <a:lnTo>
                  <a:pt x="1815" y="3398"/>
                </a:lnTo>
                <a:lnTo>
                  <a:pt x="1815" y="3393"/>
                </a:lnTo>
                <a:lnTo>
                  <a:pt x="1816" y="3391"/>
                </a:lnTo>
                <a:lnTo>
                  <a:pt x="1815" y="3390"/>
                </a:lnTo>
                <a:lnTo>
                  <a:pt x="1810" y="3387"/>
                </a:lnTo>
                <a:lnTo>
                  <a:pt x="1793" y="3382"/>
                </a:lnTo>
                <a:lnTo>
                  <a:pt x="1794" y="3380"/>
                </a:lnTo>
                <a:lnTo>
                  <a:pt x="1796" y="3376"/>
                </a:lnTo>
                <a:lnTo>
                  <a:pt x="1797" y="3373"/>
                </a:lnTo>
                <a:lnTo>
                  <a:pt x="1798" y="3370"/>
                </a:lnTo>
                <a:lnTo>
                  <a:pt x="1803" y="3370"/>
                </a:lnTo>
                <a:lnTo>
                  <a:pt x="1804" y="3371"/>
                </a:lnTo>
                <a:lnTo>
                  <a:pt x="1805" y="3371"/>
                </a:lnTo>
                <a:lnTo>
                  <a:pt x="1805" y="3372"/>
                </a:lnTo>
                <a:lnTo>
                  <a:pt x="1804" y="3373"/>
                </a:lnTo>
                <a:lnTo>
                  <a:pt x="1812" y="3373"/>
                </a:lnTo>
                <a:lnTo>
                  <a:pt x="1811" y="3372"/>
                </a:lnTo>
                <a:lnTo>
                  <a:pt x="1811" y="3368"/>
                </a:lnTo>
                <a:lnTo>
                  <a:pt x="1810" y="3359"/>
                </a:lnTo>
                <a:lnTo>
                  <a:pt x="1798" y="3359"/>
                </a:lnTo>
                <a:lnTo>
                  <a:pt x="1800" y="3358"/>
                </a:lnTo>
                <a:lnTo>
                  <a:pt x="1802" y="3357"/>
                </a:lnTo>
                <a:lnTo>
                  <a:pt x="1802" y="3356"/>
                </a:lnTo>
                <a:lnTo>
                  <a:pt x="1803" y="3355"/>
                </a:lnTo>
                <a:lnTo>
                  <a:pt x="1803" y="3351"/>
                </a:lnTo>
                <a:lnTo>
                  <a:pt x="1803" y="3347"/>
                </a:lnTo>
                <a:lnTo>
                  <a:pt x="1802" y="3343"/>
                </a:lnTo>
                <a:lnTo>
                  <a:pt x="1802" y="3338"/>
                </a:lnTo>
                <a:lnTo>
                  <a:pt x="1802" y="3336"/>
                </a:lnTo>
                <a:lnTo>
                  <a:pt x="1802" y="3334"/>
                </a:lnTo>
                <a:lnTo>
                  <a:pt x="1803" y="3333"/>
                </a:lnTo>
                <a:lnTo>
                  <a:pt x="1804" y="3331"/>
                </a:lnTo>
                <a:lnTo>
                  <a:pt x="1805" y="3330"/>
                </a:lnTo>
                <a:lnTo>
                  <a:pt x="1806" y="3329"/>
                </a:lnTo>
                <a:lnTo>
                  <a:pt x="1810" y="3328"/>
                </a:lnTo>
                <a:lnTo>
                  <a:pt x="1813" y="3327"/>
                </a:lnTo>
                <a:lnTo>
                  <a:pt x="1815" y="3325"/>
                </a:lnTo>
                <a:lnTo>
                  <a:pt x="1813" y="3321"/>
                </a:lnTo>
                <a:lnTo>
                  <a:pt x="1812" y="3320"/>
                </a:lnTo>
                <a:lnTo>
                  <a:pt x="1810" y="3319"/>
                </a:lnTo>
                <a:lnTo>
                  <a:pt x="1807" y="3317"/>
                </a:lnTo>
                <a:lnTo>
                  <a:pt x="1808" y="3314"/>
                </a:lnTo>
                <a:lnTo>
                  <a:pt x="1809" y="3311"/>
                </a:lnTo>
                <a:lnTo>
                  <a:pt x="1810" y="3309"/>
                </a:lnTo>
                <a:lnTo>
                  <a:pt x="1810" y="3306"/>
                </a:lnTo>
                <a:lnTo>
                  <a:pt x="1813" y="3308"/>
                </a:lnTo>
                <a:lnTo>
                  <a:pt x="1814" y="3310"/>
                </a:lnTo>
                <a:lnTo>
                  <a:pt x="1815" y="3311"/>
                </a:lnTo>
                <a:lnTo>
                  <a:pt x="1815" y="3317"/>
                </a:lnTo>
                <a:lnTo>
                  <a:pt x="1823" y="3314"/>
                </a:lnTo>
                <a:lnTo>
                  <a:pt x="1826" y="3314"/>
                </a:lnTo>
                <a:lnTo>
                  <a:pt x="1829" y="3314"/>
                </a:lnTo>
                <a:lnTo>
                  <a:pt x="1829" y="3308"/>
                </a:lnTo>
                <a:lnTo>
                  <a:pt x="1829" y="3303"/>
                </a:lnTo>
                <a:lnTo>
                  <a:pt x="1829" y="3299"/>
                </a:lnTo>
                <a:lnTo>
                  <a:pt x="1830" y="3295"/>
                </a:lnTo>
                <a:lnTo>
                  <a:pt x="1831" y="3291"/>
                </a:lnTo>
                <a:lnTo>
                  <a:pt x="1833" y="3287"/>
                </a:lnTo>
                <a:lnTo>
                  <a:pt x="1835" y="3284"/>
                </a:lnTo>
                <a:lnTo>
                  <a:pt x="1838" y="3281"/>
                </a:lnTo>
                <a:lnTo>
                  <a:pt x="1843" y="3275"/>
                </a:lnTo>
                <a:lnTo>
                  <a:pt x="1850" y="3270"/>
                </a:lnTo>
                <a:lnTo>
                  <a:pt x="1866" y="3258"/>
                </a:lnTo>
                <a:lnTo>
                  <a:pt x="1864" y="3256"/>
                </a:lnTo>
                <a:lnTo>
                  <a:pt x="1862" y="3254"/>
                </a:lnTo>
                <a:lnTo>
                  <a:pt x="1861" y="3252"/>
                </a:lnTo>
                <a:lnTo>
                  <a:pt x="1860" y="3251"/>
                </a:lnTo>
                <a:lnTo>
                  <a:pt x="1860" y="3248"/>
                </a:lnTo>
                <a:lnTo>
                  <a:pt x="1861" y="3245"/>
                </a:lnTo>
                <a:lnTo>
                  <a:pt x="1862" y="3242"/>
                </a:lnTo>
                <a:lnTo>
                  <a:pt x="1862" y="3239"/>
                </a:lnTo>
                <a:lnTo>
                  <a:pt x="1861" y="3237"/>
                </a:lnTo>
                <a:lnTo>
                  <a:pt x="1861" y="3236"/>
                </a:lnTo>
                <a:lnTo>
                  <a:pt x="1859" y="3234"/>
                </a:lnTo>
                <a:lnTo>
                  <a:pt x="1857" y="3232"/>
                </a:lnTo>
                <a:lnTo>
                  <a:pt x="1856" y="3232"/>
                </a:lnTo>
                <a:lnTo>
                  <a:pt x="1855" y="3232"/>
                </a:lnTo>
                <a:lnTo>
                  <a:pt x="1852" y="3232"/>
                </a:lnTo>
                <a:lnTo>
                  <a:pt x="1849" y="3233"/>
                </a:lnTo>
                <a:lnTo>
                  <a:pt x="1846" y="3232"/>
                </a:lnTo>
                <a:lnTo>
                  <a:pt x="1845" y="3231"/>
                </a:lnTo>
                <a:lnTo>
                  <a:pt x="1843" y="3228"/>
                </a:lnTo>
                <a:lnTo>
                  <a:pt x="1841" y="3224"/>
                </a:lnTo>
                <a:lnTo>
                  <a:pt x="1835" y="3219"/>
                </a:lnTo>
                <a:lnTo>
                  <a:pt x="1831" y="3215"/>
                </a:lnTo>
                <a:lnTo>
                  <a:pt x="1830" y="3213"/>
                </a:lnTo>
                <a:lnTo>
                  <a:pt x="1830" y="3212"/>
                </a:lnTo>
                <a:lnTo>
                  <a:pt x="1829" y="3208"/>
                </a:lnTo>
                <a:lnTo>
                  <a:pt x="1830" y="3207"/>
                </a:lnTo>
                <a:lnTo>
                  <a:pt x="1831" y="3205"/>
                </a:lnTo>
                <a:lnTo>
                  <a:pt x="1832" y="3203"/>
                </a:lnTo>
                <a:lnTo>
                  <a:pt x="1833" y="3201"/>
                </a:lnTo>
                <a:lnTo>
                  <a:pt x="1841" y="3193"/>
                </a:lnTo>
                <a:lnTo>
                  <a:pt x="1855" y="3176"/>
                </a:lnTo>
                <a:lnTo>
                  <a:pt x="1857" y="3176"/>
                </a:lnTo>
                <a:lnTo>
                  <a:pt x="1859" y="3176"/>
                </a:lnTo>
                <a:lnTo>
                  <a:pt x="1863" y="3178"/>
                </a:lnTo>
                <a:lnTo>
                  <a:pt x="1866" y="3179"/>
                </a:lnTo>
                <a:lnTo>
                  <a:pt x="1867" y="3180"/>
                </a:lnTo>
                <a:lnTo>
                  <a:pt x="1869" y="3179"/>
                </a:lnTo>
                <a:lnTo>
                  <a:pt x="1869" y="3175"/>
                </a:lnTo>
                <a:lnTo>
                  <a:pt x="1869" y="3171"/>
                </a:lnTo>
                <a:lnTo>
                  <a:pt x="1868" y="3171"/>
                </a:lnTo>
                <a:lnTo>
                  <a:pt x="1867" y="3171"/>
                </a:lnTo>
                <a:lnTo>
                  <a:pt x="1866" y="3169"/>
                </a:lnTo>
                <a:lnTo>
                  <a:pt x="1865" y="3167"/>
                </a:lnTo>
                <a:lnTo>
                  <a:pt x="1865" y="3166"/>
                </a:lnTo>
                <a:lnTo>
                  <a:pt x="1866" y="3165"/>
                </a:lnTo>
                <a:lnTo>
                  <a:pt x="1868" y="3164"/>
                </a:lnTo>
                <a:lnTo>
                  <a:pt x="1869" y="3163"/>
                </a:lnTo>
                <a:lnTo>
                  <a:pt x="1874" y="3162"/>
                </a:lnTo>
                <a:lnTo>
                  <a:pt x="1875" y="3144"/>
                </a:lnTo>
                <a:lnTo>
                  <a:pt x="1875" y="3140"/>
                </a:lnTo>
                <a:lnTo>
                  <a:pt x="1875" y="3136"/>
                </a:lnTo>
                <a:lnTo>
                  <a:pt x="1876" y="3132"/>
                </a:lnTo>
                <a:lnTo>
                  <a:pt x="1877" y="3128"/>
                </a:lnTo>
                <a:lnTo>
                  <a:pt x="1883" y="3126"/>
                </a:lnTo>
                <a:lnTo>
                  <a:pt x="1885" y="3125"/>
                </a:lnTo>
                <a:lnTo>
                  <a:pt x="1888" y="3124"/>
                </a:lnTo>
                <a:lnTo>
                  <a:pt x="1889" y="3123"/>
                </a:lnTo>
                <a:lnTo>
                  <a:pt x="1890" y="3121"/>
                </a:lnTo>
                <a:lnTo>
                  <a:pt x="1890" y="3120"/>
                </a:lnTo>
                <a:lnTo>
                  <a:pt x="1889" y="3119"/>
                </a:lnTo>
                <a:lnTo>
                  <a:pt x="1888" y="3118"/>
                </a:lnTo>
                <a:lnTo>
                  <a:pt x="1885" y="3117"/>
                </a:lnTo>
                <a:lnTo>
                  <a:pt x="1880" y="3117"/>
                </a:lnTo>
                <a:lnTo>
                  <a:pt x="1882" y="3114"/>
                </a:lnTo>
                <a:lnTo>
                  <a:pt x="1883" y="3112"/>
                </a:lnTo>
                <a:lnTo>
                  <a:pt x="1883" y="3111"/>
                </a:lnTo>
                <a:lnTo>
                  <a:pt x="1885" y="3112"/>
                </a:lnTo>
                <a:lnTo>
                  <a:pt x="1888" y="3112"/>
                </a:lnTo>
                <a:lnTo>
                  <a:pt x="1891" y="3111"/>
                </a:lnTo>
                <a:lnTo>
                  <a:pt x="1894" y="3111"/>
                </a:lnTo>
                <a:lnTo>
                  <a:pt x="1896" y="3113"/>
                </a:lnTo>
                <a:lnTo>
                  <a:pt x="1897" y="3114"/>
                </a:lnTo>
                <a:lnTo>
                  <a:pt x="1898" y="3118"/>
                </a:lnTo>
                <a:lnTo>
                  <a:pt x="1899" y="3119"/>
                </a:lnTo>
                <a:lnTo>
                  <a:pt x="1900" y="3119"/>
                </a:lnTo>
                <a:lnTo>
                  <a:pt x="1902" y="3119"/>
                </a:lnTo>
                <a:lnTo>
                  <a:pt x="1905" y="3117"/>
                </a:lnTo>
                <a:lnTo>
                  <a:pt x="1907" y="3116"/>
                </a:lnTo>
                <a:lnTo>
                  <a:pt x="1907" y="3114"/>
                </a:lnTo>
                <a:lnTo>
                  <a:pt x="1907" y="3112"/>
                </a:lnTo>
                <a:lnTo>
                  <a:pt x="1907" y="3110"/>
                </a:lnTo>
                <a:lnTo>
                  <a:pt x="1906" y="3107"/>
                </a:lnTo>
                <a:lnTo>
                  <a:pt x="1905" y="3105"/>
                </a:lnTo>
                <a:lnTo>
                  <a:pt x="1905" y="3103"/>
                </a:lnTo>
                <a:lnTo>
                  <a:pt x="1901" y="3105"/>
                </a:lnTo>
                <a:lnTo>
                  <a:pt x="1897" y="3106"/>
                </a:lnTo>
                <a:lnTo>
                  <a:pt x="1894" y="3106"/>
                </a:lnTo>
                <a:lnTo>
                  <a:pt x="1888" y="3104"/>
                </a:lnTo>
                <a:lnTo>
                  <a:pt x="1883" y="3103"/>
                </a:lnTo>
                <a:lnTo>
                  <a:pt x="1883" y="3089"/>
                </a:lnTo>
                <a:lnTo>
                  <a:pt x="1882" y="3088"/>
                </a:lnTo>
                <a:lnTo>
                  <a:pt x="1879" y="3087"/>
                </a:lnTo>
                <a:lnTo>
                  <a:pt x="1877" y="3087"/>
                </a:lnTo>
                <a:lnTo>
                  <a:pt x="1874" y="3086"/>
                </a:lnTo>
                <a:lnTo>
                  <a:pt x="1880" y="3066"/>
                </a:lnTo>
                <a:lnTo>
                  <a:pt x="1881" y="3067"/>
                </a:lnTo>
                <a:lnTo>
                  <a:pt x="1883" y="3068"/>
                </a:lnTo>
                <a:lnTo>
                  <a:pt x="1886" y="3068"/>
                </a:lnTo>
                <a:lnTo>
                  <a:pt x="1888" y="3068"/>
                </a:lnTo>
                <a:lnTo>
                  <a:pt x="1890" y="3068"/>
                </a:lnTo>
                <a:lnTo>
                  <a:pt x="1891" y="3069"/>
                </a:lnTo>
                <a:lnTo>
                  <a:pt x="1893" y="3071"/>
                </a:lnTo>
                <a:lnTo>
                  <a:pt x="1893" y="3073"/>
                </a:lnTo>
                <a:lnTo>
                  <a:pt x="1893" y="3075"/>
                </a:lnTo>
                <a:lnTo>
                  <a:pt x="1894" y="3078"/>
                </a:lnTo>
                <a:lnTo>
                  <a:pt x="1903" y="3078"/>
                </a:lnTo>
                <a:lnTo>
                  <a:pt x="1909" y="3078"/>
                </a:lnTo>
                <a:lnTo>
                  <a:pt x="1911" y="3078"/>
                </a:lnTo>
                <a:lnTo>
                  <a:pt x="1913" y="3076"/>
                </a:lnTo>
                <a:lnTo>
                  <a:pt x="1919" y="3072"/>
                </a:lnTo>
                <a:lnTo>
                  <a:pt x="1924" y="3069"/>
                </a:lnTo>
                <a:lnTo>
                  <a:pt x="1926" y="3068"/>
                </a:lnTo>
                <a:lnTo>
                  <a:pt x="1928" y="3066"/>
                </a:lnTo>
                <a:lnTo>
                  <a:pt x="1929" y="3050"/>
                </a:lnTo>
                <a:lnTo>
                  <a:pt x="1930" y="3038"/>
                </a:lnTo>
                <a:lnTo>
                  <a:pt x="1931" y="3030"/>
                </a:lnTo>
                <a:lnTo>
                  <a:pt x="1926" y="3027"/>
                </a:lnTo>
                <a:lnTo>
                  <a:pt x="1922" y="3024"/>
                </a:lnTo>
                <a:lnTo>
                  <a:pt x="1922" y="3022"/>
                </a:lnTo>
                <a:lnTo>
                  <a:pt x="1922" y="3020"/>
                </a:lnTo>
                <a:lnTo>
                  <a:pt x="1923" y="3017"/>
                </a:lnTo>
                <a:lnTo>
                  <a:pt x="1925" y="3015"/>
                </a:lnTo>
                <a:lnTo>
                  <a:pt x="1925" y="3014"/>
                </a:lnTo>
                <a:lnTo>
                  <a:pt x="1925" y="3013"/>
                </a:lnTo>
                <a:lnTo>
                  <a:pt x="1927" y="3015"/>
                </a:lnTo>
                <a:lnTo>
                  <a:pt x="1929" y="3017"/>
                </a:lnTo>
                <a:lnTo>
                  <a:pt x="1931" y="3020"/>
                </a:lnTo>
                <a:lnTo>
                  <a:pt x="1933" y="3021"/>
                </a:lnTo>
                <a:lnTo>
                  <a:pt x="1935" y="3021"/>
                </a:lnTo>
                <a:lnTo>
                  <a:pt x="1938" y="3019"/>
                </a:lnTo>
                <a:lnTo>
                  <a:pt x="1942" y="3016"/>
                </a:lnTo>
                <a:lnTo>
                  <a:pt x="1951" y="3014"/>
                </a:lnTo>
                <a:lnTo>
                  <a:pt x="1959" y="3013"/>
                </a:lnTo>
                <a:lnTo>
                  <a:pt x="1974" y="3011"/>
                </a:lnTo>
                <a:lnTo>
                  <a:pt x="1981" y="3010"/>
                </a:lnTo>
                <a:lnTo>
                  <a:pt x="1987" y="3008"/>
                </a:lnTo>
                <a:lnTo>
                  <a:pt x="1994" y="3005"/>
                </a:lnTo>
                <a:lnTo>
                  <a:pt x="2001" y="3002"/>
                </a:lnTo>
                <a:lnTo>
                  <a:pt x="2004" y="3000"/>
                </a:lnTo>
                <a:lnTo>
                  <a:pt x="2007" y="2997"/>
                </a:lnTo>
                <a:lnTo>
                  <a:pt x="2009" y="2995"/>
                </a:lnTo>
                <a:lnTo>
                  <a:pt x="2011" y="2992"/>
                </a:lnTo>
                <a:lnTo>
                  <a:pt x="2015" y="2987"/>
                </a:lnTo>
                <a:lnTo>
                  <a:pt x="2018" y="2981"/>
                </a:lnTo>
                <a:lnTo>
                  <a:pt x="2020" y="2974"/>
                </a:lnTo>
                <a:lnTo>
                  <a:pt x="2022" y="2967"/>
                </a:lnTo>
                <a:lnTo>
                  <a:pt x="2026" y="2951"/>
                </a:lnTo>
                <a:lnTo>
                  <a:pt x="2024" y="2950"/>
                </a:lnTo>
                <a:lnTo>
                  <a:pt x="2022" y="2950"/>
                </a:lnTo>
                <a:lnTo>
                  <a:pt x="2018" y="2949"/>
                </a:lnTo>
                <a:lnTo>
                  <a:pt x="2014" y="2948"/>
                </a:lnTo>
                <a:lnTo>
                  <a:pt x="2013" y="2947"/>
                </a:lnTo>
                <a:lnTo>
                  <a:pt x="2012" y="2945"/>
                </a:lnTo>
                <a:lnTo>
                  <a:pt x="2011" y="2943"/>
                </a:lnTo>
                <a:lnTo>
                  <a:pt x="2011" y="2940"/>
                </a:lnTo>
                <a:lnTo>
                  <a:pt x="2012" y="2938"/>
                </a:lnTo>
                <a:lnTo>
                  <a:pt x="2013" y="2936"/>
                </a:lnTo>
                <a:lnTo>
                  <a:pt x="2015" y="2933"/>
                </a:lnTo>
                <a:lnTo>
                  <a:pt x="2015" y="2931"/>
                </a:lnTo>
                <a:lnTo>
                  <a:pt x="2015" y="2929"/>
                </a:lnTo>
                <a:lnTo>
                  <a:pt x="2014" y="2927"/>
                </a:lnTo>
                <a:lnTo>
                  <a:pt x="2012" y="2924"/>
                </a:lnTo>
                <a:lnTo>
                  <a:pt x="2007" y="2919"/>
                </a:lnTo>
                <a:lnTo>
                  <a:pt x="2002" y="2914"/>
                </a:lnTo>
                <a:lnTo>
                  <a:pt x="1998" y="2909"/>
                </a:lnTo>
                <a:lnTo>
                  <a:pt x="1993" y="2899"/>
                </a:lnTo>
                <a:lnTo>
                  <a:pt x="1990" y="2892"/>
                </a:lnTo>
                <a:lnTo>
                  <a:pt x="1990" y="2890"/>
                </a:lnTo>
                <a:lnTo>
                  <a:pt x="1990" y="2889"/>
                </a:lnTo>
                <a:lnTo>
                  <a:pt x="1991" y="2889"/>
                </a:lnTo>
                <a:lnTo>
                  <a:pt x="1992" y="2888"/>
                </a:lnTo>
                <a:lnTo>
                  <a:pt x="1993" y="2886"/>
                </a:lnTo>
                <a:lnTo>
                  <a:pt x="1993" y="2884"/>
                </a:lnTo>
                <a:lnTo>
                  <a:pt x="1993" y="2879"/>
                </a:lnTo>
                <a:lnTo>
                  <a:pt x="1992" y="2875"/>
                </a:lnTo>
                <a:lnTo>
                  <a:pt x="1995" y="2869"/>
                </a:lnTo>
                <a:lnTo>
                  <a:pt x="1994" y="2869"/>
                </a:lnTo>
                <a:lnTo>
                  <a:pt x="1994" y="2867"/>
                </a:lnTo>
                <a:lnTo>
                  <a:pt x="1995" y="2866"/>
                </a:lnTo>
                <a:lnTo>
                  <a:pt x="1995" y="2865"/>
                </a:lnTo>
                <a:lnTo>
                  <a:pt x="1998" y="2861"/>
                </a:lnTo>
                <a:lnTo>
                  <a:pt x="1999" y="2863"/>
                </a:lnTo>
                <a:lnTo>
                  <a:pt x="2001" y="2868"/>
                </a:lnTo>
                <a:lnTo>
                  <a:pt x="2001" y="2870"/>
                </a:lnTo>
                <a:lnTo>
                  <a:pt x="2001" y="2872"/>
                </a:lnTo>
                <a:lnTo>
                  <a:pt x="2000" y="2873"/>
                </a:lnTo>
                <a:lnTo>
                  <a:pt x="1998" y="2872"/>
                </a:lnTo>
                <a:lnTo>
                  <a:pt x="1999" y="2888"/>
                </a:lnTo>
                <a:lnTo>
                  <a:pt x="2001" y="2900"/>
                </a:lnTo>
                <a:lnTo>
                  <a:pt x="2004" y="2901"/>
                </a:lnTo>
                <a:lnTo>
                  <a:pt x="2008" y="2902"/>
                </a:lnTo>
                <a:lnTo>
                  <a:pt x="2011" y="2902"/>
                </a:lnTo>
                <a:lnTo>
                  <a:pt x="2013" y="2902"/>
                </a:lnTo>
                <a:lnTo>
                  <a:pt x="2015" y="2903"/>
                </a:lnTo>
                <a:lnTo>
                  <a:pt x="2016" y="2905"/>
                </a:lnTo>
                <a:lnTo>
                  <a:pt x="2018" y="2907"/>
                </a:lnTo>
                <a:lnTo>
                  <a:pt x="2019" y="2910"/>
                </a:lnTo>
                <a:lnTo>
                  <a:pt x="2021" y="2912"/>
                </a:lnTo>
                <a:lnTo>
                  <a:pt x="2025" y="2914"/>
                </a:lnTo>
                <a:lnTo>
                  <a:pt x="2029" y="2915"/>
                </a:lnTo>
                <a:lnTo>
                  <a:pt x="2032" y="2916"/>
                </a:lnTo>
                <a:lnTo>
                  <a:pt x="2035" y="2916"/>
                </a:lnTo>
                <a:lnTo>
                  <a:pt x="2041" y="2914"/>
                </a:lnTo>
                <a:lnTo>
                  <a:pt x="2049" y="2912"/>
                </a:lnTo>
                <a:lnTo>
                  <a:pt x="2055" y="2914"/>
                </a:lnTo>
                <a:lnTo>
                  <a:pt x="2061" y="2915"/>
                </a:lnTo>
                <a:lnTo>
                  <a:pt x="2063" y="2915"/>
                </a:lnTo>
                <a:lnTo>
                  <a:pt x="2066" y="2915"/>
                </a:lnTo>
                <a:lnTo>
                  <a:pt x="2068" y="2913"/>
                </a:lnTo>
                <a:lnTo>
                  <a:pt x="2071" y="2911"/>
                </a:lnTo>
                <a:lnTo>
                  <a:pt x="2078" y="2903"/>
                </a:lnTo>
                <a:lnTo>
                  <a:pt x="2086" y="2892"/>
                </a:lnTo>
                <a:lnTo>
                  <a:pt x="2093" y="2881"/>
                </a:lnTo>
                <a:close/>
                <a:moveTo>
                  <a:pt x="1759" y="1684"/>
                </a:moveTo>
                <a:lnTo>
                  <a:pt x="1760" y="1687"/>
                </a:lnTo>
                <a:lnTo>
                  <a:pt x="1761" y="1689"/>
                </a:lnTo>
                <a:lnTo>
                  <a:pt x="1761" y="1690"/>
                </a:lnTo>
                <a:lnTo>
                  <a:pt x="1762" y="1691"/>
                </a:lnTo>
                <a:lnTo>
                  <a:pt x="1765" y="1692"/>
                </a:lnTo>
                <a:lnTo>
                  <a:pt x="1765" y="1690"/>
                </a:lnTo>
                <a:lnTo>
                  <a:pt x="1767" y="1689"/>
                </a:lnTo>
                <a:lnTo>
                  <a:pt x="1770" y="1687"/>
                </a:lnTo>
                <a:lnTo>
                  <a:pt x="1768" y="1681"/>
                </a:lnTo>
                <a:lnTo>
                  <a:pt x="1767" y="1679"/>
                </a:lnTo>
                <a:lnTo>
                  <a:pt x="1767" y="1676"/>
                </a:lnTo>
                <a:lnTo>
                  <a:pt x="1779" y="1681"/>
                </a:lnTo>
                <a:lnTo>
                  <a:pt x="1782" y="1683"/>
                </a:lnTo>
                <a:lnTo>
                  <a:pt x="1784" y="1684"/>
                </a:lnTo>
                <a:lnTo>
                  <a:pt x="1787" y="1684"/>
                </a:lnTo>
                <a:lnTo>
                  <a:pt x="1788" y="1683"/>
                </a:lnTo>
                <a:lnTo>
                  <a:pt x="1790" y="1680"/>
                </a:lnTo>
                <a:lnTo>
                  <a:pt x="1793" y="1676"/>
                </a:lnTo>
                <a:lnTo>
                  <a:pt x="1810" y="1676"/>
                </a:lnTo>
                <a:lnTo>
                  <a:pt x="1809" y="1676"/>
                </a:lnTo>
                <a:lnTo>
                  <a:pt x="1812" y="1677"/>
                </a:lnTo>
                <a:lnTo>
                  <a:pt x="1818" y="1678"/>
                </a:lnTo>
                <a:lnTo>
                  <a:pt x="1816" y="1673"/>
                </a:lnTo>
                <a:lnTo>
                  <a:pt x="1815" y="1669"/>
                </a:lnTo>
                <a:lnTo>
                  <a:pt x="1813" y="1665"/>
                </a:lnTo>
                <a:lnTo>
                  <a:pt x="1812" y="1663"/>
                </a:lnTo>
                <a:lnTo>
                  <a:pt x="1810" y="1662"/>
                </a:lnTo>
                <a:lnTo>
                  <a:pt x="1808" y="1662"/>
                </a:lnTo>
                <a:lnTo>
                  <a:pt x="1804" y="1662"/>
                </a:lnTo>
                <a:lnTo>
                  <a:pt x="1800" y="1662"/>
                </a:lnTo>
                <a:lnTo>
                  <a:pt x="1798" y="1662"/>
                </a:lnTo>
                <a:lnTo>
                  <a:pt x="1796" y="1662"/>
                </a:lnTo>
                <a:lnTo>
                  <a:pt x="1793" y="1660"/>
                </a:lnTo>
                <a:lnTo>
                  <a:pt x="1791" y="1659"/>
                </a:lnTo>
                <a:lnTo>
                  <a:pt x="1786" y="1654"/>
                </a:lnTo>
                <a:lnTo>
                  <a:pt x="1781" y="1650"/>
                </a:lnTo>
                <a:lnTo>
                  <a:pt x="1778" y="1648"/>
                </a:lnTo>
                <a:lnTo>
                  <a:pt x="1776" y="1647"/>
                </a:lnTo>
                <a:lnTo>
                  <a:pt x="1770" y="1647"/>
                </a:lnTo>
                <a:lnTo>
                  <a:pt x="1764" y="1647"/>
                </a:lnTo>
                <a:lnTo>
                  <a:pt x="1758" y="1647"/>
                </a:lnTo>
                <a:lnTo>
                  <a:pt x="1752" y="1647"/>
                </a:lnTo>
                <a:lnTo>
                  <a:pt x="1742" y="1648"/>
                </a:lnTo>
                <a:lnTo>
                  <a:pt x="1736" y="1648"/>
                </a:lnTo>
                <a:lnTo>
                  <a:pt x="1731" y="1647"/>
                </a:lnTo>
                <a:lnTo>
                  <a:pt x="1734" y="1649"/>
                </a:lnTo>
                <a:lnTo>
                  <a:pt x="1739" y="1650"/>
                </a:lnTo>
                <a:lnTo>
                  <a:pt x="1737" y="1655"/>
                </a:lnTo>
                <a:lnTo>
                  <a:pt x="1737" y="1657"/>
                </a:lnTo>
                <a:lnTo>
                  <a:pt x="1737" y="1659"/>
                </a:lnTo>
                <a:lnTo>
                  <a:pt x="1738" y="1662"/>
                </a:lnTo>
                <a:lnTo>
                  <a:pt x="1739" y="1664"/>
                </a:lnTo>
                <a:lnTo>
                  <a:pt x="1739" y="1667"/>
                </a:lnTo>
                <a:lnTo>
                  <a:pt x="1742" y="1667"/>
                </a:lnTo>
                <a:lnTo>
                  <a:pt x="1743" y="1668"/>
                </a:lnTo>
                <a:lnTo>
                  <a:pt x="1744" y="1670"/>
                </a:lnTo>
                <a:lnTo>
                  <a:pt x="1744" y="1672"/>
                </a:lnTo>
                <a:lnTo>
                  <a:pt x="1743" y="1676"/>
                </a:lnTo>
                <a:lnTo>
                  <a:pt x="1742" y="1678"/>
                </a:lnTo>
                <a:lnTo>
                  <a:pt x="1722" y="1676"/>
                </a:lnTo>
                <a:lnTo>
                  <a:pt x="1718" y="1675"/>
                </a:lnTo>
                <a:lnTo>
                  <a:pt x="1715" y="1673"/>
                </a:lnTo>
                <a:lnTo>
                  <a:pt x="1708" y="1670"/>
                </a:lnTo>
                <a:lnTo>
                  <a:pt x="1706" y="1681"/>
                </a:lnTo>
                <a:lnTo>
                  <a:pt x="1710" y="1683"/>
                </a:lnTo>
                <a:lnTo>
                  <a:pt x="1712" y="1684"/>
                </a:lnTo>
                <a:lnTo>
                  <a:pt x="1711" y="1684"/>
                </a:lnTo>
                <a:lnTo>
                  <a:pt x="1759" y="1684"/>
                </a:lnTo>
                <a:close/>
                <a:moveTo>
                  <a:pt x="3045" y="1071"/>
                </a:moveTo>
                <a:lnTo>
                  <a:pt x="3037" y="1071"/>
                </a:lnTo>
                <a:lnTo>
                  <a:pt x="3030" y="1071"/>
                </a:lnTo>
                <a:lnTo>
                  <a:pt x="3022" y="1070"/>
                </a:lnTo>
                <a:lnTo>
                  <a:pt x="3014" y="1069"/>
                </a:lnTo>
                <a:lnTo>
                  <a:pt x="2997" y="1067"/>
                </a:lnTo>
                <a:lnTo>
                  <a:pt x="2981" y="1065"/>
                </a:lnTo>
                <a:lnTo>
                  <a:pt x="2971" y="1065"/>
                </a:lnTo>
                <a:lnTo>
                  <a:pt x="2961" y="1066"/>
                </a:lnTo>
                <a:lnTo>
                  <a:pt x="2956" y="1066"/>
                </a:lnTo>
                <a:lnTo>
                  <a:pt x="2951" y="1066"/>
                </a:lnTo>
                <a:lnTo>
                  <a:pt x="2946" y="1066"/>
                </a:lnTo>
                <a:lnTo>
                  <a:pt x="2941" y="1065"/>
                </a:lnTo>
                <a:lnTo>
                  <a:pt x="2938" y="1062"/>
                </a:lnTo>
                <a:lnTo>
                  <a:pt x="2935" y="1060"/>
                </a:lnTo>
                <a:lnTo>
                  <a:pt x="2933" y="1059"/>
                </a:lnTo>
                <a:lnTo>
                  <a:pt x="2930" y="1060"/>
                </a:lnTo>
                <a:lnTo>
                  <a:pt x="2928" y="1061"/>
                </a:lnTo>
                <a:lnTo>
                  <a:pt x="2925" y="1063"/>
                </a:lnTo>
                <a:lnTo>
                  <a:pt x="2923" y="1065"/>
                </a:lnTo>
                <a:lnTo>
                  <a:pt x="2920" y="1069"/>
                </a:lnTo>
                <a:lnTo>
                  <a:pt x="2919" y="1071"/>
                </a:lnTo>
                <a:lnTo>
                  <a:pt x="2917" y="1071"/>
                </a:lnTo>
                <a:lnTo>
                  <a:pt x="2915" y="1071"/>
                </a:lnTo>
                <a:lnTo>
                  <a:pt x="2912" y="1071"/>
                </a:lnTo>
                <a:lnTo>
                  <a:pt x="2908" y="1070"/>
                </a:lnTo>
                <a:lnTo>
                  <a:pt x="2905" y="1071"/>
                </a:lnTo>
                <a:lnTo>
                  <a:pt x="2903" y="1072"/>
                </a:lnTo>
                <a:lnTo>
                  <a:pt x="2900" y="1075"/>
                </a:lnTo>
                <a:lnTo>
                  <a:pt x="2898" y="1077"/>
                </a:lnTo>
                <a:lnTo>
                  <a:pt x="2897" y="1078"/>
                </a:lnTo>
                <a:lnTo>
                  <a:pt x="2896" y="1079"/>
                </a:lnTo>
                <a:lnTo>
                  <a:pt x="2900" y="1086"/>
                </a:lnTo>
                <a:lnTo>
                  <a:pt x="2902" y="1090"/>
                </a:lnTo>
                <a:lnTo>
                  <a:pt x="2904" y="1095"/>
                </a:lnTo>
                <a:lnTo>
                  <a:pt x="2904" y="1099"/>
                </a:lnTo>
                <a:lnTo>
                  <a:pt x="2905" y="1103"/>
                </a:lnTo>
                <a:lnTo>
                  <a:pt x="2905" y="1108"/>
                </a:lnTo>
                <a:lnTo>
                  <a:pt x="2907" y="1115"/>
                </a:lnTo>
                <a:lnTo>
                  <a:pt x="2909" y="1124"/>
                </a:lnTo>
                <a:lnTo>
                  <a:pt x="2910" y="1129"/>
                </a:lnTo>
                <a:lnTo>
                  <a:pt x="2911" y="1134"/>
                </a:lnTo>
                <a:lnTo>
                  <a:pt x="2911" y="1139"/>
                </a:lnTo>
                <a:lnTo>
                  <a:pt x="2910" y="1144"/>
                </a:lnTo>
                <a:lnTo>
                  <a:pt x="2905" y="1147"/>
                </a:lnTo>
                <a:lnTo>
                  <a:pt x="2903" y="1153"/>
                </a:lnTo>
                <a:lnTo>
                  <a:pt x="2901" y="1159"/>
                </a:lnTo>
                <a:lnTo>
                  <a:pt x="2899" y="1169"/>
                </a:lnTo>
                <a:lnTo>
                  <a:pt x="2896" y="1169"/>
                </a:lnTo>
                <a:lnTo>
                  <a:pt x="2896" y="1173"/>
                </a:lnTo>
                <a:lnTo>
                  <a:pt x="2896" y="1178"/>
                </a:lnTo>
                <a:lnTo>
                  <a:pt x="2896" y="1186"/>
                </a:lnTo>
                <a:lnTo>
                  <a:pt x="2899" y="1184"/>
                </a:lnTo>
                <a:lnTo>
                  <a:pt x="2901" y="1183"/>
                </a:lnTo>
                <a:lnTo>
                  <a:pt x="2902" y="1183"/>
                </a:lnTo>
                <a:lnTo>
                  <a:pt x="2902" y="1185"/>
                </a:lnTo>
                <a:lnTo>
                  <a:pt x="2902" y="1187"/>
                </a:lnTo>
                <a:lnTo>
                  <a:pt x="2901" y="1189"/>
                </a:lnTo>
                <a:lnTo>
                  <a:pt x="2899" y="1191"/>
                </a:lnTo>
                <a:lnTo>
                  <a:pt x="2899" y="1192"/>
                </a:lnTo>
                <a:lnTo>
                  <a:pt x="2899" y="1195"/>
                </a:lnTo>
                <a:lnTo>
                  <a:pt x="2905" y="1200"/>
                </a:lnTo>
                <a:lnTo>
                  <a:pt x="2905" y="1204"/>
                </a:lnTo>
                <a:lnTo>
                  <a:pt x="2906" y="1207"/>
                </a:lnTo>
                <a:lnTo>
                  <a:pt x="2905" y="1214"/>
                </a:lnTo>
                <a:lnTo>
                  <a:pt x="2903" y="1221"/>
                </a:lnTo>
                <a:lnTo>
                  <a:pt x="2902" y="1228"/>
                </a:lnTo>
                <a:lnTo>
                  <a:pt x="2911" y="1229"/>
                </a:lnTo>
                <a:lnTo>
                  <a:pt x="2921" y="1229"/>
                </a:lnTo>
                <a:lnTo>
                  <a:pt x="2931" y="1228"/>
                </a:lnTo>
                <a:lnTo>
                  <a:pt x="2936" y="1227"/>
                </a:lnTo>
                <a:lnTo>
                  <a:pt x="2941" y="1225"/>
                </a:lnTo>
                <a:lnTo>
                  <a:pt x="2950" y="1238"/>
                </a:lnTo>
                <a:lnTo>
                  <a:pt x="2958" y="1251"/>
                </a:lnTo>
                <a:lnTo>
                  <a:pt x="2965" y="1249"/>
                </a:lnTo>
                <a:lnTo>
                  <a:pt x="2971" y="1248"/>
                </a:lnTo>
                <a:lnTo>
                  <a:pt x="2977" y="1247"/>
                </a:lnTo>
                <a:lnTo>
                  <a:pt x="2980" y="1246"/>
                </a:lnTo>
                <a:lnTo>
                  <a:pt x="2984" y="1245"/>
                </a:lnTo>
                <a:lnTo>
                  <a:pt x="2986" y="1240"/>
                </a:lnTo>
                <a:lnTo>
                  <a:pt x="2989" y="1239"/>
                </a:lnTo>
                <a:lnTo>
                  <a:pt x="2991" y="1239"/>
                </a:lnTo>
                <a:lnTo>
                  <a:pt x="2995" y="1239"/>
                </a:lnTo>
                <a:lnTo>
                  <a:pt x="3004" y="1241"/>
                </a:lnTo>
                <a:lnTo>
                  <a:pt x="3008" y="1242"/>
                </a:lnTo>
                <a:lnTo>
                  <a:pt x="3013" y="1243"/>
                </a:lnTo>
                <a:lnTo>
                  <a:pt x="3017" y="1242"/>
                </a:lnTo>
                <a:lnTo>
                  <a:pt x="3023" y="1240"/>
                </a:lnTo>
                <a:lnTo>
                  <a:pt x="3023" y="1237"/>
                </a:lnTo>
                <a:lnTo>
                  <a:pt x="3025" y="1235"/>
                </a:lnTo>
                <a:lnTo>
                  <a:pt x="3026" y="1233"/>
                </a:lnTo>
                <a:lnTo>
                  <a:pt x="3029" y="1229"/>
                </a:lnTo>
                <a:lnTo>
                  <a:pt x="3031" y="1224"/>
                </a:lnTo>
                <a:lnTo>
                  <a:pt x="3033" y="1221"/>
                </a:lnTo>
                <a:lnTo>
                  <a:pt x="3034" y="1220"/>
                </a:lnTo>
                <a:lnTo>
                  <a:pt x="3039" y="1217"/>
                </a:lnTo>
                <a:lnTo>
                  <a:pt x="3044" y="1216"/>
                </a:lnTo>
                <a:lnTo>
                  <a:pt x="3050" y="1214"/>
                </a:lnTo>
                <a:lnTo>
                  <a:pt x="3052" y="1213"/>
                </a:lnTo>
                <a:lnTo>
                  <a:pt x="3054" y="1211"/>
                </a:lnTo>
                <a:lnTo>
                  <a:pt x="3054" y="1210"/>
                </a:lnTo>
                <a:lnTo>
                  <a:pt x="3054" y="1209"/>
                </a:lnTo>
                <a:lnTo>
                  <a:pt x="3054" y="1206"/>
                </a:lnTo>
                <a:lnTo>
                  <a:pt x="3054" y="1203"/>
                </a:lnTo>
                <a:lnTo>
                  <a:pt x="3054" y="1200"/>
                </a:lnTo>
                <a:lnTo>
                  <a:pt x="3056" y="1197"/>
                </a:lnTo>
                <a:lnTo>
                  <a:pt x="3060" y="1193"/>
                </a:lnTo>
                <a:lnTo>
                  <a:pt x="3068" y="1186"/>
                </a:lnTo>
                <a:lnTo>
                  <a:pt x="3071" y="1183"/>
                </a:lnTo>
                <a:lnTo>
                  <a:pt x="3071" y="1180"/>
                </a:lnTo>
                <a:lnTo>
                  <a:pt x="3070" y="1178"/>
                </a:lnTo>
                <a:lnTo>
                  <a:pt x="3067" y="1175"/>
                </a:lnTo>
                <a:lnTo>
                  <a:pt x="3066" y="1173"/>
                </a:lnTo>
                <a:lnTo>
                  <a:pt x="3065" y="1170"/>
                </a:lnTo>
                <a:lnTo>
                  <a:pt x="3065" y="1167"/>
                </a:lnTo>
                <a:lnTo>
                  <a:pt x="3065" y="1164"/>
                </a:lnTo>
                <a:lnTo>
                  <a:pt x="3066" y="1162"/>
                </a:lnTo>
                <a:lnTo>
                  <a:pt x="3069" y="1161"/>
                </a:lnTo>
                <a:lnTo>
                  <a:pt x="3072" y="1159"/>
                </a:lnTo>
                <a:lnTo>
                  <a:pt x="3074" y="1158"/>
                </a:lnTo>
                <a:lnTo>
                  <a:pt x="3079" y="1149"/>
                </a:lnTo>
                <a:lnTo>
                  <a:pt x="3085" y="1140"/>
                </a:lnTo>
                <a:lnTo>
                  <a:pt x="3088" y="1135"/>
                </a:lnTo>
                <a:lnTo>
                  <a:pt x="3091" y="1131"/>
                </a:lnTo>
                <a:lnTo>
                  <a:pt x="3095" y="1127"/>
                </a:lnTo>
                <a:lnTo>
                  <a:pt x="3099" y="1124"/>
                </a:lnTo>
                <a:lnTo>
                  <a:pt x="3105" y="1121"/>
                </a:lnTo>
                <a:lnTo>
                  <a:pt x="3114" y="1118"/>
                </a:lnTo>
                <a:lnTo>
                  <a:pt x="3122" y="1114"/>
                </a:lnTo>
                <a:lnTo>
                  <a:pt x="3125" y="1112"/>
                </a:lnTo>
                <a:lnTo>
                  <a:pt x="3127" y="1110"/>
                </a:lnTo>
                <a:lnTo>
                  <a:pt x="3128" y="1106"/>
                </a:lnTo>
                <a:lnTo>
                  <a:pt x="3128" y="1101"/>
                </a:lnTo>
                <a:lnTo>
                  <a:pt x="3127" y="1090"/>
                </a:lnTo>
                <a:lnTo>
                  <a:pt x="3126" y="1087"/>
                </a:lnTo>
                <a:lnTo>
                  <a:pt x="3126" y="1084"/>
                </a:lnTo>
                <a:lnTo>
                  <a:pt x="3126" y="1082"/>
                </a:lnTo>
                <a:lnTo>
                  <a:pt x="3127" y="1079"/>
                </a:lnTo>
                <a:lnTo>
                  <a:pt x="3128" y="1077"/>
                </a:lnTo>
                <a:lnTo>
                  <a:pt x="3131" y="1075"/>
                </a:lnTo>
                <a:lnTo>
                  <a:pt x="3134" y="1073"/>
                </a:lnTo>
                <a:lnTo>
                  <a:pt x="3135" y="1071"/>
                </a:lnTo>
                <a:lnTo>
                  <a:pt x="3139" y="1070"/>
                </a:lnTo>
                <a:lnTo>
                  <a:pt x="3142" y="1069"/>
                </a:lnTo>
                <a:lnTo>
                  <a:pt x="3145" y="1068"/>
                </a:lnTo>
                <a:lnTo>
                  <a:pt x="3149" y="1068"/>
                </a:lnTo>
                <a:lnTo>
                  <a:pt x="3152" y="1068"/>
                </a:lnTo>
                <a:lnTo>
                  <a:pt x="3154" y="1069"/>
                </a:lnTo>
                <a:lnTo>
                  <a:pt x="3158" y="1071"/>
                </a:lnTo>
                <a:lnTo>
                  <a:pt x="3166" y="1075"/>
                </a:lnTo>
                <a:lnTo>
                  <a:pt x="3171" y="1078"/>
                </a:lnTo>
                <a:lnTo>
                  <a:pt x="3173" y="1079"/>
                </a:lnTo>
                <a:lnTo>
                  <a:pt x="3175" y="1079"/>
                </a:lnTo>
                <a:lnTo>
                  <a:pt x="3178" y="1080"/>
                </a:lnTo>
                <a:lnTo>
                  <a:pt x="3180" y="1080"/>
                </a:lnTo>
                <a:lnTo>
                  <a:pt x="3186" y="1079"/>
                </a:lnTo>
                <a:lnTo>
                  <a:pt x="3188" y="1078"/>
                </a:lnTo>
                <a:lnTo>
                  <a:pt x="3189" y="1076"/>
                </a:lnTo>
                <a:lnTo>
                  <a:pt x="3193" y="1071"/>
                </a:lnTo>
                <a:lnTo>
                  <a:pt x="3195" y="1067"/>
                </a:lnTo>
                <a:lnTo>
                  <a:pt x="3196" y="1066"/>
                </a:lnTo>
                <a:lnTo>
                  <a:pt x="3197" y="1065"/>
                </a:lnTo>
                <a:lnTo>
                  <a:pt x="3199" y="1064"/>
                </a:lnTo>
                <a:lnTo>
                  <a:pt x="3201" y="1064"/>
                </a:lnTo>
                <a:lnTo>
                  <a:pt x="3206" y="1064"/>
                </a:lnTo>
                <a:lnTo>
                  <a:pt x="3210" y="1064"/>
                </a:lnTo>
                <a:lnTo>
                  <a:pt x="3214" y="1062"/>
                </a:lnTo>
                <a:lnTo>
                  <a:pt x="3216" y="1061"/>
                </a:lnTo>
                <a:lnTo>
                  <a:pt x="3217" y="1059"/>
                </a:lnTo>
                <a:lnTo>
                  <a:pt x="3218" y="1055"/>
                </a:lnTo>
                <a:lnTo>
                  <a:pt x="3219" y="1053"/>
                </a:lnTo>
                <a:lnTo>
                  <a:pt x="3220" y="1051"/>
                </a:lnTo>
                <a:lnTo>
                  <a:pt x="3221" y="1049"/>
                </a:lnTo>
                <a:lnTo>
                  <a:pt x="3223" y="1048"/>
                </a:lnTo>
                <a:lnTo>
                  <a:pt x="3223" y="1045"/>
                </a:lnTo>
                <a:lnTo>
                  <a:pt x="3225" y="1045"/>
                </a:lnTo>
                <a:lnTo>
                  <a:pt x="3228" y="1046"/>
                </a:lnTo>
                <a:lnTo>
                  <a:pt x="3231" y="1046"/>
                </a:lnTo>
                <a:lnTo>
                  <a:pt x="3233" y="1046"/>
                </a:lnTo>
                <a:lnTo>
                  <a:pt x="3234" y="1045"/>
                </a:lnTo>
                <a:lnTo>
                  <a:pt x="3239" y="1049"/>
                </a:lnTo>
                <a:lnTo>
                  <a:pt x="3243" y="1052"/>
                </a:lnTo>
                <a:lnTo>
                  <a:pt x="3247" y="1056"/>
                </a:lnTo>
                <a:lnTo>
                  <a:pt x="3250" y="1059"/>
                </a:lnTo>
                <a:lnTo>
                  <a:pt x="3253" y="1063"/>
                </a:lnTo>
                <a:lnTo>
                  <a:pt x="3255" y="1067"/>
                </a:lnTo>
                <a:lnTo>
                  <a:pt x="3259" y="1076"/>
                </a:lnTo>
                <a:lnTo>
                  <a:pt x="3263" y="1085"/>
                </a:lnTo>
                <a:lnTo>
                  <a:pt x="3267" y="1094"/>
                </a:lnTo>
                <a:lnTo>
                  <a:pt x="3272" y="1102"/>
                </a:lnTo>
                <a:lnTo>
                  <a:pt x="3275" y="1106"/>
                </a:lnTo>
                <a:lnTo>
                  <a:pt x="3279" y="1110"/>
                </a:lnTo>
                <a:lnTo>
                  <a:pt x="3284" y="1110"/>
                </a:lnTo>
                <a:lnTo>
                  <a:pt x="3294" y="1121"/>
                </a:lnTo>
                <a:lnTo>
                  <a:pt x="3302" y="1128"/>
                </a:lnTo>
                <a:lnTo>
                  <a:pt x="3305" y="1131"/>
                </a:lnTo>
                <a:lnTo>
                  <a:pt x="3307" y="1133"/>
                </a:lnTo>
                <a:lnTo>
                  <a:pt x="3313" y="1135"/>
                </a:lnTo>
                <a:lnTo>
                  <a:pt x="3319" y="1136"/>
                </a:lnTo>
                <a:lnTo>
                  <a:pt x="3324" y="1138"/>
                </a:lnTo>
                <a:lnTo>
                  <a:pt x="3327" y="1139"/>
                </a:lnTo>
                <a:lnTo>
                  <a:pt x="3329" y="1141"/>
                </a:lnTo>
                <a:lnTo>
                  <a:pt x="3329" y="1147"/>
                </a:lnTo>
                <a:lnTo>
                  <a:pt x="3335" y="1147"/>
                </a:lnTo>
                <a:lnTo>
                  <a:pt x="3337" y="1148"/>
                </a:lnTo>
                <a:lnTo>
                  <a:pt x="3337" y="1149"/>
                </a:lnTo>
                <a:lnTo>
                  <a:pt x="3338" y="1150"/>
                </a:lnTo>
                <a:lnTo>
                  <a:pt x="3338" y="1151"/>
                </a:lnTo>
                <a:lnTo>
                  <a:pt x="3338" y="1154"/>
                </a:lnTo>
                <a:lnTo>
                  <a:pt x="3337" y="1156"/>
                </a:lnTo>
                <a:lnTo>
                  <a:pt x="3338" y="1158"/>
                </a:lnTo>
                <a:lnTo>
                  <a:pt x="3340" y="1159"/>
                </a:lnTo>
                <a:lnTo>
                  <a:pt x="3342" y="1160"/>
                </a:lnTo>
                <a:lnTo>
                  <a:pt x="3347" y="1162"/>
                </a:lnTo>
                <a:lnTo>
                  <a:pt x="3351" y="1163"/>
                </a:lnTo>
                <a:lnTo>
                  <a:pt x="3353" y="1165"/>
                </a:lnTo>
                <a:lnTo>
                  <a:pt x="3355" y="1166"/>
                </a:lnTo>
                <a:lnTo>
                  <a:pt x="3356" y="1169"/>
                </a:lnTo>
                <a:lnTo>
                  <a:pt x="3357" y="1173"/>
                </a:lnTo>
                <a:lnTo>
                  <a:pt x="3358" y="1184"/>
                </a:lnTo>
                <a:lnTo>
                  <a:pt x="3358" y="1189"/>
                </a:lnTo>
                <a:lnTo>
                  <a:pt x="3358" y="1193"/>
                </a:lnTo>
                <a:lnTo>
                  <a:pt x="3357" y="1194"/>
                </a:lnTo>
                <a:lnTo>
                  <a:pt x="3357" y="1195"/>
                </a:lnTo>
                <a:lnTo>
                  <a:pt x="3356" y="1195"/>
                </a:lnTo>
                <a:lnTo>
                  <a:pt x="3355" y="1195"/>
                </a:lnTo>
                <a:lnTo>
                  <a:pt x="3354" y="1197"/>
                </a:lnTo>
                <a:lnTo>
                  <a:pt x="3353" y="1199"/>
                </a:lnTo>
                <a:lnTo>
                  <a:pt x="3353" y="1203"/>
                </a:lnTo>
                <a:lnTo>
                  <a:pt x="3352" y="1211"/>
                </a:lnTo>
                <a:lnTo>
                  <a:pt x="3345" y="1212"/>
                </a:lnTo>
                <a:lnTo>
                  <a:pt x="3338" y="1213"/>
                </a:lnTo>
                <a:lnTo>
                  <a:pt x="3330" y="1213"/>
                </a:lnTo>
                <a:lnTo>
                  <a:pt x="3322" y="1213"/>
                </a:lnTo>
                <a:lnTo>
                  <a:pt x="3307" y="1212"/>
                </a:lnTo>
                <a:lnTo>
                  <a:pt x="3296" y="1211"/>
                </a:lnTo>
                <a:lnTo>
                  <a:pt x="3296" y="1212"/>
                </a:lnTo>
                <a:lnTo>
                  <a:pt x="3297" y="1213"/>
                </a:lnTo>
                <a:lnTo>
                  <a:pt x="3297" y="1216"/>
                </a:lnTo>
                <a:lnTo>
                  <a:pt x="3298" y="1218"/>
                </a:lnTo>
                <a:lnTo>
                  <a:pt x="3298" y="1219"/>
                </a:lnTo>
                <a:lnTo>
                  <a:pt x="3299" y="1220"/>
                </a:lnTo>
                <a:lnTo>
                  <a:pt x="3303" y="1223"/>
                </a:lnTo>
                <a:lnTo>
                  <a:pt x="3308" y="1226"/>
                </a:lnTo>
                <a:lnTo>
                  <a:pt x="3319" y="1232"/>
                </a:lnTo>
                <a:lnTo>
                  <a:pt x="3341" y="1242"/>
                </a:lnTo>
                <a:lnTo>
                  <a:pt x="3342" y="1235"/>
                </a:lnTo>
                <a:lnTo>
                  <a:pt x="3344" y="1226"/>
                </a:lnTo>
                <a:lnTo>
                  <a:pt x="3344" y="1219"/>
                </a:lnTo>
                <a:lnTo>
                  <a:pt x="3344" y="1218"/>
                </a:lnTo>
                <a:lnTo>
                  <a:pt x="3344" y="1220"/>
                </a:lnTo>
                <a:lnTo>
                  <a:pt x="3344" y="1214"/>
                </a:lnTo>
                <a:lnTo>
                  <a:pt x="3345" y="1214"/>
                </a:lnTo>
                <a:lnTo>
                  <a:pt x="3347" y="1214"/>
                </a:lnTo>
                <a:lnTo>
                  <a:pt x="3352" y="1214"/>
                </a:lnTo>
                <a:lnTo>
                  <a:pt x="3360" y="1217"/>
                </a:lnTo>
                <a:lnTo>
                  <a:pt x="3371" y="1198"/>
                </a:lnTo>
                <a:lnTo>
                  <a:pt x="3374" y="1193"/>
                </a:lnTo>
                <a:lnTo>
                  <a:pt x="3376" y="1187"/>
                </a:lnTo>
                <a:lnTo>
                  <a:pt x="3378" y="1182"/>
                </a:lnTo>
                <a:lnTo>
                  <a:pt x="3378" y="1180"/>
                </a:lnTo>
                <a:lnTo>
                  <a:pt x="3377" y="1178"/>
                </a:lnTo>
                <a:lnTo>
                  <a:pt x="3376" y="1176"/>
                </a:lnTo>
                <a:lnTo>
                  <a:pt x="3373" y="1174"/>
                </a:lnTo>
                <a:lnTo>
                  <a:pt x="3370" y="1171"/>
                </a:lnTo>
                <a:lnTo>
                  <a:pt x="3369" y="1169"/>
                </a:lnTo>
                <a:lnTo>
                  <a:pt x="3368" y="1164"/>
                </a:lnTo>
                <a:lnTo>
                  <a:pt x="3369" y="1161"/>
                </a:lnTo>
                <a:lnTo>
                  <a:pt x="3370" y="1158"/>
                </a:lnTo>
                <a:lnTo>
                  <a:pt x="3371" y="1155"/>
                </a:lnTo>
                <a:lnTo>
                  <a:pt x="3373" y="1152"/>
                </a:lnTo>
                <a:lnTo>
                  <a:pt x="3374" y="1151"/>
                </a:lnTo>
                <a:lnTo>
                  <a:pt x="3376" y="1151"/>
                </a:lnTo>
                <a:lnTo>
                  <a:pt x="3379" y="1151"/>
                </a:lnTo>
                <a:lnTo>
                  <a:pt x="3382" y="1152"/>
                </a:lnTo>
                <a:lnTo>
                  <a:pt x="3386" y="1154"/>
                </a:lnTo>
                <a:lnTo>
                  <a:pt x="3394" y="1158"/>
                </a:lnTo>
                <a:lnTo>
                  <a:pt x="3394" y="1164"/>
                </a:lnTo>
                <a:lnTo>
                  <a:pt x="3396" y="1164"/>
                </a:lnTo>
                <a:lnTo>
                  <a:pt x="3398" y="1164"/>
                </a:lnTo>
                <a:lnTo>
                  <a:pt x="3398" y="1163"/>
                </a:lnTo>
                <a:lnTo>
                  <a:pt x="3399" y="1162"/>
                </a:lnTo>
                <a:lnTo>
                  <a:pt x="3399" y="1159"/>
                </a:lnTo>
                <a:lnTo>
                  <a:pt x="3398" y="1155"/>
                </a:lnTo>
                <a:lnTo>
                  <a:pt x="3394" y="1148"/>
                </a:lnTo>
                <a:lnTo>
                  <a:pt x="3391" y="1144"/>
                </a:lnTo>
                <a:lnTo>
                  <a:pt x="3388" y="1141"/>
                </a:lnTo>
                <a:lnTo>
                  <a:pt x="3385" y="1138"/>
                </a:lnTo>
                <a:lnTo>
                  <a:pt x="3377" y="1133"/>
                </a:lnTo>
                <a:lnTo>
                  <a:pt x="3376" y="1132"/>
                </a:lnTo>
                <a:lnTo>
                  <a:pt x="3373" y="1132"/>
                </a:lnTo>
                <a:lnTo>
                  <a:pt x="3369" y="1133"/>
                </a:lnTo>
                <a:lnTo>
                  <a:pt x="3367" y="1130"/>
                </a:lnTo>
                <a:lnTo>
                  <a:pt x="3365" y="1128"/>
                </a:lnTo>
                <a:lnTo>
                  <a:pt x="3360" y="1124"/>
                </a:lnTo>
                <a:lnTo>
                  <a:pt x="3362" y="1123"/>
                </a:lnTo>
                <a:lnTo>
                  <a:pt x="3362" y="1122"/>
                </a:lnTo>
                <a:lnTo>
                  <a:pt x="3362" y="1118"/>
                </a:lnTo>
                <a:lnTo>
                  <a:pt x="3360" y="1113"/>
                </a:lnTo>
                <a:lnTo>
                  <a:pt x="3347" y="1111"/>
                </a:lnTo>
                <a:lnTo>
                  <a:pt x="3342" y="1110"/>
                </a:lnTo>
                <a:lnTo>
                  <a:pt x="3338" y="1109"/>
                </a:lnTo>
                <a:lnTo>
                  <a:pt x="3334" y="1107"/>
                </a:lnTo>
                <a:lnTo>
                  <a:pt x="3330" y="1104"/>
                </a:lnTo>
                <a:lnTo>
                  <a:pt x="3327" y="1100"/>
                </a:lnTo>
                <a:lnTo>
                  <a:pt x="3324" y="1096"/>
                </a:lnTo>
                <a:lnTo>
                  <a:pt x="3323" y="1094"/>
                </a:lnTo>
                <a:lnTo>
                  <a:pt x="3322" y="1091"/>
                </a:lnTo>
                <a:lnTo>
                  <a:pt x="3321" y="1087"/>
                </a:lnTo>
                <a:lnTo>
                  <a:pt x="3320" y="1082"/>
                </a:lnTo>
                <a:lnTo>
                  <a:pt x="3319" y="1079"/>
                </a:lnTo>
                <a:lnTo>
                  <a:pt x="3318" y="1076"/>
                </a:lnTo>
                <a:lnTo>
                  <a:pt x="3316" y="1073"/>
                </a:lnTo>
                <a:lnTo>
                  <a:pt x="3313" y="1070"/>
                </a:lnTo>
                <a:lnTo>
                  <a:pt x="3309" y="1067"/>
                </a:lnTo>
                <a:lnTo>
                  <a:pt x="3304" y="1064"/>
                </a:lnTo>
                <a:lnTo>
                  <a:pt x="3295" y="1058"/>
                </a:lnTo>
                <a:lnTo>
                  <a:pt x="3287" y="1054"/>
                </a:lnTo>
                <a:lnTo>
                  <a:pt x="3288" y="1051"/>
                </a:lnTo>
                <a:lnTo>
                  <a:pt x="3287" y="1048"/>
                </a:lnTo>
                <a:lnTo>
                  <a:pt x="3287" y="1045"/>
                </a:lnTo>
                <a:lnTo>
                  <a:pt x="3287" y="1043"/>
                </a:lnTo>
                <a:lnTo>
                  <a:pt x="3289" y="1040"/>
                </a:lnTo>
                <a:lnTo>
                  <a:pt x="3291" y="1036"/>
                </a:lnTo>
                <a:lnTo>
                  <a:pt x="3296" y="1029"/>
                </a:lnTo>
                <a:lnTo>
                  <a:pt x="3293" y="1026"/>
                </a:lnTo>
                <a:lnTo>
                  <a:pt x="3291" y="1025"/>
                </a:lnTo>
                <a:lnTo>
                  <a:pt x="3290" y="1026"/>
                </a:lnTo>
                <a:lnTo>
                  <a:pt x="3290" y="1020"/>
                </a:lnTo>
                <a:lnTo>
                  <a:pt x="3297" y="1018"/>
                </a:lnTo>
                <a:lnTo>
                  <a:pt x="3303" y="1017"/>
                </a:lnTo>
                <a:lnTo>
                  <a:pt x="3309" y="1016"/>
                </a:lnTo>
                <a:lnTo>
                  <a:pt x="3315" y="1014"/>
                </a:lnTo>
                <a:lnTo>
                  <a:pt x="3314" y="1016"/>
                </a:lnTo>
                <a:lnTo>
                  <a:pt x="3313" y="1019"/>
                </a:lnTo>
                <a:lnTo>
                  <a:pt x="3312" y="1022"/>
                </a:lnTo>
                <a:lnTo>
                  <a:pt x="3313" y="1024"/>
                </a:lnTo>
                <a:lnTo>
                  <a:pt x="3314" y="1026"/>
                </a:lnTo>
                <a:lnTo>
                  <a:pt x="3315" y="1028"/>
                </a:lnTo>
                <a:lnTo>
                  <a:pt x="3314" y="1031"/>
                </a:lnTo>
                <a:lnTo>
                  <a:pt x="3314" y="1033"/>
                </a:lnTo>
                <a:lnTo>
                  <a:pt x="3313" y="1036"/>
                </a:lnTo>
                <a:lnTo>
                  <a:pt x="3313" y="1038"/>
                </a:lnTo>
                <a:lnTo>
                  <a:pt x="3314" y="1040"/>
                </a:lnTo>
                <a:lnTo>
                  <a:pt x="3315" y="1043"/>
                </a:lnTo>
                <a:lnTo>
                  <a:pt x="3317" y="1042"/>
                </a:lnTo>
                <a:lnTo>
                  <a:pt x="3321" y="1041"/>
                </a:lnTo>
                <a:lnTo>
                  <a:pt x="3322" y="1040"/>
                </a:lnTo>
                <a:lnTo>
                  <a:pt x="3323" y="1040"/>
                </a:lnTo>
                <a:lnTo>
                  <a:pt x="3323" y="1039"/>
                </a:lnTo>
                <a:lnTo>
                  <a:pt x="3323" y="1038"/>
                </a:lnTo>
                <a:lnTo>
                  <a:pt x="3321" y="1037"/>
                </a:lnTo>
                <a:lnTo>
                  <a:pt x="3322" y="1036"/>
                </a:lnTo>
                <a:lnTo>
                  <a:pt x="3324" y="1035"/>
                </a:lnTo>
                <a:lnTo>
                  <a:pt x="3327" y="1035"/>
                </a:lnTo>
                <a:lnTo>
                  <a:pt x="3329" y="1034"/>
                </a:lnTo>
                <a:lnTo>
                  <a:pt x="3331" y="1027"/>
                </a:lnTo>
                <a:lnTo>
                  <a:pt x="3332" y="1023"/>
                </a:lnTo>
                <a:lnTo>
                  <a:pt x="3333" y="1024"/>
                </a:lnTo>
                <a:lnTo>
                  <a:pt x="3333" y="1025"/>
                </a:lnTo>
                <a:lnTo>
                  <a:pt x="3334" y="1026"/>
                </a:lnTo>
                <a:lnTo>
                  <a:pt x="3338" y="1029"/>
                </a:lnTo>
                <a:lnTo>
                  <a:pt x="3335" y="1037"/>
                </a:lnTo>
                <a:lnTo>
                  <a:pt x="3335" y="1041"/>
                </a:lnTo>
                <a:lnTo>
                  <a:pt x="3335" y="1043"/>
                </a:lnTo>
                <a:lnTo>
                  <a:pt x="3335" y="1045"/>
                </a:lnTo>
                <a:lnTo>
                  <a:pt x="3346" y="1054"/>
                </a:lnTo>
                <a:lnTo>
                  <a:pt x="3346" y="1056"/>
                </a:lnTo>
                <a:lnTo>
                  <a:pt x="3346" y="1057"/>
                </a:lnTo>
                <a:lnTo>
                  <a:pt x="3345" y="1059"/>
                </a:lnTo>
                <a:lnTo>
                  <a:pt x="3343" y="1061"/>
                </a:lnTo>
                <a:lnTo>
                  <a:pt x="3344" y="1062"/>
                </a:lnTo>
                <a:lnTo>
                  <a:pt x="3360" y="1074"/>
                </a:lnTo>
                <a:lnTo>
                  <a:pt x="3363" y="1074"/>
                </a:lnTo>
                <a:lnTo>
                  <a:pt x="3366" y="1073"/>
                </a:lnTo>
                <a:lnTo>
                  <a:pt x="3369" y="1073"/>
                </a:lnTo>
                <a:lnTo>
                  <a:pt x="3372" y="1074"/>
                </a:lnTo>
                <a:lnTo>
                  <a:pt x="3375" y="1076"/>
                </a:lnTo>
                <a:lnTo>
                  <a:pt x="3377" y="1080"/>
                </a:lnTo>
                <a:lnTo>
                  <a:pt x="3380" y="1085"/>
                </a:lnTo>
                <a:lnTo>
                  <a:pt x="3383" y="1088"/>
                </a:lnTo>
                <a:lnTo>
                  <a:pt x="3387" y="1089"/>
                </a:lnTo>
                <a:lnTo>
                  <a:pt x="3392" y="1090"/>
                </a:lnTo>
                <a:lnTo>
                  <a:pt x="3396" y="1091"/>
                </a:lnTo>
                <a:lnTo>
                  <a:pt x="3398" y="1092"/>
                </a:lnTo>
                <a:lnTo>
                  <a:pt x="3400" y="1093"/>
                </a:lnTo>
                <a:lnTo>
                  <a:pt x="3401" y="1095"/>
                </a:lnTo>
                <a:lnTo>
                  <a:pt x="3401" y="1097"/>
                </a:lnTo>
                <a:lnTo>
                  <a:pt x="3402" y="1100"/>
                </a:lnTo>
                <a:lnTo>
                  <a:pt x="3402" y="1101"/>
                </a:lnTo>
                <a:lnTo>
                  <a:pt x="3403" y="1102"/>
                </a:lnTo>
                <a:lnTo>
                  <a:pt x="3420" y="1109"/>
                </a:lnTo>
                <a:lnTo>
                  <a:pt x="3422" y="1112"/>
                </a:lnTo>
                <a:lnTo>
                  <a:pt x="3423" y="1114"/>
                </a:lnTo>
                <a:lnTo>
                  <a:pt x="3423" y="1115"/>
                </a:lnTo>
                <a:lnTo>
                  <a:pt x="3424" y="1116"/>
                </a:lnTo>
                <a:lnTo>
                  <a:pt x="3424" y="1119"/>
                </a:lnTo>
                <a:lnTo>
                  <a:pt x="3424" y="1122"/>
                </a:lnTo>
                <a:lnTo>
                  <a:pt x="3424" y="1124"/>
                </a:lnTo>
                <a:lnTo>
                  <a:pt x="3423" y="1129"/>
                </a:lnTo>
                <a:lnTo>
                  <a:pt x="3420" y="1140"/>
                </a:lnTo>
                <a:lnTo>
                  <a:pt x="3419" y="1145"/>
                </a:lnTo>
                <a:lnTo>
                  <a:pt x="3420" y="1150"/>
                </a:lnTo>
                <a:lnTo>
                  <a:pt x="3437" y="1173"/>
                </a:lnTo>
                <a:lnTo>
                  <a:pt x="3448" y="1186"/>
                </a:lnTo>
                <a:lnTo>
                  <a:pt x="3448" y="1189"/>
                </a:lnTo>
                <a:lnTo>
                  <a:pt x="3450" y="1189"/>
                </a:lnTo>
                <a:lnTo>
                  <a:pt x="3452" y="1189"/>
                </a:lnTo>
                <a:lnTo>
                  <a:pt x="3454" y="1188"/>
                </a:lnTo>
                <a:lnTo>
                  <a:pt x="3456" y="1189"/>
                </a:lnTo>
                <a:lnTo>
                  <a:pt x="3456" y="1190"/>
                </a:lnTo>
                <a:lnTo>
                  <a:pt x="3456" y="1192"/>
                </a:lnTo>
                <a:lnTo>
                  <a:pt x="3456" y="1193"/>
                </a:lnTo>
                <a:lnTo>
                  <a:pt x="3453" y="1192"/>
                </a:lnTo>
                <a:lnTo>
                  <a:pt x="3454" y="1201"/>
                </a:lnTo>
                <a:lnTo>
                  <a:pt x="3453" y="1209"/>
                </a:lnTo>
                <a:lnTo>
                  <a:pt x="3455" y="1208"/>
                </a:lnTo>
                <a:lnTo>
                  <a:pt x="3457" y="1206"/>
                </a:lnTo>
                <a:lnTo>
                  <a:pt x="3458" y="1204"/>
                </a:lnTo>
                <a:lnTo>
                  <a:pt x="3459" y="1203"/>
                </a:lnTo>
                <a:lnTo>
                  <a:pt x="3464" y="1202"/>
                </a:lnTo>
                <a:lnTo>
                  <a:pt x="3468" y="1202"/>
                </a:lnTo>
                <a:lnTo>
                  <a:pt x="3472" y="1204"/>
                </a:lnTo>
                <a:lnTo>
                  <a:pt x="3476" y="1206"/>
                </a:lnTo>
                <a:lnTo>
                  <a:pt x="3482" y="1211"/>
                </a:lnTo>
                <a:lnTo>
                  <a:pt x="3485" y="1213"/>
                </a:lnTo>
                <a:lnTo>
                  <a:pt x="3487" y="1214"/>
                </a:lnTo>
                <a:lnTo>
                  <a:pt x="3482" y="1213"/>
                </a:lnTo>
                <a:lnTo>
                  <a:pt x="3478" y="1212"/>
                </a:lnTo>
                <a:lnTo>
                  <a:pt x="3475" y="1211"/>
                </a:lnTo>
                <a:lnTo>
                  <a:pt x="3472" y="1211"/>
                </a:lnTo>
                <a:lnTo>
                  <a:pt x="3467" y="1212"/>
                </a:lnTo>
                <a:lnTo>
                  <a:pt x="3459" y="1211"/>
                </a:lnTo>
                <a:lnTo>
                  <a:pt x="3462" y="1225"/>
                </a:lnTo>
                <a:lnTo>
                  <a:pt x="3464" y="1230"/>
                </a:lnTo>
                <a:lnTo>
                  <a:pt x="3464" y="1233"/>
                </a:lnTo>
                <a:lnTo>
                  <a:pt x="3465" y="1237"/>
                </a:lnTo>
                <a:lnTo>
                  <a:pt x="3475" y="1237"/>
                </a:lnTo>
                <a:lnTo>
                  <a:pt x="3487" y="1237"/>
                </a:lnTo>
                <a:lnTo>
                  <a:pt x="3485" y="1233"/>
                </a:lnTo>
                <a:lnTo>
                  <a:pt x="3483" y="1230"/>
                </a:lnTo>
                <a:lnTo>
                  <a:pt x="3484" y="1229"/>
                </a:lnTo>
                <a:lnTo>
                  <a:pt x="3484" y="1228"/>
                </a:lnTo>
                <a:lnTo>
                  <a:pt x="3486" y="1228"/>
                </a:lnTo>
                <a:lnTo>
                  <a:pt x="3487" y="1228"/>
                </a:lnTo>
                <a:lnTo>
                  <a:pt x="3491" y="1228"/>
                </a:lnTo>
                <a:lnTo>
                  <a:pt x="3495" y="1229"/>
                </a:lnTo>
                <a:lnTo>
                  <a:pt x="3497" y="1229"/>
                </a:lnTo>
                <a:lnTo>
                  <a:pt x="3498" y="1228"/>
                </a:lnTo>
                <a:lnTo>
                  <a:pt x="3495" y="1220"/>
                </a:lnTo>
                <a:lnTo>
                  <a:pt x="3494" y="1220"/>
                </a:lnTo>
                <a:lnTo>
                  <a:pt x="3491" y="1219"/>
                </a:lnTo>
                <a:lnTo>
                  <a:pt x="3490" y="1219"/>
                </a:lnTo>
                <a:lnTo>
                  <a:pt x="3491" y="1218"/>
                </a:lnTo>
                <a:lnTo>
                  <a:pt x="3493" y="1217"/>
                </a:lnTo>
                <a:lnTo>
                  <a:pt x="3496" y="1216"/>
                </a:lnTo>
                <a:lnTo>
                  <a:pt x="3498" y="1215"/>
                </a:lnTo>
                <a:lnTo>
                  <a:pt x="3501" y="1216"/>
                </a:lnTo>
                <a:lnTo>
                  <a:pt x="3504" y="1218"/>
                </a:lnTo>
                <a:lnTo>
                  <a:pt x="3506" y="1219"/>
                </a:lnTo>
                <a:lnTo>
                  <a:pt x="3510" y="1220"/>
                </a:lnTo>
                <a:lnTo>
                  <a:pt x="3510" y="1209"/>
                </a:lnTo>
                <a:lnTo>
                  <a:pt x="3504" y="1206"/>
                </a:lnTo>
                <a:lnTo>
                  <a:pt x="3506" y="1206"/>
                </a:lnTo>
                <a:lnTo>
                  <a:pt x="3509" y="1206"/>
                </a:lnTo>
                <a:lnTo>
                  <a:pt x="3512" y="1205"/>
                </a:lnTo>
                <a:lnTo>
                  <a:pt x="3515" y="1206"/>
                </a:lnTo>
                <a:lnTo>
                  <a:pt x="3517" y="1208"/>
                </a:lnTo>
                <a:lnTo>
                  <a:pt x="3520" y="1213"/>
                </a:lnTo>
                <a:lnTo>
                  <a:pt x="3521" y="1215"/>
                </a:lnTo>
                <a:lnTo>
                  <a:pt x="3521" y="1214"/>
                </a:lnTo>
                <a:lnTo>
                  <a:pt x="3521" y="1211"/>
                </a:lnTo>
                <a:lnTo>
                  <a:pt x="3520" y="1205"/>
                </a:lnTo>
                <a:lnTo>
                  <a:pt x="3519" y="1203"/>
                </a:lnTo>
                <a:lnTo>
                  <a:pt x="3518" y="1200"/>
                </a:lnTo>
                <a:lnTo>
                  <a:pt x="3516" y="1199"/>
                </a:lnTo>
                <a:lnTo>
                  <a:pt x="3513" y="1198"/>
                </a:lnTo>
                <a:lnTo>
                  <a:pt x="3509" y="1198"/>
                </a:lnTo>
                <a:lnTo>
                  <a:pt x="3507" y="1197"/>
                </a:lnTo>
                <a:lnTo>
                  <a:pt x="3505" y="1195"/>
                </a:lnTo>
                <a:lnTo>
                  <a:pt x="3503" y="1191"/>
                </a:lnTo>
                <a:lnTo>
                  <a:pt x="3500" y="1188"/>
                </a:lnTo>
                <a:lnTo>
                  <a:pt x="3499" y="1187"/>
                </a:lnTo>
                <a:lnTo>
                  <a:pt x="3498" y="1186"/>
                </a:lnTo>
                <a:lnTo>
                  <a:pt x="3496" y="1186"/>
                </a:lnTo>
                <a:lnTo>
                  <a:pt x="3495" y="1186"/>
                </a:lnTo>
                <a:lnTo>
                  <a:pt x="3494" y="1187"/>
                </a:lnTo>
                <a:lnTo>
                  <a:pt x="3493" y="1187"/>
                </a:lnTo>
                <a:lnTo>
                  <a:pt x="3492" y="1189"/>
                </a:lnTo>
                <a:lnTo>
                  <a:pt x="3491" y="1189"/>
                </a:lnTo>
                <a:lnTo>
                  <a:pt x="3490" y="1189"/>
                </a:lnTo>
                <a:lnTo>
                  <a:pt x="3489" y="1188"/>
                </a:lnTo>
                <a:lnTo>
                  <a:pt x="3489" y="1186"/>
                </a:lnTo>
                <a:lnTo>
                  <a:pt x="3489" y="1185"/>
                </a:lnTo>
                <a:lnTo>
                  <a:pt x="3487" y="1183"/>
                </a:lnTo>
                <a:lnTo>
                  <a:pt x="3487" y="1178"/>
                </a:lnTo>
                <a:lnTo>
                  <a:pt x="3492" y="1178"/>
                </a:lnTo>
                <a:lnTo>
                  <a:pt x="3493" y="1178"/>
                </a:lnTo>
                <a:lnTo>
                  <a:pt x="3494" y="1178"/>
                </a:lnTo>
                <a:lnTo>
                  <a:pt x="3494" y="1177"/>
                </a:lnTo>
                <a:lnTo>
                  <a:pt x="3494" y="1176"/>
                </a:lnTo>
                <a:lnTo>
                  <a:pt x="3493" y="1173"/>
                </a:lnTo>
                <a:lnTo>
                  <a:pt x="3491" y="1170"/>
                </a:lnTo>
                <a:lnTo>
                  <a:pt x="3489" y="1167"/>
                </a:lnTo>
                <a:lnTo>
                  <a:pt x="3484" y="1161"/>
                </a:lnTo>
                <a:lnTo>
                  <a:pt x="3481" y="1155"/>
                </a:lnTo>
                <a:lnTo>
                  <a:pt x="3488" y="1145"/>
                </a:lnTo>
                <a:lnTo>
                  <a:pt x="3490" y="1143"/>
                </a:lnTo>
                <a:lnTo>
                  <a:pt x="3491" y="1142"/>
                </a:lnTo>
                <a:lnTo>
                  <a:pt x="3491" y="1144"/>
                </a:lnTo>
                <a:lnTo>
                  <a:pt x="3490" y="1150"/>
                </a:lnTo>
                <a:lnTo>
                  <a:pt x="3492" y="1150"/>
                </a:lnTo>
                <a:lnTo>
                  <a:pt x="3493" y="1151"/>
                </a:lnTo>
                <a:lnTo>
                  <a:pt x="3494" y="1152"/>
                </a:lnTo>
                <a:lnTo>
                  <a:pt x="3494" y="1155"/>
                </a:lnTo>
                <a:lnTo>
                  <a:pt x="3495" y="1158"/>
                </a:lnTo>
                <a:lnTo>
                  <a:pt x="3498" y="1157"/>
                </a:lnTo>
                <a:lnTo>
                  <a:pt x="3498" y="1156"/>
                </a:lnTo>
                <a:lnTo>
                  <a:pt x="3498" y="1155"/>
                </a:lnTo>
                <a:lnTo>
                  <a:pt x="3498" y="1152"/>
                </a:lnTo>
                <a:lnTo>
                  <a:pt x="3508" y="1151"/>
                </a:lnTo>
                <a:lnTo>
                  <a:pt x="3511" y="1151"/>
                </a:lnTo>
                <a:lnTo>
                  <a:pt x="3513" y="1150"/>
                </a:lnTo>
                <a:lnTo>
                  <a:pt x="3513" y="1148"/>
                </a:lnTo>
                <a:lnTo>
                  <a:pt x="3512" y="1146"/>
                </a:lnTo>
                <a:lnTo>
                  <a:pt x="3504" y="1135"/>
                </a:lnTo>
                <a:lnTo>
                  <a:pt x="3517" y="1136"/>
                </a:lnTo>
                <a:lnTo>
                  <a:pt x="3526" y="1137"/>
                </a:lnTo>
                <a:lnTo>
                  <a:pt x="3535" y="1136"/>
                </a:lnTo>
                <a:lnTo>
                  <a:pt x="3546" y="1135"/>
                </a:lnTo>
                <a:lnTo>
                  <a:pt x="3547" y="1140"/>
                </a:lnTo>
                <a:lnTo>
                  <a:pt x="3549" y="1144"/>
                </a:lnTo>
                <a:lnTo>
                  <a:pt x="3549" y="1147"/>
                </a:lnTo>
                <a:lnTo>
                  <a:pt x="3550" y="1151"/>
                </a:lnTo>
                <a:lnTo>
                  <a:pt x="3552" y="1153"/>
                </a:lnTo>
                <a:lnTo>
                  <a:pt x="3554" y="1152"/>
                </a:lnTo>
                <a:lnTo>
                  <a:pt x="3557" y="1150"/>
                </a:lnTo>
                <a:lnTo>
                  <a:pt x="3563" y="1147"/>
                </a:lnTo>
                <a:lnTo>
                  <a:pt x="3560" y="1150"/>
                </a:lnTo>
                <a:lnTo>
                  <a:pt x="3557" y="1154"/>
                </a:lnTo>
                <a:lnTo>
                  <a:pt x="3552" y="1161"/>
                </a:lnTo>
                <a:lnTo>
                  <a:pt x="3550" y="1160"/>
                </a:lnTo>
                <a:lnTo>
                  <a:pt x="3549" y="1161"/>
                </a:lnTo>
                <a:lnTo>
                  <a:pt x="3549" y="1162"/>
                </a:lnTo>
                <a:lnTo>
                  <a:pt x="3549" y="1164"/>
                </a:lnTo>
                <a:lnTo>
                  <a:pt x="3549" y="1169"/>
                </a:lnTo>
                <a:lnTo>
                  <a:pt x="3549" y="1172"/>
                </a:lnTo>
                <a:lnTo>
                  <a:pt x="3555" y="1173"/>
                </a:lnTo>
                <a:lnTo>
                  <a:pt x="3558" y="1174"/>
                </a:lnTo>
                <a:lnTo>
                  <a:pt x="3560" y="1175"/>
                </a:lnTo>
                <a:lnTo>
                  <a:pt x="3561" y="1178"/>
                </a:lnTo>
                <a:lnTo>
                  <a:pt x="3562" y="1181"/>
                </a:lnTo>
                <a:lnTo>
                  <a:pt x="3561" y="1183"/>
                </a:lnTo>
                <a:lnTo>
                  <a:pt x="3561" y="1185"/>
                </a:lnTo>
                <a:lnTo>
                  <a:pt x="3560" y="1190"/>
                </a:lnTo>
                <a:lnTo>
                  <a:pt x="3560" y="1192"/>
                </a:lnTo>
                <a:lnTo>
                  <a:pt x="3560" y="1195"/>
                </a:lnTo>
                <a:lnTo>
                  <a:pt x="3563" y="1197"/>
                </a:lnTo>
                <a:lnTo>
                  <a:pt x="3565" y="1198"/>
                </a:lnTo>
                <a:lnTo>
                  <a:pt x="3565" y="1199"/>
                </a:lnTo>
                <a:lnTo>
                  <a:pt x="3566" y="1200"/>
                </a:lnTo>
                <a:lnTo>
                  <a:pt x="3561" y="1201"/>
                </a:lnTo>
                <a:lnTo>
                  <a:pt x="3558" y="1201"/>
                </a:lnTo>
                <a:lnTo>
                  <a:pt x="3552" y="1203"/>
                </a:lnTo>
                <a:lnTo>
                  <a:pt x="3553" y="1204"/>
                </a:lnTo>
                <a:lnTo>
                  <a:pt x="3553" y="1205"/>
                </a:lnTo>
                <a:lnTo>
                  <a:pt x="3554" y="1208"/>
                </a:lnTo>
                <a:lnTo>
                  <a:pt x="3555" y="1211"/>
                </a:lnTo>
                <a:lnTo>
                  <a:pt x="3556" y="1211"/>
                </a:lnTo>
                <a:lnTo>
                  <a:pt x="3558" y="1210"/>
                </a:lnTo>
                <a:lnTo>
                  <a:pt x="3563" y="1209"/>
                </a:lnTo>
                <a:lnTo>
                  <a:pt x="3564" y="1216"/>
                </a:lnTo>
                <a:lnTo>
                  <a:pt x="3565" y="1222"/>
                </a:lnTo>
                <a:lnTo>
                  <a:pt x="3566" y="1234"/>
                </a:lnTo>
                <a:lnTo>
                  <a:pt x="3567" y="1234"/>
                </a:lnTo>
                <a:lnTo>
                  <a:pt x="3569" y="1234"/>
                </a:lnTo>
                <a:lnTo>
                  <a:pt x="3573" y="1234"/>
                </a:lnTo>
                <a:lnTo>
                  <a:pt x="3577" y="1233"/>
                </a:lnTo>
                <a:lnTo>
                  <a:pt x="3578" y="1233"/>
                </a:lnTo>
                <a:lnTo>
                  <a:pt x="3580" y="1234"/>
                </a:lnTo>
                <a:lnTo>
                  <a:pt x="3580" y="1242"/>
                </a:lnTo>
                <a:lnTo>
                  <a:pt x="3581" y="1243"/>
                </a:lnTo>
                <a:lnTo>
                  <a:pt x="3583" y="1243"/>
                </a:lnTo>
                <a:lnTo>
                  <a:pt x="3585" y="1242"/>
                </a:lnTo>
                <a:lnTo>
                  <a:pt x="3591" y="1240"/>
                </a:lnTo>
                <a:lnTo>
                  <a:pt x="3600" y="1251"/>
                </a:lnTo>
                <a:lnTo>
                  <a:pt x="3605" y="1257"/>
                </a:lnTo>
                <a:lnTo>
                  <a:pt x="3611" y="1262"/>
                </a:lnTo>
                <a:lnTo>
                  <a:pt x="3612" y="1261"/>
                </a:lnTo>
                <a:lnTo>
                  <a:pt x="3614" y="1261"/>
                </a:lnTo>
                <a:lnTo>
                  <a:pt x="3616" y="1261"/>
                </a:lnTo>
                <a:lnTo>
                  <a:pt x="3619" y="1260"/>
                </a:lnTo>
                <a:lnTo>
                  <a:pt x="3620" y="1260"/>
                </a:lnTo>
                <a:lnTo>
                  <a:pt x="3622" y="1259"/>
                </a:lnTo>
                <a:lnTo>
                  <a:pt x="3624" y="1258"/>
                </a:lnTo>
                <a:lnTo>
                  <a:pt x="3625" y="1256"/>
                </a:lnTo>
                <a:lnTo>
                  <a:pt x="3627" y="1252"/>
                </a:lnTo>
                <a:lnTo>
                  <a:pt x="3629" y="1249"/>
                </a:lnTo>
                <a:lnTo>
                  <a:pt x="3631" y="1246"/>
                </a:lnTo>
                <a:lnTo>
                  <a:pt x="3632" y="1244"/>
                </a:lnTo>
                <a:lnTo>
                  <a:pt x="3633" y="1244"/>
                </a:lnTo>
                <a:lnTo>
                  <a:pt x="3635" y="1243"/>
                </a:lnTo>
                <a:lnTo>
                  <a:pt x="3638" y="1244"/>
                </a:lnTo>
                <a:lnTo>
                  <a:pt x="3640" y="1244"/>
                </a:lnTo>
                <a:lnTo>
                  <a:pt x="3644" y="1246"/>
                </a:lnTo>
                <a:lnTo>
                  <a:pt x="3653" y="1251"/>
                </a:lnTo>
                <a:lnTo>
                  <a:pt x="3659" y="1257"/>
                </a:lnTo>
                <a:lnTo>
                  <a:pt x="3662" y="1260"/>
                </a:lnTo>
                <a:lnTo>
                  <a:pt x="3663" y="1261"/>
                </a:lnTo>
                <a:lnTo>
                  <a:pt x="3664" y="1262"/>
                </a:lnTo>
                <a:lnTo>
                  <a:pt x="3668" y="1262"/>
                </a:lnTo>
                <a:lnTo>
                  <a:pt x="3671" y="1262"/>
                </a:lnTo>
                <a:lnTo>
                  <a:pt x="3677" y="1261"/>
                </a:lnTo>
                <a:lnTo>
                  <a:pt x="3683" y="1259"/>
                </a:lnTo>
                <a:lnTo>
                  <a:pt x="3688" y="1255"/>
                </a:lnTo>
                <a:lnTo>
                  <a:pt x="3692" y="1252"/>
                </a:lnTo>
                <a:lnTo>
                  <a:pt x="3696" y="1249"/>
                </a:lnTo>
                <a:lnTo>
                  <a:pt x="3699" y="1246"/>
                </a:lnTo>
                <a:lnTo>
                  <a:pt x="3701" y="1245"/>
                </a:lnTo>
                <a:lnTo>
                  <a:pt x="3702" y="1245"/>
                </a:lnTo>
                <a:lnTo>
                  <a:pt x="3703" y="1246"/>
                </a:lnTo>
                <a:lnTo>
                  <a:pt x="3705" y="1247"/>
                </a:lnTo>
                <a:lnTo>
                  <a:pt x="3708" y="1248"/>
                </a:lnTo>
                <a:lnTo>
                  <a:pt x="3710" y="1249"/>
                </a:lnTo>
                <a:lnTo>
                  <a:pt x="3712" y="1248"/>
                </a:lnTo>
                <a:lnTo>
                  <a:pt x="3713" y="1247"/>
                </a:lnTo>
                <a:lnTo>
                  <a:pt x="3714" y="1246"/>
                </a:lnTo>
                <a:lnTo>
                  <a:pt x="3716" y="1243"/>
                </a:lnTo>
                <a:lnTo>
                  <a:pt x="3718" y="1239"/>
                </a:lnTo>
                <a:lnTo>
                  <a:pt x="3720" y="1237"/>
                </a:lnTo>
                <a:lnTo>
                  <a:pt x="3720" y="1238"/>
                </a:lnTo>
                <a:lnTo>
                  <a:pt x="3721" y="1239"/>
                </a:lnTo>
                <a:lnTo>
                  <a:pt x="3722" y="1242"/>
                </a:lnTo>
                <a:lnTo>
                  <a:pt x="3723" y="1246"/>
                </a:lnTo>
                <a:lnTo>
                  <a:pt x="3723" y="1251"/>
                </a:lnTo>
                <a:lnTo>
                  <a:pt x="3718" y="1254"/>
                </a:lnTo>
                <a:lnTo>
                  <a:pt x="3719" y="1261"/>
                </a:lnTo>
                <a:lnTo>
                  <a:pt x="3721" y="1267"/>
                </a:lnTo>
                <a:lnTo>
                  <a:pt x="3722" y="1272"/>
                </a:lnTo>
                <a:lnTo>
                  <a:pt x="3723" y="1279"/>
                </a:lnTo>
                <a:lnTo>
                  <a:pt x="3723" y="1281"/>
                </a:lnTo>
                <a:lnTo>
                  <a:pt x="3723" y="1284"/>
                </a:lnTo>
                <a:lnTo>
                  <a:pt x="3722" y="1287"/>
                </a:lnTo>
                <a:lnTo>
                  <a:pt x="3721" y="1290"/>
                </a:lnTo>
                <a:lnTo>
                  <a:pt x="3720" y="1292"/>
                </a:lnTo>
                <a:lnTo>
                  <a:pt x="3720" y="1293"/>
                </a:lnTo>
                <a:lnTo>
                  <a:pt x="3723" y="1294"/>
                </a:lnTo>
                <a:lnTo>
                  <a:pt x="3725" y="1295"/>
                </a:lnTo>
                <a:lnTo>
                  <a:pt x="3726" y="1297"/>
                </a:lnTo>
                <a:lnTo>
                  <a:pt x="3726" y="1301"/>
                </a:lnTo>
                <a:lnTo>
                  <a:pt x="3725" y="1306"/>
                </a:lnTo>
                <a:lnTo>
                  <a:pt x="3723" y="1310"/>
                </a:lnTo>
                <a:lnTo>
                  <a:pt x="3720" y="1315"/>
                </a:lnTo>
                <a:lnTo>
                  <a:pt x="3715" y="1323"/>
                </a:lnTo>
                <a:lnTo>
                  <a:pt x="3712" y="1330"/>
                </a:lnTo>
                <a:lnTo>
                  <a:pt x="3711" y="1332"/>
                </a:lnTo>
                <a:lnTo>
                  <a:pt x="3712" y="1333"/>
                </a:lnTo>
                <a:lnTo>
                  <a:pt x="3712" y="1334"/>
                </a:lnTo>
                <a:lnTo>
                  <a:pt x="3713" y="1335"/>
                </a:lnTo>
                <a:lnTo>
                  <a:pt x="3714" y="1336"/>
                </a:lnTo>
                <a:lnTo>
                  <a:pt x="3715" y="1336"/>
                </a:lnTo>
                <a:lnTo>
                  <a:pt x="3715" y="1338"/>
                </a:lnTo>
                <a:lnTo>
                  <a:pt x="3711" y="1342"/>
                </a:lnTo>
                <a:lnTo>
                  <a:pt x="3708" y="1345"/>
                </a:lnTo>
                <a:lnTo>
                  <a:pt x="3706" y="1346"/>
                </a:lnTo>
                <a:lnTo>
                  <a:pt x="3706" y="1349"/>
                </a:lnTo>
                <a:lnTo>
                  <a:pt x="3707" y="1352"/>
                </a:lnTo>
                <a:lnTo>
                  <a:pt x="3707" y="1355"/>
                </a:lnTo>
                <a:lnTo>
                  <a:pt x="3706" y="1358"/>
                </a:lnTo>
                <a:lnTo>
                  <a:pt x="3704" y="1360"/>
                </a:lnTo>
                <a:lnTo>
                  <a:pt x="3702" y="1361"/>
                </a:lnTo>
                <a:lnTo>
                  <a:pt x="3700" y="1363"/>
                </a:lnTo>
                <a:lnTo>
                  <a:pt x="3697" y="1363"/>
                </a:lnTo>
                <a:lnTo>
                  <a:pt x="3690" y="1364"/>
                </a:lnTo>
                <a:lnTo>
                  <a:pt x="3683" y="1364"/>
                </a:lnTo>
                <a:lnTo>
                  <a:pt x="3676" y="1363"/>
                </a:lnTo>
                <a:lnTo>
                  <a:pt x="3670" y="1363"/>
                </a:lnTo>
                <a:lnTo>
                  <a:pt x="3665" y="1366"/>
                </a:lnTo>
                <a:lnTo>
                  <a:pt x="3661" y="1368"/>
                </a:lnTo>
                <a:lnTo>
                  <a:pt x="3659" y="1369"/>
                </a:lnTo>
                <a:lnTo>
                  <a:pt x="3658" y="1369"/>
                </a:lnTo>
                <a:lnTo>
                  <a:pt x="3657" y="1368"/>
                </a:lnTo>
                <a:lnTo>
                  <a:pt x="3655" y="1365"/>
                </a:lnTo>
                <a:lnTo>
                  <a:pt x="3653" y="1361"/>
                </a:lnTo>
                <a:lnTo>
                  <a:pt x="3651" y="1360"/>
                </a:lnTo>
                <a:lnTo>
                  <a:pt x="3649" y="1361"/>
                </a:lnTo>
                <a:lnTo>
                  <a:pt x="3646" y="1361"/>
                </a:lnTo>
                <a:lnTo>
                  <a:pt x="3645" y="1361"/>
                </a:lnTo>
                <a:lnTo>
                  <a:pt x="3646" y="1361"/>
                </a:lnTo>
                <a:lnTo>
                  <a:pt x="3646" y="1364"/>
                </a:lnTo>
                <a:lnTo>
                  <a:pt x="3647" y="1369"/>
                </a:lnTo>
                <a:lnTo>
                  <a:pt x="3644" y="1368"/>
                </a:lnTo>
                <a:lnTo>
                  <a:pt x="3643" y="1367"/>
                </a:lnTo>
                <a:lnTo>
                  <a:pt x="3643" y="1366"/>
                </a:lnTo>
                <a:lnTo>
                  <a:pt x="3642" y="1364"/>
                </a:lnTo>
                <a:lnTo>
                  <a:pt x="3642" y="1363"/>
                </a:lnTo>
                <a:lnTo>
                  <a:pt x="3640" y="1363"/>
                </a:lnTo>
                <a:lnTo>
                  <a:pt x="3637" y="1364"/>
                </a:lnTo>
                <a:lnTo>
                  <a:pt x="3631" y="1366"/>
                </a:lnTo>
                <a:lnTo>
                  <a:pt x="3626" y="1370"/>
                </a:lnTo>
                <a:lnTo>
                  <a:pt x="3622" y="1372"/>
                </a:lnTo>
                <a:lnTo>
                  <a:pt x="3605" y="1369"/>
                </a:lnTo>
                <a:lnTo>
                  <a:pt x="3602" y="1369"/>
                </a:lnTo>
                <a:lnTo>
                  <a:pt x="3594" y="1369"/>
                </a:lnTo>
                <a:lnTo>
                  <a:pt x="3594" y="1372"/>
                </a:lnTo>
                <a:lnTo>
                  <a:pt x="3591" y="1370"/>
                </a:lnTo>
                <a:lnTo>
                  <a:pt x="3588" y="1367"/>
                </a:lnTo>
                <a:lnTo>
                  <a:pt x="3587" y="1366"/>
                </a:lnTo>
                <a:lnTo>
                  <a:pt x="3586" y="1366"/>
                </a:lnTo>
                <a:lnTo>
                  <a:pt x="3584" y="1366"/>
                </a:lnTo>
                <a:lnTo>
                  <a:pt x="3583" y="1366"/>
                </a:lnTo>
                <a:lnTo>
                  <a:pt x="3582" y="1368"/>
                </a:lnTo>
                <a:lnTo>
                  <a:pt x="3582" y="1370"/>
                </a:lnTo>
                <a:lnTo>
                  <a:pt x="3583" y="1373"/>
                </a:lnTo>
                <a:lnTo>
                  <a:pt x="3583" y="1375"/>
                </a:lnTo>
                <a:lnTo>
                  <a:pt x="3569" y="1383"/>
                </a:lnTo>
                <a:lnTo>
                  <a:pt x="3563" y="1380"/>
                </a:lnTo>
                <a:lnTo>
                  <a:pt x="3557" y="1375"/>
                </a:lnTo>
                <a:lnTo>
                  <a:pt x="3551" y="1371"/>
                </a:lnTo>
                <a:lnTo>
                  <a:pt x="3548" y="1370"/>
                </a:lnTo>
                <a:lnTo>
                  <a:pt x="3546" y="1369"/>
                </a:lnTo>
                <a:lnTo>
                  <a:pt x="3543" y="1369"/>
                </a:lnTo>
                <a:lnTo>
                  <a:pt x="3541" y="1369"/>
                </a:lnTo>
                <a:lnTo>
                  <a:pt x="3539" y="1370"/>
                </a:lnTo>
                <a:lnTo>
                  <a:pt x="3537" y="1370"/>
                </a:lnTo>
                <a:lnTo>
                  <a:pt x="3533" y="1372"/>
                </a:lnTo>
                <a:lnTo>
                  <a:pt x="3531" y="1372"/>
                </a:lnTo>
                <a:lnTo>
                  <a:pt x="3529" y="1372"/>
                </a:lnTo>
                <a:lnTo>
                  <a:pt x="3529" y="1369"/>
                </a:lnTo>
                <a:lnTo>
                  <a:pt x="3518" y="1362"/>
                </a:lnTo>
                <a:lnTo>
                  <a:pt x="3507" y="1355"/>
                </a:lnTo>
                <a:lnTo>
                  <a:pt x="3504" y="1355"/>
                </a:lnTo>
                <a:lnTo>
                  <a:pt x="3502" y="1355"/>
                </a:lnTo>
                <a:lnTo>
                  <a:pt x="3497" y="1355"/>
                </a:lnTo>
                <a:lnTo>
                  <a:pt x="3491" y="1356"/>
                </a:lnTo>
                <a:lnTo>
                  <a:pt x="3489" y="1356"/>
                </a:lnTo>
                <a:lnTo>
                  <a:pt x="3487" y="1355"/>
                </a:lnTo>
                <a:lnTo>
                  <a:pt x="3484" y="1344"/>
                </a:lnTo>
                <a:lnTo>
                  <a:pt x="3468" y="1339"/>
                </a:lnTo>
                <a:lnTo>
                  <a:pt x="3456" y="1335"/>
                </a:lnTo>
                <a:lnTo>
                  <a:pt x="3454" y="1335"/>
                </a:lnTo>
                <a:lnTo>
                  <a:pt x="3452" y="1336"/>
                </a:lnTo>
                <a:lnTo>
                  <a:pt x="3447" y="1338"/>
                </a:lnTo>
                <a:lnTo>
                  <a:pt x="3443" y="1341"/>
                </a:lnTo>
                <a:lnTo>
                  <a:pt x="3439" y="1345"/>
                </a:lnTo>
                <a:lnTo>
                  <a:pt x="3431" y="1353"/>
                </a:lnTo>
                <a:lnTo>
                  <a:pt x="3425" y="1361"/>
                </a:lnTo>
                <a:lnTo>
                  <a:pt x="3427" y="1363"/>
                </a:lnTo>
                <a:lnTo>
                  <a:pt x="3430" y="1365"/>
                </a:lnTo>
                <a:lnTo>
                  <a:pt x="3432" y="1367"/>
                </a:lnTo>
                <a:lnTo>
                  <a:pt x="3434" y="1369"/>
                </a:lnTo>
                <a:lnTo>
                  <a:pt x="3434" y="1372"/>
                </a:lnTo>
                <a:lnTo>
                  <a:pt x="3433" y="1375"/>
                </a:lnTo>
                <a:lnTo>
                  <a:pt x="3433" y="1378"/>
                </a:lnTo>
                <a:lnTo>
                  <a:pt x="3433" y="1379"/>
                </a:lnTo>
                <a:lnTo>
                  <a:pt x="3434" y="1380"/>
                </a:lnTo>
                <a:lnTo>
                  <a:pt x="3429" y="1385"/>
                </a:lnTo>
                <a:lnTo>
                  <a:pt x="3424" y="1389"/>
                </a:lnTo>
                <a:lnTo>
                  <a:pt x="3414" y="1397"/>
                </a:lnTo>
                <a:lnTo>
                  <a:pt x="3412" y="1396"/>
                </a:lnTo>
                <a:lnTo>
                  <a:pt x="3409" y="1393"/>
                </a:lnTo>
                <a:lnTo>
                  <a:pt x="3407" y="1390"/>
                </a:lnTo>
                <a:lnTo>
                  <a:pt x="3405" y="1389"/>
                </a:lnTo>
                <a:lnTo>
                  <a:pt x="3399" y="1386"/>
                </a:lnTo>
                <a:lnTo>
                  <a:pt x="3393" y="1385"/>
                </a:lnTo>
                <a:lnTo>
                  <a:pt x="3381" y="1382"/>
                </a:lnTo>
                <a:lnTo>
                  <a:pt x="3374" y="1381"/>
                </a:lnTo>
                <a:lnTo>
                  <a:pt x="3369" y="1380"/>
                </a:lnTo>
                <a:lnTo>
                  <a:pt x="3363" y="1377"/>
                </a:lnTo>
                <a:lnTo>
                  <a:pt x="3358" y="1375"/>
                </a:lnTo>
                <a:lnTo>
                  <a:pt x="3354" y="1372"/>
                </a:lnTo>
                <a:lnTo>
                  <a:pt x="3351" y="1368"/>
                </a:lnTo>
                <a:lnTo>
                  <a:pt x="3345" y="1360"/>
                </a:lnTo>
                <a:lnTo>
                  <a:pt x="3342" y="1356"/>
                </a:lnTo>
                <a:lnTo>
                  <a:pt x="3339" y="1352"/>
                </a:lnTo>
                <a:lnTo>
                  <a:pt x="3336" y="1349"/>
                </a:lnTo>
                <a:lnTo>
                  <a:pt x="3332" y="1346"/>
                </a:lnTo>
                <a:lnTo>
                  <a:pt x="3328" y="1345"/>
                </a:lnTo>
                <a:lnTo>
                  <a:pt x="3323" y="1344"/>
                </a:lnTo>
                <a:lnTo>
                  <a:pt x="3314" y="1343"/>
                </a:lnTo>
                <a:lnTo>
                  <a:pt x="3303" y="1343"/>
                </a:lnTo>
                <a:lnTo>
                  <a:pt x="3297" y="1343"/>
                </a:lnTo>
                <a:lnTo>
                  <a:pt x="3290" y="1341"/>
                </a:lnTo>
                <a:lnTo>
                  <a:pt x="3290" y="1335"/>
                </a:lnTo>
                <a:lnTo>
                  <a:pt x="3287" y="1334"/>
                </a:lnTo>
                <a:lnTo>
                  <a:pt x="3283" y="1334"/>
                </a:lnTo>
                <a:lnTo>
                  <a:pt x="3279" y="1334"/>
                </a:lnTo>
                <a:lnTo>
                  <a:pt x="3278" y="1333"/>
                </a:lnTo>
                <a:lnTo>
                  <a:pt x="3276" y="1332"/>
                </a:lnTo>
                <a:lnTo>
                  <a:pt x="3275" y="1332"/>
                </a:lnTo>
                <a:lnTo>
                  <a:pt x="3275" y="1330"/>
                </a:lnTo>
                <a:lnTo>
                  <a:pt x="3275" y="1327"/>
                </a:lnTo>
                <a:lnTo>
                  <a:pt x="3274" y="1323"/>
                </a:lnTo>
                <a:lnTo>
                  <a:pt x="3273" y="1321"/>
                </a:lnTo>
                <a:lnTo>
                  <a:pt x="3272" y="1321"/>
                </a:lnTo>
                <a:lnTo>
                  <a:pt x="3270" y="1322"/>
                </a:lnTo>
                <a:lnTo>
                  <a:pt x="3268" y="1324"/>
                </a:lnTo>
                <a:lnTo>
                  <a:pt x="3264" y="1319"/>
                </a:lnTo>
                <a:lnTo>
                  <a:pt x="3261" y="1317"/>
                </a:lnTo>
                <a:lnTo>
                  <a:pt x="3259" y="1315"/>
                </a:lnTo>
                <a:lnTo>
                  <a:pt x="3259" y="1312"/>
                </a:lnTo>
                <a:lnTo>
                  <a:pt x="3258" y="1309"/>
                </a:lnTo>
                <a:lnTo>
                  <a:pt x="3257" y="1306"/>
                </a:lnTo>
                <a:lnTo>
                  <a:pt x="3256" y="1305"/>
                </a:lnTo>
                <a:lnTo>
                  <a:pt x="3256" y="1304"/>
                </a:lnTo>
                <a:lnTo>
                  <a:pt x="3257" y="1304"/>
                </a:lnTo>
                <a:lnTo>
                  <a:pt x="3258" y="1303"/>
                </a:lnTo>
                <a:lnTo>
                  <a:pt x="3260" y="1301"/>
                </a:lnTo>
                <a:lnTo>
                  <a:pt x="3263" y="1300"/>
                </a:lnTo>
                <a:lnTo>
                  <a:pt x="3265" y="1299"/>
                </a:lnTo>
                <a:lnTo>
                  <a:pt x="3266" y="1297"/>
                </a:lnTo>
                <a:lnTo>
                  <a:pt x="3266" y="1293"/>
                </a:lnTo>
                <a:lnTo>
                  <a:pt x="3268" y="1283"/>
                </a:lnTo>
                <a:lnTo>
                  <a:pt x="3270" y="1270"/>
                </a:lnTo>
                <a:lnTo>
                  <a:pt x="3269" y="1270"/>
                </a:lnTo>
                <a:lnTo>
                  <a:pt x="3266" y="1271"/>
                </a:lnTo>
                <a:lnTo>
                  <a:pt x="3264" y="1271"/>
                </a:lnTo>
                <a:lnTo>
                  <a:pt x="3262" y="1270"/>
                </a:lnTo>
                <a:lnTo>
                  <a:pt x="3261" y="1268"/>
                </a:lnTo>
                <a:lnTo>
                  <a:pt x="3262" y="1265"/>
                </a:lnTo>
                <a:lnTo>
                  <a:pt x="3262" y="1262"/>
                </a:lnTo>
                <a:lnTo>
                  <a:pt x="3262" y="1259"/>
                </a:lnTo>
                <a:lnTo>
                  <a:pt x="3269" y="1248"/>
                </a:lnTo>
                <a:lnTo>
                  <a:pt x="3276" y="1237"/>
                </a:lnTo>
                <a:lnTo>
                  <a:pt x="3270" y="1237"/>
                </a:lnTo>
                <a:lnTo>
                  <a:pt x="3267" y="1239"/>
                </a:lnTo>
                <a:lnTo>
                  <a:pt x="3263" y="1240"/>
                </a:lnTo>
                <a:lnTo>
                  <a:pt x="3261" y="1240"/>
                </a:lnTo>
                <a:lnTo>
                  <a:pt x="3259" y="1240"/>
                </a:lnTo>
                <a:lnTo>
                  <a:pt x="3259" y="1231"/>
                </a:lnTo>
                <a:lnTo>
                  <a:pt x="3251" y="1228"/>
                </a:lnTo>
                <a:lnTo>
                  <a:pt x="3249" y="1228"/>
                </a:lnTo>
                <a:lnTo>
                  <a:pt x="3246" y="1229"/>
                </a:lnTo>
                <a:lnTo>
                  <a:pt x="3241" y="1232"/>
                </a:lnTo>
                <a:lnTo>
                  <a:pt x="3235" y="1235"/>
                </a:lnTo>
                <a:lnTo>
                  <a:pt x="3231" y="1237"/>
                </a:lnTo>
                <a:lnTo>
                  <a:pt x="3228" y="1237"/>
                </a:lnTo>
                <a:lnTo>
                  <a:pt x="3226" y="1237"/>
                </a:lnTo>
                <a:lnTo>
                  <a:pt x="3221" y="1237"/>
                </a:lnTo>
                <a:lnTo>
                  <a:pt x="3217" y="1235"/>
                </a:lnTo>
                <a:lnTo>
                  <a:pt x="3213" y="1234"/>
                </a:lnTo>
                <a:lnTo>
                  <a:pt x="3208" y="1232"/>
                </a:lnTo>
                <a:lnTo>
                  <a:pt x="3203" y="1231"/>
                </a:lnTo>
                <a:lnTo>
                  <a:pt x="3200" y="1237"/>
                </a:lnTo>
                <a:lnTo>
                  <a:pt x="3199" y="1240"/>
                </a:lnTo>
                <a:lnTo>
                  <a:pt x="3197" y="1242"/>
                </a:lnTo>
                <a:lnTo>
                  <a:pt x="3195" y="1240"/>
                </a:lnTo>
                <a:lnTo>
                  <a:pt x="3193" y="1237"/>
                </a:lnTo>
                <a:lnTo>
                  <a:pt x="3189" y="1231"/>
                </a:lnTo>
                <a:lnTo>
                  <a:pt x="3184" y="1233"/>
                </a:lnTo>
                <a:lnTo>
                  <a:pt x="3179" y="1233"/>
                </a:lnTo>
                <a:lnTo>
                  <a:pt x="3171" y="1234"/>
                </a:lnTo>
                <a:lnTo>
                  <a:pt x="3152" y="1234"/>
                </a:lnTo>
                <a:lnTo>
                  <a:pt x="3149" y="1234"/>
                </a:lnTo>
                <a:lnTo>
                  <a:pt x="3146" y="1235"/>
                </a:lnTo>
                <a:lnTo>
                  <a:pt x="3137" y="1238"/>
                </a:lnTo>
                <a:lnTo>
                  <a:pt x="3129" y="1241"/>
                </a:lnTo>
                <a:lnTo>
                  <a:pt x="3124" y="1242"/>
                </a:lnTo>
                <a:lnTo>
                  <a:pt x="3119" y="1242"/>
                </a:lnTo>
                <a:lnTo>
                  <a:pt x="3113" y="1240"/>
                </a:lnTo>
                <a:lnTo>
                  <a:pt x="3110" y="1240"/>
                </a:lnTo>
                <a:lnTo>
                  <a:pt x="3106" y="1239"/>
                </a:lnTo>
                <a:lnTo>
                  <a:pt x="3102" y="1239"/>
                </a:lnTo>
                <a:lnTo>
                  <a:pt x="3099" y="1240"/>
                </a:lnTo>
                <a:lnTo>
                  <a:pt x="3095" y="1242"/>
                </a:lnTo>
                <a:lnTo>
                  <a:pt x="3091" y="1245"/>
                </a:lnTo>
                <a:lnTo>
                  <a:pt x="3088" y="1249"/>
                </a:lnTo>
                <a:lnTo>
                  <a:pt x="3085" y="1251"/>
                </a:lnTo>
                <a:lnTo>
                  <a:pt x="3082" y="1251"/>
                </a:lnTo>
                <a:lnTo>
                  <a:pt x="3079" y="1251"/>
                </a:lnTo>
                <a:lnTo>
                  <a:pt x="3076" y="1250"/>
                </a:lnTo>
                <a:lnTo>
                  <a:pt x="3075" y="1250"/>
                </a:lnTo>
                <a:lnTo>
                  <a:pt x="3074" y="1251"/>
                </a:lnTo>
                <a:lnTo>
                  <a:pt x="3072" y="1252"/>
                </a:lnTo>
                <a:lnTo>
                  <a:pt x="3071" y="1255"/>
                </a:lnTo>
                <a:lnTo>
                  <a:pt x="3069" y="1258"/>
                </a:lnTo>
                <a:lnTo>
                  <a:pt x="3068" y="1259"/>
                </a:lnTo>
                <a:lnTo>
                  <a:pt x="3065" y="1260"/>
                </a:lnTo>
                <a:lnTo>
                  <a:pt x="3063" y="1260"/>
                </a:lnTo>
                <a:lnTo>
                  <a:pt x="3058" y="1260"/>
                </a:lnTo>
                <a:lnTo>
                  <a:pt x="3053" y="1261"/>
                </a:lnTo>
                <a:lnTo>
                  <a:pt x="3051" y="1261"/>
                </a:lnTo>
                <a:lnTo>
                  <a:pt x="3048" y="1262"/>
                </a:lnTo>
                <a:lnTo>
                  <a:pt x="3046" y="1264"/>
                </a:lnTo>
                <a:lnTo>
                  <a:pt x="3044" y="1266"/>
                </a:lnTo>
                <a:lnTo>
                  <a:pt x="3040" y="1271"/>
                </a:lnTo>
                <a:lnTo>
                  <a:pt x="3035" y="1276"/>
                </a:lnTo>
                <a:lnTo>
                  <a:pt x="3032" y="1278"/>
                </a:lnTo>
                <a:lnTo>
                  <a:pt x="3029" y="1279"/>
                </a:lnTo>
                <a:lnTo>
                  <a:pt x="3026" y="1279"/>
                </a:lnTo>
                <a:lnTo>
                  <a:pt x="3024" y="1278"/>
                </a:lnTo>
                <a:lnTo>
                  <a:pt x="3022" y="1277"/>
                </a:lnTo>
                <a:lnTo>
                  <a:pt x="3020" y="1275"/>
                </a:lnTo>
                <a:lnTo>
                  <a:pt x="3018" y="1272"/>
                </a:lnTo>
                <a:lnTo>
                  <a:pt x="3017" y="1270"/>
                </a:lnTo>
                <a:lnTo>
                  <a:pt x="3016" y="1271"/>
                </a:lnTo>
                <a:lnTo>
                  <a:pt x="3015" y="1271"/>
                </a:lnTo>
                <a:lnTo>
                  <a:pt x="3014" y="1273"/>
                </a:lnTo>
                <a:lnTo>
                  <a:pt x="3013" y="1275"/>
                </a:lnTo>
                <a:lnTo>
                  <a:pt x="3012" y="1276"/>
                </a:lnTo>
                <a:lnTo>
                  <a:pt x="3004" y="1278"/>
                </a:lnTo>
                <a:lnTo>
                  <a:pt x="2996" y="1278"/>
                </a:lnTo>
                <a:lnTo>
                  <a:pt x="2988" y="1278"/>
                </a:lnTo>
                <a:lnTo>
                  <a:pt x="2981" y="1279"/>
                </a:lnTo>
                <a:lnTo>
                  <a:pt x="2969" y="1262"/>
                </a:lnTo>
                <a:lnTo>
                  <a:pt x="2958" y="1265"/>
                </a:lnTo>
                <a:lnTo>
                  <a:pt x="2956" y="1271"/>
                </a:lnTo>
                <a:lnTo>
                  <a:pt x="2954" y="1277"/>
                </a:lnTo>
                <a:lnTo>
                  <a:pt x="2951" y="1288"/>
                </a:lnTo>
                <a:lnTo>
                  <a:pt x="2950" y="1294"/>
                </a:lnTo>
                <a:lnTo>
                  <a:pt x="2948" y="1299"/>
                </a:lnTo>
                <a:lnTo>
                  <a:pt x="2945" y="1304"/>
                </a:lnTo>
                <a:lnTo>
                  <a:pt x="2941" y="1310"/>
                </a:lnTo>
                <a:lnTo>
                  <a:pt x="2938" y="1313"/>
                </a:lnTo>
                <a:lnTo>
                  <a:pt x="2932" y="1318"/>
                </a:lnTo>
                <a:lnTo>
                  <a:pt x="2926" y="1322"/>
                </a:lnTo>
                <a:lnTo>
                  <a:pt x="2922" y="1324"/>
                </a:lnTo>
                <a:lnTo>
                  <a:pt x="2919" y="1324"/>
                </a:lnTo>
                <a:lnTo>
                  <a:pt x="2916" y="1324"/>
                </a:lnTo>
                <a:lnTo>
                  <a:pt x="2913" y="1323"/>
                </a:lnTo>
                <a:lnTo>
                  <a:pt x="2910" y="1324"/>
                </a:lnTo>
                <a:lnTo>
                  <a:pt x="2909" y="1325"/>
                </a:lnTo>
                <a:lnTo>
                  <a:pt x="2906" y="1328"/>
                </a:lnTo>
                <a:lnTo>
                  <a:pt x="2901" y="1335"/>
                </a:lnTo>
                <a:lnTo>
                  <a:pt x="2896" y="1341"/>
                </a:lnTo>
                <a:lnTo>
                  <a:pt x="2894" y="1346"/>
                </a:lnTo>
                <a:lnTo>
                  <a:pt x="2893" y="1348"/>
                </a:lnTo>
                <a:lnTo>
                  <a:pt x="2895" y="1350"/>
                </a:lnTo>
                <a:lnTo>
                  <a:pt x="2896" y="1352"/>
                </a:lnTo>
                <a:lnTo>
                  <a:pt x="2896" y="1353"/>
                </a:lnTo>
                <a:lnTo>
                  <a:pt x="2896" y="1355"/>
                </a:lnTo>
                <a:lnTo>
                  <a:pt x="2896" y="1357"/>
                </a:lnTo>
                <a:lnTo>
                  <a:pt x="2894" y="1359"/>
                </a:lnTo>
                <a:lnTo>
                  <a:pt x="2891" y="1364"/>
                </a:lnTo>
                <a:lnTo>
                  <a:pt x="2887" y="1369"/>
                </a:lnTo>
                <a:lnTo>
                  <a:pt x="2886" y="1372"/>
                </a:lnTo>
                <a:lnTo>
                  <a:pt x="2885" y="1375"/>
                </a:lnTo>
                <a:lnTo>
                  <a:pt x="2885" y="1377"/>
                </a:lnTo>
                <a:lnTo>
                  <a:pt x="2886" y="1380"/>
                </a:lnTo>
                <a:lnTo>
                  <a:pt x="2887" y="1384"/>
                </a:lnTo>
                <a:lnTo>
                  <a:pt x="2889" y="1388"/>
                </a:lnTo>
                <a:lnTo>
                  <a:pt x="2891" y="1391"/>
                </a:lnTo>
                <a:lnTo>
                  <a:pt x="2891" y="1398"/>
                </a:lnTo>
                <a:lnTo>
                  <a:pt x="2891" y="1405"/>
                </a:lnTo>
                <a:lnTo>
                  <a:pt x="2890" y="1412"/>
                </a:lnTo>
                <a:lnTo>
                  <a:pt x="2888" y="1418"/>
                </a:lnTo>
                <a:lnTo>
                  <a:pt x="2885" y="1423"/>
                </a:lnTo>
                <a:lnTo>
                  <a:pt x="2883" y="1428"/>
                </a:lnTo>
                <a:lnTo>
                  <a:pt x="2877" y="1436"/>
                </a:lnTo>
                <a:lnTo>
                  <a:pt x="2873" y="1440"/>
                </a:lnTo>
                <a:lnTo>
                  <a:pt x="2870" y="1443"/>
                </a:lnTo>
                <a:lnTo>
                  <a:pt x="2862" y="1448"/>
                </a:lnTo>
                <a:lnTo>
                  <a:pt x="2853" y="1453"/>
                </a:lnTo>
                <a:lnTo>
                  <a:pt x="2849" y="1456"/>
                </a:lnTo>
                <a:lnTo>
                  <a:pt x="2846" y="1459"/>
                </a:lnTo>
                <a:lnTo>
                  <a:pt x="2845" y="1460"/>
                </a:lnTo>
                <a:lnTo>
                  <a:pt x="2844" y="1461"/>
                </a:lnTo>
                <a:lnTo>
                  <a:pt x="2844" y="1462"/>
                </a:lnTo>
                <a:lnTo>
                  <a:pt x="2843" y="1463"/>
                </a:lnTo>
                <a:lnTo>
                  <a:pt x="2840" y="1470"/>
                </a:lnTo>
                <a:lnTo>
                  <a:pt x="2836" y="1471"/>
                </a:lnTo>
                <a:lnTo>
                  <a:pt x="2832" y="1471"/>
                </a:lnTo>
                <a:lnTo>
                  <a:pt x="2829" y="1471"/>
                </a:lnTo>
                <a:lnTo>
                  <a:pt x="2828" y="1472"/>
                </a:lnTo>
                <a:lnTo>
                  <a:pt x="2826" y="1473"/>
                </a:lnTo>
                <a:lnTo>
                  <a:pt x="2825" y="1475"/>
                </a:lnTo>
                <a:lnTo>
                  <a:pt x="2824" y="1477"/>
                </a:lnTo>
                <a:lnTo>
                  <a:pt x="2823" y="1481"/>
                </a:lnTo>
                <a:lnTo>
                  <a:pt x="2822" y="1486"/>
                </a:lnTo>
                <a:lnTo>
                  <a:pt x="2821" y="1488"/>
                </a:lnTo>
                <a:lnTo>
                  <a:pt x="2820" y="1490"/>
                </a:lnTo>
                <a:lnTo>
                  <a:pt x="2817" y="1493"/>
                </a:lnTo>
                <a:lnTo>
                  <a:pt x="2813" y="1495"/>
                </a:lnTo>
                <a:lnTo>
                  <a:pt x="2809" y="1498"/>
                </a:lnTo>
                <a:lnTo>
                  <a:pt x="2807" y="1500"/>
                </a:lnTo>
                <a:lnTo>
                  <a:pt x="2806" y="1501"/>
                </a:lnTo>
                <a:lnTo>
                  <a:pt x="2804" y="1506"/>
                </a:lnTo>
                <a:lnTo>
                  <a:pt x="2802" y="1511"/>
                </a:lnTo>
                <a:lnTo>
                  <a:pt x="2799" y="1522"/>
                </a:lnTo>
                <a:lnTo>
                  <a:pt x="2796" y="1533"/>
                </a:lnTo>
                <a:lnTo>
                  <a:pt x="2795" y="1538"/>
                </a:lnTo>
                <a:lnTo>
                  <a:pt x="2792" y="1543"/>
                </a:lnTo>
                <a:lnTo>
                  <a:pt x="2789" y="1547"/>
                </a:lnTo>
                <a:lnTo>
                  <a:pt x="2785" y="1550"/>
                </a:lnTo>
                <a:lnTo>
                  <a:pt x="2781" y="1554"/>
                </a:lnTo>
                <a:lnTo>
                  <a:pt x="2780" y="1555"/>
                </a:lnTo>
                <a:lnTo>
                  <a:pt x="2778" y="1557"/>
                </a:lnTo>
                <a:lnTo>
                  <a:pt x="2776" y="1562"/>
                </a:lnTo>
                <a:lnTo>
                  <a:pt x="2775" y="1566"/>
                </a:lnTo>
                <a:lnTo>
                  <a:pt x="2773" y="1575"/>
                </a:lnTo>
                <a:lnTo>
                  <a:pt x="2771" y="1583"/>
                </a:lnTo>
                <a:lnTo>
                  <a:pt x="2769" y="1587"/>
                </a:lnTo>
                <a:lnTo>
                  <a:pt x="2767" y="1591"/>
                </a:lnTo>
                <a:lnTo>
                  <a:pt x="2765" y="1593"/>
                </a:lnTo>
                <a:lnTo>
                  <a:pt x="2763" y="1594"/>
                </a:lnTo>
                <a:lnTo>
                  <a:pt x="2760" y="1595"/>
                </a:lnTo>
                <a:lnTo>
                  <a:pt x="2759" y="1597"/>
                </a:lnTo>
                <a:lnTo>
                  <a:pt x="2757" y="1603"/>
                </a:lnTo>
                <a:lnTo>
                  <a:pt x="2756" y="1608"/>
                </a:lnTo>
                <a:lnTo>
                  <a:pt x="2756" y="1612"/>
                </a:lnTo>
                <a:lnTo>
                  <a:pt x="2756" y="1613"/>
                </a:lnTo>
                <a:lnTo>
                  <a:pt x="2756" y="1615"/>
                </a:lnTo>
                <a:lnTo>
                  <a:pt x="2757" y="1618"/>
                </a:lnTo>
                <a:lnTo>
                  <a:pt x="2759" y="1620"/>
                </a:lnTo>
                <a:lnTo>
                  <a:pt x="2762" y="1623"/>
                </a:lnTo>
                <a:lnTo>
                  <a:pt x="2765" y="1627"/>
                </a:lnTo>
                <a:lnTo>
                  <a:pt x="2766" y="1629"/>
                </a:lnTo>
                <a:lnTo>
                  <a:pt x="2767" y="1631"/>
                </a:lnTo>
                <a:lnTo>
                  <a:pt x="2767" y="1636"/>
                </a:lnTo>
                <a:lnTo>
                  <a:pt x="2766" y="1645"/>
                </a:lnTo>
                <a:lnTo>
                  <a:pt x="2765" y="1653"/>
                </a:lnTo>
                <a:lnTo>
                  <a:pt x="2764" y="1656"/>
                </a:lnTo>
                <a:lnTo>
                  <a:pt x="2766" y="1664"/>
                </a:lnTo>
                <a:lnTo>
                  <a:pt x="2768" y="1671"/>
                </a:lnTo>
                <a:lnTo>
                  <a:pt x="2770" y="1686"/>
                </a:lnTo>
                <a:lnTo>
                  <a:pt x="2771" y="1694"/>
                </a:lnTo>
                <a:lnTo>
                  <a:pt x="2771" y="1701"/>
                </a:lnTo>
                <a:lnTo>
                  <a:pt x="2770" y="1709"/>
                </a:lnTo>
                <a:lnTo>
                  <a:pt x="2769" y="1718"/>
                </a:lnTo>
                <a:lnTo>
                  <a:pt x="2767" y="1726"/>
                </a:lnTo>
                <a:lnTo>
                  <a:pt x="2761" y="1726"/>
                </a:lnTo>
                <a:lnTo>
                  <a:pt x="2761" y="1734"/>
                </a:lnTo>
                <a:lnTo>
                  <a:pt x="2761" y="1742"/>
                </a:lnTo>
                <a:lnTo>
                  <a:pt x="2760" y="1748"/>
                </a:lnTo>
                <a:lnTo>
                  <a:pt x="2760" y="1751"/>
                </a:lnTo>
                <a:lnTo>
                  <a:pt x="2759" y="1754"/>
                </a:lnTo>
                <a:lnTo>
                  <a:pt x="2756" y="1757"/>
                </a:lnTo>
                <a:lnTo>
                  <a:pt x="2753" y="1760"/>
                </a:lnTo>
                <a:lnTo>
                  <a:pt x="2749" y="1763"/>
                </a:lnTo>
                <a:lnTo>
                  <a:pt x="2748" y="1765"/>
                </a:lnTo>
                <a:lnTo>
                  <a:pt x="2747" y="1766"/>
                </a:lnTo>
                <a:lnTo>
                  <a:pt x="2747" y="1768"/>
                </a:lnTo>
                <a:lnTo>
                  <a:pt x="2748" y="1770"/>
                </a:lnTo>
                <a:lnTo>
                  <a:pt x="2750" y="1776"/>
                </a:lnTo>
                <a:lnTo>
                  <a:pt x="2757" y="1788"/>
                </a:lnTo>
                <a:lnTo>
                  <a:pt x="2760" y="1795"/>
                </a:lnTo>
                <a:lnTo>
                  <a:pt x="2761" y="1800"/>
                </a:lnTo>
                <a:lnTo>
                  <a:pt x="2760" y="1801"/>
                </a:lnTo>
                <a:lnTo>
                  <a:pt x="2759" y="1802"/>
                </a:lnTo>
                <a:lnTo>
                  <a:pt x="2758" y="1803"/>
                </a:lnTo>
                <a:lnTo>
                  <a:pt x="2758" y="1804"/>
                </a:lnTo>
                <a:lnTo>
                  <a:pt x="2758" y="1807"/>
                </a:lnTo>
                <a:lnTo>
                  <a:pt x="2759" y="1810"/>
                </a:lnTo>
                <a:lnTo>
                  <a:pt x="2762" y="1816"/>
                </a:lnTo>
                <a:lnTo>
                  <a:pt x="2764" y="1819"/>
                </a:lnTo>
                <a:lnTo>
                  <a:pt x="2764" y="1825"/>
                </a:lnTo>
                <a:lnTo>
                  <a:pt x="2765" y="1826"/>
                </a:lnTo>
                <a:lnTo>
                  <a:pt x="2767" y="1827"/>
                </a:lnTo>
                <a:lnTo>
                  <a:pt x="2771" y="1828"/>
                </a:lnTo>
                <a:lnTo>
                  <a:pt x="2775" y="1829"/>
                </a:lnTo>
                <a:lnTo>
                  <a:pt x="2778" y="1830"/>
                </a:lnTo>
                <a:lnTo>
                  <a:pt x="2779" y="1832"/>
                </a:lnTo>
                <a:lnTo>
                  <a:pt x="2779" y="1833"/>
                </a:lnTo>
                <a:lnTo>
                  <a:pt x="2780" y="1837"/>
                </a:lnTo>
                <a:lnTo>
                  <a:pt x="2780" y="1841"/>
                </a:lnTo>
                <a:lnTo>
                  <a:pt x="2781" y="1844"/>
                </a:lnTo>
                <a:lnTo>
                  <a:pt x="2787" y="1844"/>
                </a:lnTo>
                <a:lnTo>
                  <a:pt x="2789" y="1845"/>
                </a:lnTo>
                <a:lnTo>
                  <a:pt x="2790" y="1845"/>
                </a:lnTo>
                <a:lnTo>
                  <a:pt x="2790" y="1844"/>
                </a:lnTo>
                <a:lnTo>
                  <a:pt x="2791" y="1847"/>
                </a:lnTo>
                <a:lnTo>
                  <a:pt x="2792" y="1848"/>
                </a:lnTo>
                <a:lnTo>
                  <a:pt x="2793" y="1851"/>
                </a:lnTo>
                <a:lnTo>
                  <a:pt x="2796" y="1858"/>
                </a:lnTo>
                <a:lnTo>
                  <a:pt x="2801" y="1870"/>
                </a:lnTo>
                <a:lnTo>
                  <a:pt x="2809" y="1870"/>
                </a:lnTo>
                <a:lnTo>
                  <a:pt x="2809" y="1872"/>
                </a:lnTo>
                <a:lnTo>
                  <a:pt x="2807" y="1875"/>
                </a:lnTo>
                <a:lnTo>
                  <a:pt x="2806" y="1879"/>
                </a:lnTo>
                <a:lnTo>
                  <a:pt x="2806" y="1884"/>
                </a:lnTo>
                <a:lnTo>
                  <a:pt x="2807" y="1885"/>
                </a:lnTo>
                <a:lnTo>
                  <a:pt x="2808" y="1887"/>
                </a:lnTo>
                <a:lnTo>
                  <a:pt x="2812" y="1890"/>
                </a:lnTo>
                <a:lnTo>
                  <a:pt x="2818" y="1892"/>
                </a:lnTo>
                <a:lnTo>
                  <a:pt x="2819" y="1897"/>
                </a:lnTo>
                <a:lnTo>
                  <a:pt x="2820" y="1902"/>
                </a:lnTo>
                <a:lnTo>
                  <a:pt x="2821" y="1912"/>
                </a:lnTo>
                <a:lnTo>
                  <a:pt x="2822" y="1916"/>
                </a:lnTo>
                <a:lnTo>
                  <a:pt x="2823" y="1920"/>
                </a:lnTo>
                <a:lnTo>
                  <a:pt x="2824" y="1922"/>
                </a:lnTo>
                <a:lnTo>
                  <a:pt x="2825" y="1924"/>
                </a:lnTo>
                <a:lnTo>
                  <a:pt x="2829" y="1926"/>
                </a:lnTo>
                <a:lnTo>
                  <a:pt x="2830" y="1927"/>
                </a:lnTo>
                <a:lnTo>
                  <a:pt x="2828" y="1928"/>
                </a:lnTo>
                <a:lnTo>
                  <a:pt x="2826" y="1929"/>
                </a:lnTo>
                <a:lnTo>
                  <a:pt x="2826" y="1930"/>
                </a:lnTo>
                <a:lnTo>
                  <a:pt x="2826" y="1932"/>
                </a:lnTo>
                <a:lnTo>
                  <a:pt x="2827" y="1933"/>
                </a:lnTo>
                <a:lnTo>
                  <a:pt x="2828" y="1933"/>
                </a:lnTo>
                <a:lnTo>
                  <a:pt x="2828" y="1932"/>
                </a:lnTo>
                <a:lnTo>
                  <a:pt x="2829" y="1930"/>
                </a:lnTo>
                <a:lnTo>
                  <a:pt x="2829" y="1929"/>
                </a:lnTo>
                <a:lnTo>
                  <a:pt x="2835" y="1938"/>
                </a:lnTo>
                <a:lnTo>
                  <a:pt x="2839" y="1943"/>
                </a:lnTo>
                <a:lnTo>
                  <a:pt x="2841" y="1945"/>
                </a:lnTo>
                <a:lnTo>
                  <a:pt x="2843" y="1946"/>
                </a:lnTo>
                <a:lnTo>
                  <a:pt x="2845" y="1946"/>
                </a:lnTo>
                <a:lnTo>
                  <a:pt x="2847" y="1945"/>
                </a:lnTo>
                <a:lnTo>
                  <a:pt x="2850" y="1945"/>
                </a:lnTo>
                <a:lnTo>
                  <a:pt x="2851" y="1946"/>
                </a:lnTo>
                <a:lnTo>
                  <a:pt x="2853" y="1948"/>
                </a:lnTo>
                <a:lnTo>
                  <a:pt x="2854" y="1951"/>
                </a:lnTo>
                <a:lnTo>
                  <a:pt x="2855" y="1954"/>
                </a:lnTo>
                <a:lnTo>
                  <a:pt x="2857" y="1957"/>
                </a:lnTo>
                <a:lnTo>
                  <a:pt x="2859" y="1959"/>
                </a:lnTo>
                <a:lnTo>
                  <a:pt x="2862" y="1961"/>
                </a:lnTo>
                <a:lnTo>
                  <a:pt x="2865" y="1963"/>
                </a:lnTo>
                <a:lnTo>
                  <a:pt x="2868" y="1964"/>
                </a:lnTo>
                <a:lnTo>
                  <a:pt x="2874" y="1967"/>
                </a:lnTo>
                <a:lnTo>
                  <a:pt x="2877" y="1969"/>
                </a:lnTo>
                <a:lnTo>
                  <a:pt x="2879" y="1971"/>
                </a:lnTo>
                <a:lnTo>
                  <a:pt x="2884" y="1975"/>
                </a:lnTo>
                <a:lnTo>
                  <a:pt x="2889" y="1981"/>
                </a:lnTo>
                <a:lnTo>
                  <a:pt x="2894" y="1987"/>
                </a:lnTo>
                <a:lnTo>
                  <a:pt x="2899" y="1993"/>
                </a:lnTo>
                <a:lnTo>
                  <a:pt x="2902" y="1996"/>
                </a:lnTo>
                <a:lnTo>
                  <a:pt x="2905" y="1999"/>
                </a:lnTo>
                <a:lnTo>
                  <a:pt x="2909" y="2001"/>
                </a:lnTo>
                <a:lnTo>
                  <a:pt x="2913" y="2003"/>
                </a:lnTo>
                <a:lnTo>
                  <a:pt x="2916" y="2004"/>
                </a:lnTo>
                <a:lnTo>
                  <a:pt x="2921" y="2005"/>
                </a:lnTo>
                <a:lnTo>
                  <a:pt x="2925" y="2005"/>
                </a:lnTo>
                <a:lnTo>
                  <a:pt x="2930" y="2005"/>
                </a:lnTo>
                <a:lnTo>
                  <a:pt x="2932" y="2004"/>
                </a:lnTo>
                <a:lnTo>
                  <a:pt x="2933" y="2004"/>
                </a:lnTo>
                <a:lnTo>
                  <a:pt x="2937" y="2001"/>
                </a:lnTo>
                <a:lnTo>
                  <a:pt x="2944" y="1995"/>
                </a:lnTo>
                <a:lnTo>
                  <a:pt x="2950" y="1989"/>
                </a:lnTo>
                <a:lnTo>
                  <a:pt x="2953" y="1986"/>
                </a:lnTo>
                <a:lnTo>
                  <a:pt x="2955" y="1985"/>
                </a:lnTo>
                <a:lnTo>
                  <a:pt x="2962" y="1984"/>
                </a:lnTo>
                <a:lnTo>
                  <a:pt x="2968" y="1983"/>
                </a:lnTo>
                <a:lnTo>
                  <a:pt x="2974" y="1984"/>
                </a:lnTo>
                <a:lnTo>
                  <a:pt x="2979" y="1986"/>
                </a:lnTo>
                <a:lnTo>
                  <a:pt x="2983" y="1987"/>
                </a:lnTo>
                <a:lnTo>
                  <a:pt x="2988" y="1989"/>
                </a:lnTo>
                <a:lnTo>
                  <a:pt x="2993" y="1991"/>
                </a:lnTo>
                <a:lnTo>
                  <a:pt x="2997" y="1993"/>
                </a:lnTo>
                <a:lnTo>
                  <a:pt x="3003" y="1994"/>
                </a:lnTo>
                <a:lnTo>
                  <a:pt x="3006" y="1994"/>
                </a:lnTo>
                <a:lnTo>
                  <a:pt x="3009" y="1994"/>
                </a:lnTo>
                <a:lnTo>
                  <a:pt x="3011" y="1992"/>
                </a:lnTo>
                <a:lnTo>
                  <a:pt x="3016" y="1989"/>
                </a:lnTo>
                <a:lnTo>
                  <a:pt x="3020" y="1987"/>
                </a:lnTo>
                <a:lnTo>
                  <a:pt x="3023" y="1985"/>
                </a:lnTo>
                <a:lnTo>
                  <a:pt x="3026" y="1985"/>
                </a:lnTo>
                <a:lnTo>
                  <a:pt x="3029" y="1985"/>
                </a:lnTo>
                <a:lnTo>
                  <a:pt x="3032" y="1985"/>
                </a:lnTo>
                <a:lnTo>
                  <a:pt x="3033" y="1985"/>
                </a:lnTo>
                <a:lnTo>
                  <a:pt x="3034" y="1985"/>
                </a:lnTo>
                <a:lnTo>
                  <a:pt x="3038" y="1981"/>
                </a:lnTo>
                <a:lnTo>
                  <a:pt x="3041" y="1978"/>
                </a:lnTo>
                <a:lnTo>
                  <a:pt x="3043" y="1977"/>
                </a:lnTo>
                <a:lnTo>
                  <a:pt x="3047" y="1976"/>
                </a:lnTo>
                <a:lnTo>
                  <a:pt x="3052" y="1975"/>
                </a:lnTo>
                <a:lnTo>
                  <a:pt x="3060" y="1976"/>
                </a:lnTo>
                <a:lnTo>
                  <a:pt x="3068" y="1976"/>
                </a:lnTo>
                <a:lnTo>
                  <a:pt x="3072" y="1975"/>
                </a:lnTo>
                <a:lnTo>
                  <a:pt x="3076" y="1974"/>
                </a:lnTo>
                <a:lnTo>
                  <a:pt x="3077" y="1972"/>
                </a:lnTo>
                <a:lnTo>
                  <a:pt x="3079" y="1968"/>
                </a:lnTo>
                <a:lnTo>
                  <a:pt x="3080" y="1966"/>
                </a:lnTo>
                <a:lnTo>
                  <a:pt x="3081" y="1964"/>
                </a:lnTo>
                <a:lnTo>
                  <a:pt x="3083" y="1963"/>
                </a:lnTo>
                <a:lnTo>
                  <a:pt x="3084" y="1963"/>
                </a:lnTo>
                <a:lnTo>
                  <a:pt x="3085" y="1963"/>
                </a:lnTo>
                <a:lnTo>
                  <a:pt x="3086" y="1963"/>
                </a:lnTo>
                <a:lnTo>
                  <a:pt x="3087" y="1963"/>
                </a:lnTo>
                <a:lnTo>
                  <a:pt x="3087" y="1964"/>
                </a:lnTo>
                <a:lnTo>
                  <a:pt x="3087" y="1965"/>
                </a:lnTo>
                <a:lnTo>
                  <a:pt x="3087" y="1967"/>
                </a:lnTo>
                <a:lnTo>
                  <a:pt x="3086" y="1969"/>
                </a:lnTo>
                <a:lnTo>
                  <a:pt x="3086" y="1971"/>
                </a:lnTo>
                <a:lnTo>
                  <a:pt x="3086" y="1972"/>
                </a:lnTo>
                <a:lnTo>
                  <a:pt x="3087" y="1972"/>
                </a:lnTo>
                <a:lnTo>
                  <a:pt x="3090" y="1971"/>
                </a:lnTo>
                <a:lnTo>
                  <a:pt x="3092" y="1970"/>
                </a:lnTo>
                <a:lnTo>
                  <a:pt x="3093" y="1968"/>
                </a:lnTo>
                <a:lnTo>
                  <a:pt x="3096" y="1964"/>
                </a:lnTo>
                <a:lnTo>
                  <a:pt x="3099" y="1960"/>
                </a:lnTo>
                <a:lnTo>
                  <a:pt x="3100" y="1958"/>
                </a:lnTo>
                <a:lnTo>
                  <a:pt x="3102" y="1957"/>
                </a:lnTo>
                <a:lnTo>
                  <a:pt x="3104" y="1956"/>
                </a:lnTo>
                <a:lnTo>
                  <a:pt x="3108" y="1955"/>
                </a:lnTo>
                <a:lnTo>
                  <a:pt x="3116" y="1953"/>
                </a:lnTo>
                <a:lnTo>
                  <a:pt x="3124" y="1952"/>
                </a:lnTo>
                <a:lnTo>
                  <a:pt x="3131" y="1952"/>
                </a:lnTo>
                <a:lnTo>
                  <a:pt x="3138" y="1953"/>
                </a:lnTo>
                <a:lnTo>
                  <a:pt x="3141" y="1953"/>
                </a:lnTo>
                <a:lnTo>
                  <a:pt x="3144" y="1954"/>
                </a:lnTo>
                <a:lnTo>
                  <a:pt x="3149" y="1957"/>
                </a:lnTo>
                <a:lnTo>
                  <a:pt x="3156" y="1963"/>
                </a:lnTo>
                <a:lnTo>
                  <a:pt x="3163" y="1969"/>
                </a:lnTo>
                <a:lnTo>
                  <a:pt x="3165" y="1972"/>
                </a:lnTo>
                <a:lnTo>
                  <a:pt x="3166" y="1974"/>
                </a:lnTo>
                <a:lnTo>
                  <a:pt x="3167" y="1977"/>
                </a:lnTo>
                <a:lnTo>
                  <a:pt x="3167" y="1979"/>
                </a:lnTo>
                <a:lnTo>
                  <a:pt x="3166" y="1981"/>
                </a:lnTo>
                <a:lnTo>
                  <a:pt x="3165" y="1982"/>
                </a:lnTo>
                <a:lnTo>
                  <a:pt x="3164" y="1984"/>
                </a:lnTo>
                <a:lnTo>
                  <a:pt x="3163" y="1986"/>
                </a:lnTo>
                <a:lnTo>
                  <a:pt x="3163" y="1988"/>
                </a:lnTo>
                <a:lnTo>
                  <a:pt x="3164" y="1991"/>
                </a:lnTo>
                <a:lnTo>
                  <a:pt x="3165" y="1994"/>
                </a:lnTo>
                <a:lnTo>
                  <a:pt x="3169" y="1998"/>
                </a:lnTo>
                <a:lnTo>
                  <a:pt x="3172" y="2002"/>
                </a:lnTo>
                <a:lnTo>
                  <a:pt x="3175" y="2005"/>
                </a:lnTo>
                <a:lnTo>
                  <a:pt x="3189" y="2002"/>
                </a:lnTo>
                <a:lnTo>
                  <a:pt x="3203" y="1999"/>
                </a:lnTo>
                <a:lnTo>
                  <a:pt x="3203" y="1994"/>
                </a:lnTo>
                <a:lnTo>
                  <a:pt x="3206" y="1993"/>
                </a:lnTo>
                <a:lnTo>
                  <a:pt x="3208" y="1994"/>
                </a:lnTo>
                <a:lnTo>
                  <a:pt x="3209" y="1994"/>
                </a:lnTo>
                <a:lnTo>
                  <a:pt x="3210" y="1996"/>
                </a:lnTo>
                <a:lnTo>
                  <a:pt x="3211" y="1998"/>
                </a:lnTo>
                <a:lnTo>
                  <a:pt x="3211" y="1999"/>
                </a:lnTo>
                <a:lnTo>
                  <a:pt x="3213" y="1998"/>
                </a:lnTo>
                <a:lnTo>
                  <a:pt x="3215" y="1997"/>
                </a:lnTo>
                <a:lnTo>
                  <a:pt x="3217" y="1994"/>
                </a:lnTo>
                <a:lnTo>
                  <a:pt x="3218" y="1995"/>
                </a:lnTo>
                <a:lnTo>
                  <a:pt x="3219" y="1997"/>
                </a:lnTo>
                <a:lnTo>
                  <a:pt x="3219" y="1998"/>
                </a:lnTo>
                <a:lnTo>
                  <a:pt x="3220" y="1999"/>
                </a:lnTo>
                <a:lnTo>
                  <a:pt x="3221" y="1999"/>
                </a:lnTo>
                <a:lnTo>
                  <a:pt x="3223" y="1999"/>
                </a:lnTo>
                <a:lnTo>
                  <a:pt x="3223" y="1998"/>
                </a:lnTo>
                <a:lnTo>
                  <a:pt x="3223" y="1995"/>
                </a:lnTo>
                <a:lnTo>
                  <a:pt x="3224" y="1993"/>
                </a:lnTo>
                <a:lnTo>
                  <a:pt x="3225" y="1993"/>
                </a:lnTo>
                <a:lnTo>
                  <a:pt x="3226" y="1993"/>
                </a:lnTo>
                <a:lnTo>
                  <a:pt x="3228" y="1994"/>
                </a:lnTo>
                <a:lnTo>
                  <a:pt x="3225" y="2005"/>
                </a:lnTo>
                <a:lnTo>
                  <a:pt x="3228" y="2006"/>
                </a:lnTo>
                <a:lnTo>
                  <a:pt x="3231" y="2006"/>
                </a:lnTo>
                <a:lnTo>
                  <a:pt x="3234" y="2006"/>
                </a:lnTo>
                <a:lnTo>
                  <a:pt x="3237" y="2008"/>
                </a:lnTo>
                <a:lnTo>
                  <a:pt x="3237" y="2010"/>
                </a:lnTo>
                <a:lnTo>
                  <a:pt x="3237" y="2012"/>
                </a:lnTo>
                <a:lnTo>
                  <a:pt x="3238" y="2014"/>
                </a:lnTo>
                <a:lnTo>
                  <a:pt x="3241" y="2018"/>
                </a:lnTo>
                <a:lnTo>
                  <a:pt x="3243" y="2021"/>
                </a:lnTo>
                <a:lnTo>
                  <a:pt x="3245" y="2024"/>
                </a:lnTo>
                <a:lnTo>
                  <a:pt x="3245" y="2029"/>
                </a:lnTo>
                <a:lnTo>
                  <a:pt x="3245" y="2034"/>
                </a:lnTo>
                <a:lnTo>
                  <a:pt x="3244" y="2039"/>
                </a:lnTo>
                <a:lnTo>
                  <a:pt x="3244" y="2040"/>
                </a:lnTo>
                <a:lnTo>
                  <a:pt x="3243" y="2050"/>
                </a:lnTo>
                <a:lnTo>
                  <a:pt x="3242" y="2055"/>
                </a:lnTo>
                <a:lnTo>
                  <a:pt x="3242" y="2059"/>
                </a:lnTo>
                <a:lnTo>
                  <a:pt x="3241" y="2061"/>
                </a:lnTo>
                <a:lnTo>
                  <a:pt x="3239" y="2064"/>
                </a:lnTo>
                <a:lnTo>
                  <a:pt x="3236" y="2068"/>
                </a:lnTo>
                <a:lnTo>
                  <a:pt x="3234" y="2072"/>
                </a:lnTo>
                <a:lnTo>
                  <a:pt x="3235" y="2075"/>
                </a:lnTo>
                <a:lnTo>
                  <a:pt x="3238" y="2080"/>
                </a:lnTo>
                <a:lnTo>
                  <a:pt x="3240" y="2085"/>
                </a:lnTo>
                <a:lnTo>
                  <a:pt x="3241" y="2088"/>
                </a:lnTo>
                <a:lnTo>
                  <a:pt x="3239" y="2089"/>
                </a:lnTo>
                <a:lnTo>
                  <a:pt x="3238" y="2090"/>
                </a:lnTo>
                <a:lnTo>
                  <a:pt x="3237" y="2091"/>
                </a:lnTo>
                <a:lnTo>
                  <a:pt x="3235" y="2095"/>
                </a:lnTo>
                <a:lnTo>
                  <a:pt x="3232" y="2106"/>
                </a:lnTo>
                <a:lnTo>
                  <a:pt x="3229" y="2118"/>
                </a:lnTo>
                <a:lnTo>
                  <a:pt x="3225" y="2129"/>
                </a:lnTo>
                <a:lnTo>
                  <a:pt x="3230" y="2131"/>
                </a:lnTo>
                <a:lnTo>
                  <a:pt x="3232" y="2133"/>
                </a:lnTo>
                <a:lnTo>
                  <a:pt x="3235" y="2136"/>
                </a:lnTo>
                <a:lnTo>
                  <a:pt x="3236" y="2138"/>
                </a:lnTo>
                <a:lnTo>
                  <a:pt x="3236" y="2140"/>
                </a:lnTo>
                <a:lnTo>
                  <a:pt x="3236" y="2141"/>
                </a:lnTo>
                <a:lnTo>
                  <a:pt x="3235" y="2143"/>
                </a:lnTo>
                <a:lnTo>
                  <a:pt x="3231" y="2145"/>
                </a:lnTo>
                <a:lnTo>
                  <a:pt x="3238" y="2151"/>
                </a:lnTo>
                <a:lnTo>
                  <a:pt x="3248" y="2158"/>
                </a:lnTo>
                <a:lnTo>
                  <a:pt x="3256" y="2165"/>
                </a:lnTo>
                <a:lnTo>
                  <a:pt x="3260" y="2168"/>
                </a:lnTo>
                <a:lnTo>
                  <a:pt x="3262" y="2171"/>
                </a:lnTo>
                <a:lnTo>
                  <a:pt x="3259" y="2179"/>
                </a:lnTo>
                <a:lnTo>
                  <a:pt x="3263" y="2182"/>
                </a:lnTo>
                <a:lnTo>
                  <a:pt x="3268" y="2186"/>
                </a:lnTo>
                <a:lnTo>
                  <a:pt x="3273" y="2190"/>
                </a:lnTo>
                <a:lnTo>
                  <a:pt x="3275" y="2191"/>
                </a:lnTo>
                <a:lnTo>
                  <a:pt x="3276" y="2193"/>
                </a:lnTo>
                <a:lnTo>
                  <a:pt x="3277" y="2196"/>
                </a:lnTo>
                <a:lnTo>
                  <a:pt x="3277" y="2198"/>
                </a:lnTo>
                <a:lnTo>
                  <a:pt x="3278" y="2199"/>
                </a:lnTo>
                <a:lnTo>
                  <a:pt x="3279" y="2200"/>
                </a:lnTo>
                <a:lnTo>
                  <a:pt x="3284" y="2210"/>
                </a:lnTo>
                <a:lnTo>
                  <a:pt x="3285" y="2212"/>
                </a:lnTo>
                <a:lnTo>
                  <a:pt x="3285" y="2213"/>
                </a:lnTo>
                <a:lnTo>
                  <a:pt x="3284" y="2215"/>
                </a:lnTo>
                <a:lnTo>
                  <a:pt x="3283" y="2216"/>
                </a:lnTo>
                <a:lnTo>
                  <a:pt x="3282" y="2217"/>
                </a:lnTo>
                <a:lnTo>
                  <a:pt x="3281" y="2218"/>
                </a:lnTo>
                <a:lnTo>
                  <a:pt x="3282" y="2219"/>
                </a:lnTo>
                <a:lnTo>
                  <a:pt x="3283" y="2221"/>
                </a:lnTo>
                <a:lnTo>
                  <a:pt x="3285" y="2223"/>
                </a:lnTo>
                <a:lnTo>
                  <a:pt x="3287" y="2228"/>
                </a:lnTo>
                <a:lnTo>
                  <a:pt x="3289" y="2233"/>
                </a:lnTo>
                <a:lnTo>
                  <a:pt x="3290" y="2239"/>
                </a:lnTo>
                <a:lnTo>
                  <a:pt x="3293" y="2250"/>
                </a:lnTo>
                <a:lnTo>
                  <a:pt x="3294" y="2251"/>
                </a:lnTo>
                <a:lnTo>
                  <a:pt x="3297" y="2254"/>
                </a:lnTo>
                <a:lnTo>
                  <a:pt x="3301" y="2258"/>
                </a:lnTo>
                <a:lnTo>
                  <a:pt x="3303" y="2262"/>
                </a:lnTo>
                <a:lnTo>
                  <a:pt x="3304" y="2266"/>
                </a:lnTo>
                <a:lnTo>
                  <a:pt x="3304" y="2269"/>
                </a:lnTo>
                <a:lnTo>
                  <a:pt x="3304" y="2272"/>
                </a:lnTo>
                <a:lnTo>
                  <a:pt x="3304" y="2277"/>
                </a:lnTo>
                <a:lnTo>
                  <a:pt x="3304" y="2283"/>
                </a:lnTo>
                <a:lnTo>
                  <a:pt x="3310" y="2289"/>
                </a:lnTo>
                <a:lnTo>
                  <a:pt x="3310" y="2294"/>
                </a:lnTo>
                <a:lnTo>
                  <a:pt x="3309" y="2299"/>
                </a:lnTo>
                <a:lnTo>
                  <a:pt x="3306" y="2310"/>
                </a:lnTo>
                <a:lnTo>
                  <a:pt x="3304" y="2320"/>
                </a:lnTo>
                <a:lnTo>
                  <a:pt x="3304" y="2324"/>
                </a:lnTo>
                <a:lnTo>
                  <a:pt x="3304" y="2326"/>
                </a:lnTo>
                <a:lnTo>
                  <a:pt x="3304" y="2328"/>
                </a:lnTo>
                <a:lnTo>
                  <a:pt x="3307" y="2330"/>
                </a:lnTo>
                <a:lnTo>
                  <a:pt x="3309" y="2330"/>
                </a:lnTo>
                <a:lnTo>
                  <a:pt x="3310" y="2331"/>
                </a:lnTo>
                <a:lnTo>
                  <a:pt x="3313" y="2342"/>
                </a:lnTo>
                <a:lnTo>
                  <a:pt x="3314" y="2347"/>
                </a:lnTo>
                <a:lnTo>
                  <a:pt x="3315" y="2353"/>
                </a:lnTo>
                <a:lnTo>
                  <a:pt x="3315" y="2365"/>
                </a:lnTo>
                <a:lnTo>
                  <a:pt x="3314" y="2371"/>
                </a:lnTo>
                <a:lnTo>
                  <a:pt x="3313" y="2373"/>
                </a:lnTo>
                <a:lnTo>
                  <a:pt x="3313" y="2376"/>
                </a:lnTo>
                <a:lnTo>
                  <a:pt x="3310" y="2380"/>
                </a:lnTo>
                <a:lnTo>
                  <a:pt x="3307" y="2384"/>
                </a:lnTo>
                <a:lnTo>
                  <a:pt x="3303" y="2387"/>
                </a:lnTo>
                <a:lnTo>
                  <a:pt x="3302" y="2389"/>
                </a:lnTo>
                <a:lnTo>
                  <a:pt x="3301" y="2390"/>
                </a:lnTo>
                <a:lnTo>
                  <a:pt x="3301" y="2392"/>
                </a:lnTo>
                <a:lnTo>
                  <a:pt x="3302" y="2394"/>
                </a:lnTo>
                <a:lnTo>
                  <a:pt x="3302" y="2397"/>
                </a:lnTo>
                <a:lnTo>
                  <a:pt x="3302" y="2398"/>
                </a:lnTo>
                <a:lnTo>
                  <a:pt x="3301" y="2399"/>
                </a:lnTo>
                <a:lnTo>
                  <a:pt x="3300" y="2400"/>
                </a:lnTo>
                <a:lnTo>
                  <a:pt x="3297" y="2400"/>
                </a:lnTo>
                <a:lnTo>
                  <a:pt x="3294" y="2401"/>
                </a:lnTo>
                <a:lnTo>
                  <a:pt x="3293" y="2401"/>
                </a:lnTo>
                <a:lnTo>
                  <a:pt x="3291" y="2406"/>
                </a:lnTo>
                <a:lnTo>
                  <a:pt x="3290" y="2410"/>
                </a:lnTo>
                <a:lnTo>
                  <a:pt x="3290" y="2414"/>
                </a:lnTo>
                <a:lnTo>
                  <a:pt x="3290" y="2417"/>
                </a:lnTo>
                <a:lnTo>
                  <a:pt x="3291" y="2424"/>
                </a:lnTo>
                <a:lnTo>
                  <a:pt x="3291" y="2428"/>
                </a:lnTo>
                <a:lnTo>
                  <a:pt x="3290" y="2432"/>
                </a:lnTo>
                <a:lnTo>
                  <a:pt x="3288" y="2437"/>
                </a:lnTo>
                <a:lnTo>
                  <a:pt x="3283" y="2443"/>
                </a:lnTo>
                <a:lnTo>
                  <a:pt x="3278" y="2450"/>
                </a:lnTo>
                <a:lnTo>
                  <a:pt x="3277" y="2453"/>
                </a:lnTo>
                <a:lnTo>
                  <a:pt x="3276" y="2455"/>
                </a:lnTo>
                <a:lnTo>
                  <a:pt x="3276" y="2461"/>
                </a:lnTo>
                <a:lnTo>
                  <a:pt x="3275" y="2469"/>
                </a:lnTo>
                <a:lnTo>
                  <a:pt x="3276" y="2492"/>
                </a:lnTo>
                <a:lnTo>
                  <a:pt x="3277" y="2510"/>
                </a:lnTo>
                <a:lnTo>
                  <a:pt x="3278" y="2516"/>
                </a:lnTo>
                <a:lnTo>
                  <a:pt x="3279" y="2520"/>
                </a:lnTo>
                <a:lnTo>
                  <a:pt x="3284" y="2520"/>
                </a:lnTo>
                <a:lnTo>
                  <a:pt x="3301" y="2539"/>
                </a:lnTo>
                <a:lnTo>
                  <a:pt x="3303" y="2543"/>
                </a:lnTo>
                <a:lnTo>
                  <a:pt x="3303" y="2547"/>
                </a:lnTo>
                <a:lnTo>
                  <a:pt x="3303" y="2555"/>
                </a:lnTo>
                <a:lnTo>
                  <a:pt x="3303" y="2563"/>
                </a:lnTo>
                <a:lnTo>
                  <a:pt x="3303" y="2566"/>
                </a:lnTo>
                <a:lnTo>
                  <a:pt x="3304" y="2570"/>
                </a:lnTo>
                <a:lnTo>
                  <a:pt x="3305" y="2573"/>
                </a:lnTo>
                <a:lnTo>
                  <a:pt x="3307" y="2575"/>
                </a:lnTo>
                <a:lnTo>
                  <a:pt x="3311" y="2579"/>
                </a:lnTo>
                <a:lnTo>
                  <a:pt x="3316" y="2583"/>
                </a:lnTo>
                <a:lnTo>
                  <a:pt x="3317" y="2585"/>
                </a:lnTo>
                <a:lnTo>
                  <a:pt x="3318" y="2587"/>
                </a:lnTo>
                <a:lnTo>
                  <a:pt x="3319" y="2589"/>
                </a:lnTo>
                <a:lnTo>
                  <a:pt x="3319" y="2591"/>
                </a:lnTo>
                <a:lnTo>
                  <a:pt x="3318" y="2594"/>
                </a:lnTo>
                <a:lnTo>
                  <a:pt x="3318" y="2598"/>
                </a:lnTo>
                <a:lnTo>
                  <a:pt x="3318" y="2602"/>
                </a:lnTo>
                <a:lnTo>
                  <a:pt x="3319" y="2603"/>
                </a:lnTo>
                <a:lnTo>
                  <a:pt x="3320" y="2605"/>
                </a:lnTo>
                <a:lnTo>
                  <a:pt x="3324" y="2607"/>
                </a:lnTo>
                <a:lnTo>
                  <a:pt x="3328" y="2610"/>
                </a:lnTo>
                <a:lnTo>
                  <a:pt x="3329" y="2612"/>
                </a:lnTo>
                <a:lnTo>
                  <a:pt x="3329" y="2613"/>
                </a:lnTo>
                <a:lnTo>
                  <a:pt x="3330" y="2617"/>
                </a:lnTo>
                <a:lnTo>
                  <a:pt x="3330" y="2622"/>
                </a:lnTo>
                <a:lnTo>
                  <a:pt x="3329" y="2631"/>
                </a:lnTo>
                <a:lnTo>
                  <a:pt x="3327" y="2640"/>
                </a:lnTo>
                <a:lnTo>
                  <a:pt x="3327" y="2644"/>
                </a:lnTo>
                <a:lnTo>
                  <a:pt x="3327" y="2647"/>
                </a:lnTo>
                <a:lnTo>
                  <a:pt x="3327" y="2649"/>
                </a:lnTo>
                <a:lnTo>
                  <a:pt x="3328" y="2652"/>
                </a:lnTo>
                <a:lnTo>
                  <a:pt x="3331" y="2659"/>
                </a:lnTo>
                <a:lnTo>
                  <a:pt x="3335" y="2670"/>
                </a:lnTo>
                <a:lnTo>
                  <a:pt x="3336" y="2679"/>
                </a:lnTo>
                <a:lnTo>
                  <a:pt x="3336" y="2688"/>
                </a:lnTo>
                <a:lnTo>
                  <a:pt x="3336" y="2702"/>
                </a:lnTo>
                <a:lnTo>
                  <a:pt x="3336" y="2709"/>
                </a:lnTo>
                <a:lnTo>
                  <a:pt x="3337" y="2717"/>
                </a:lnTo>
                <a:lnTo>
                  <a:pt x="3338" y="2725"/>
                </a:lnTo>
                <a:lnTo>
                  <a:pt x="3341" y="2734"/>
                </a:lnTo>
                <a:lnTo>
                  <a:pt x="3342" y="2738"/>
                </a:lnTo>
                <a:lnTo>
                  <a:pt x="3346" y="2743"/>
                </a:lnTo>
                <a:lnTo>
                  <a:pt x="3349" y="2749"/>
                </a:lnTo>
                <a:lnTo>
                  <a:pt x="3352" y="2751"/>
                </a:lnTo>
                <a:lnTo>
                  <a:pt x="3354" y="2751"/>
                </a:lnTo>
                <a:lnTo>
                  <a:pt x="3356" y="2751"/>
                </a:lnTo>
                <a:lnTo>
                  <a:pt x="3359" y="2751"/>
                </a:lnTo>
                <a:lnTo>
                  <a:pt x="3360" y="2751"/>
                </a:lnTo>
                <a:lnTo>
                  <a:pt x="3362" y="2755"/>
                </a:lnTo>
                <a:lnTo>
                  <a:pt x="3362" y="2758"/>
                </a:lnTo>
                <a:lnTo>
                  <a:pt x="3362" y="2762"/>
                </a:lnTo>
                <a:lnTo>
                  <a:pt x="3363" y="2764"/>
                </a:lnTo>
                <a:lnTo>
                  <a:pt x="3363" y="2765"/>
                </a:lnTo>
                <a:lnTo>
                  <a:pt x="3364" y="2767"/>
                </a:lnTo>
                <a:lnTo>
                  <a:pt x="3365" y="2768"/>
                </a:lnTo>
                <a:lnTo>
                  <a:pt x="3369" y="2771"/>
                </a:lnTo>
                <a:lnTo>
                  <a:pt x="3372" y="2774"/>
                </a:lnTo>
                <a:lnTo>
                  <a:pt x="3374" y="2777"/>
                </a:lnTo>
                <a:lnTo>
                  <a:pt x="3375" y="2781"/>
                </a:lnTo>
                <a:lnTo>
                  <a:pt x="3375" y="2788"/>
                </a:lnTo>
                <a:lnTo>
                  <a:pt x="3375" y="2797"/>
                </a:lnTo>
                <a:lnTo>
                  <a:pt x="3376" y="2801"/>
                </a:lnTo>
                <a:lnTo>
                  <a:pt x="3377" y="2805"/>
                </a:lnTo>
                <a:lnTo>
                  <a:pt x="3379" y="2807"/>
                </a:lnTo>
                <a:lnTo>
                  <a:pt x="3382" y="2808"/>
                </a:lnTo>
                <a:lnTo>
                  <a:pt x="3386" y="2810"/>
                </a:lnTo>
                <a:lnTo>
                  <a:pt x="3389" y="2817"/>
                </a:lnTo>
                <a:lnTo>
                  <a:pt x="3392" y="2828"/>
                </a:lnTo>
                <a:lnTo>
                  <a:pt x="3394" y="2838"/>
                </a:lnTo>
                <a:lnTo>
                  <a:pt x="3394" y="2843"/>
                </a:lnTo>
                <a:lnTo>
                  <a:pt x="3394" y="2847"/>
                </a:lnTo>
                <a:lnTo>
                  <a:pt x="3393" y="2851"/>
                </a:lnTo>
                <a:lnTo>
                  <a:pt x="3392" y="2853"/>
                </a:lnTo>
                <a:lnTo>
                  <a:pt x="3390" y="2855"/>
                </a:lnTo>
                <a:lnTo>
                  <a:pt x="3388" y="2856"/>
                </a:lnTo>
                <a:lnTo>
                  <a:pt x="3385" y="2859"/>
                </a:lnTo>
                <a:lnTo>
                  <a:pt x="3384" y="2861"/>
                </a:lnTo>
                <a:lnTo>
                  <a:pt x="3383" y="2864"/>
                </a:lnTo>
                <a:lnTo>
                  <a:pt x="3389" y="2867"/>
                </a:lnTo>
                <a:lnTo>
                  <a:pt x="3389" y="2881"/>
                </a:lnTo>
                <a:lnTo>
                  <a:pt x="3390" y="2886"/>
                </a:lnTo>
                <a:lnTo>
                  <a:pt x="3391" y="2891"/>
                </a:lnTo>
                <a:lnTo>
                  <a:pt x="3392" y="2895"/>
                </a:lnTo>
                <a:lnTo>
                  <a:pt x="3393" y="2897"/>
                </a:lnTo>
                <a:lnTo>
                  <a:pt x="3394" y="2898"/>
                </a:lnTo>
                <a:lnTo>
                  <a:pt x="3394" y="2900"/>
                </a:lnTo>
                <a:lnTo>
                  <a:pt x="3403" y="2895"/>
                </a:lnTo>
                <a:lnTo>
                  <a:pt x="3403" y="2900"/>
                </a:lnTo>
                <a:lnTo>
                  <a:pt x="3405" y="2901"/>
                </a:lnTo>
                <a:lnTo>
                  <a:pt x="3407" y="2901"/>
                </a:lnTo>
                <a:lnTo>
                  <a:pt x="3411" y="2900"/>
                </a:lnTo>
                <a:lnTo>
                  <a:pt x="3414" y="2906"/>
                </a:lnTo>
                <a:lnTo>
                  <a:pt x="3416" y="2906"/>
                </a:lnTo>
                <a:lnTo>
                  <a:pt x="3419" y="2906"/>
                </a:lnTo>
                <a:lnTo>
                  <a:pt x="3423" y="2906"/>
                </a:lnTo>
                <a:lnTo>
                  <a:pt x="3428" y="2904"/>
                </a:lnTo>
                <a:lnTo>
                  <a:pt x="3431" y="2902"/>
                </a:lnTo>
                <a:lnTo>
                  <a:pt x="3438" y="2897"/>
                </a:lnTo>
                <a:lnTo>
                  <a:pt x="3440" y="2896"/>
                </a:lnTo>
                <a:lnTo>
                  <a:pt x="3442" y="2895"/>
                </a:lnTo>
                <a:lnTo>
                  <a:pt x="3445" y="2894"/>
                </a:lnTo>
                <a:lnTo>
                  <a:pt x="3448" y="2895"/>
                </a:lnTo>
                <a:lnTo>
                  <a:pt x="3453" y="2896"/>
                </a:lnTo>
                <a:lnTo>
                  <a:pt x="3457" y="2897"/>
                </a:lnTo>
                <a:lnTo>
                  <a:pt x="3460" y="2898"/>
                </a:lnTo>
                <a:lnTo>
                  <a:pt x="3462" y="2898"/>
                </a:lnTo>
                <a:lnTo>
                  <a:pt x="3466" y="2893"/>
                </a:lnTo>
                <a:lnTo>
                  <a:pt x="3468" y="2891"/>
                </a:lnTo>
                <a:lnTo>
                  <a:pt x="3470" y="2889"/>
                </a:lnTo>
                <a:lnTo>
                  <a:pt x="3478" y="2888"/>
                </a:lnTo>
                <a:lnTo>
                  <a:pt x="3484" y="2887"/>
                </a:lnTo>
                <a:lnTo>
                  <a:pt x="3489" y="2888"/>
                </a:lnTo>
                <a:lnTo>
                  <a:pt x="3494" y="2889"/>
                </a:lnTo>
                <a:lnTo>
                  <a:pt x="3504" y="2891"/>
                </a:lnTo>
                <a:lnTo>
                  <a:pt x="3509" y="2892"/>
                </a:lnTo>
                <a:lnTo>
                  <a:pt x="3515" y="2892"/>
                </a:lnTo>
                <a:lnTo>
                  <a:pt x="3518" y="2886"/>
                </a:lnTo>
                <a:lnTo>
                  <a:pt x="3526" y="2887"/>
                </a:lnTo>
                <a:lnTo>
                  <a:pt x="3535" y="2886"/>
                </a:lnTo>
                <a:lnTo>
                  <a:pt x="3535" y="2881"/>
                </a:lnTo>
                <a:lnTo>
                  <a:pt x="3537" y="2880"/>
                </a:lnTo>
                <a:lnTo>
                  <a:pt x="3538" y="2880"/>
                </a:lnTo>
                <a:lnTo>
                  <a:pt x="3542" y="2881"/>
                </a:lnTo>
                <a:lnTo>
                  <a:pt x="3545" y="2881"/>
                </a:lnTo>
                <a:lnTo>
                  <a:pt x="3549" y="2881"/>
                </a:lnTo>
                <a:lnTo>
                  <a:pt x="3553" y="2879"/>
                </a:lnTo>
                <a:lnTo>
                  <a:pt x="3556" y="2878"/>
                </a:lnTo>
                <a:lnTo>
                  <a:pt x="3564" y="2872"/>
                </a:lnTo>
                <a:lnTo>
                  <a:pt x="3567" y="2869"/>
                </a:lnTo>
                <a:lnTo>
                  <a:pt x="3571" y="2865"/>
                </a:lnTo>
                <a:lnTo>
                  <a:pt x="3578" y="2858"/>
                </a:lnTo>
                <a:lnTo>
                  <a:pt x="3591" y="2841"/>
                </a:lnTo>
                <a:lnTo>
                  <a:pt x="3597" y="2834"/>
                </a:lnTo>
                <a:lnTo>
                  <a:pt x="3602" y="2827"/>
                </a:lnTo>
                <a:lnTo>
                  <a:pt x="3605" y="2824"/>
                </a:lnTo>
                <a:lnTo>
                  <a:pt x="3610" y="2822"/>
                </a:lnTo>
                <a:lnTo>
                  <a:pt x="3613" y="2819"/>
                </a:lnTo>
                <a:lnTo>
                  <a:pt x="3616" y="2816"/>
                </a:lnTo>
                <a:lnTo>
                  <a:pt x="3617" y="2815"/>
                </a:lnTo>
                <a:lnTo>
                  <a:pt x="3617" y="2814"/>
                </a:lnTo>
                <a:lnTo>
                  <a:pt x="3617" y="2812"/>
                </a:lnTo>
                <a:lnTo>
                  <a:pt x="3616" y="2810"/>
                </a:lnTo>
                <a:lnTo>
                  <a:pt x="3616" y="2808"/>
                </a:lnTo>
                <a:lnTo>
                  <a:pt x="3619" y="2808"/>
                </a:lnTo>
                <a:lnTo>
                  <a:pt x="3626" y="2792"/>
                </a:lnTo>
                <a:lnTo>
                  <a:pt x="3629" y="2783"/>
                </a:lnTo>
                <a:lnTo>
                  <a:pt x="3633" y="2777"/>
                </a:lnTo>
                <a:lnTo>
                  <a:pt x="3637" y="2774"/>
                </a:lnTo>
                <a:lnTo>
                  <a:pt x="3644" y="2770"/>
                </a:lnTo>
                <a:lnTo>
                  <a:pt x="3656" y="2763"/>
                </a:lnTo>
                <a:lnTo>
                  <a:pt x="3650" y="2757"/>
                </a:lnTo>
                <a:lnTo>
                  <a:pt x="3651" y="2755"/>
                </a:lnTo>
                <a:lnTo>
                  <a:pt x="3650" y="2753"/>
                </a:lnTo>
                <a:lnTo>
                  <a:pt x="3650" y="2749"/>
                </a:lnTo>
                <a:lnTo>
                  <a:pt x="3659" y="2749"/>
                </a:lnTo>
                <a:lnTo>
                  <a:pt x="3660" y="2735"/>
                </a:lnTo>
                <a:lnTo>
                  <a:pt x="3661" y="2713"/>
                </a:lnTo>
                <a:lnTo>
                  <a:pt x="3661" y="2706"/>
                </a:lnTo>
                <a:lnTo>
                  <a:pt x="3660" y="2705"/>
                </a:lnTo>
                <a:lnTo>
                  <a:pt x="3657" y="2703"/>
                </a:lnTo>
                <a:lnTo>
                  <a:pt x="3655" y="2700"/>
                </a:lnTo>
                <a:lnTo>
                  <a:pt x="3653" y="2698"/>
                </a:lnTo>
                <a:lnTo>
                  <a:pt x="3668" y="2687"/>
                </a:lnTo>
                <a:lnTo>
                  <a:pt x="3676" y="2682"/>
                </a:lnTo>
                <a:lnTo>
                  <a:pt x="3680" y="2680"/>
                </a:lnTo>
                <a:lnTo>
                  <a:pt x="3684" y="2678"/>
                </a:lnTo>
                <a:lnTo>
                  <a:pt x="3689" y="2677"/>
                </a:lnTo>
                <a:lnTo>
                  <a:pt x="3694" y="2676"/>
                </a:lnTo>
                <a:lnTo>
                  <a:pt x="3699" y="2675"/>
                </a:lnTo>
                <a:lnTo>
                  <a:pt x="3701" y="2674"/>
                </a:lnTo>
                <a:lnTo>
                  <a:pt x="3704" y="2673"/>
                </a:lnTo>
                <a:lnTo>
                  <a:pt x="3706" y="2670"/>
                </a:lnTo>
                <a:lnTo>
                  <a:pt x="3707" y="2666"/>
                </a:lnTo>
                <a:lnTo>
                  <a:pt x="3708" y="2661"/>
                </a:lnTo>
                <a:lnTo>
                  <a:pt x="3709" y="2656"/>
                </a:lnTo>
                <a:lnTo>
                  <a:pt x="3709" y="2649"/>
                </a:lnTo>
                <a:lnTo>
                  <a:pt x="3709" y="2642"/>
                </a:lnTo>
                <a:lnTo>
                  <a:pt x="3707" y="2628"/>
                </a:lnTo>
                <a:lnTo>
                  <a:pt x="3703" y="2598"/>
                </a:lnTo>
                <a:lnTo>
                  <a:pt x="3702" y="2587"/>
                </a:lnTo>
                <a:lnTo>
                  <a:pt x="3701" y="2579"/>
                </a:lnTo>
                <a:lnTo>
                  <a:pt x="3695" y="2579"/>
                </a:lnTo>
                <a:lnTo>
                  <a:pt x="3694" y="2572"/>
                </a:lnTo>
                <a:lnTo>
                  <a:pt x="3694" y="2567"/>
                </a:lnTo>
                <a:lnTo>
                  <a:pt x="3695" y="2559"/>
                </a:lnTo>
                <a:lnTo>
                  <a:pt x="3695" y="2553"/>
                </a:lnTo>
                <a:lnTo>
                  <a:pt x="3697" y="2552"/>
                </a:lnTo>
                <a:lnTo>
                  <a:pt x="3699" y="2552"/>
                </a:lnTo>
                <a:lnTo>
                  <a:pt x="3702" y="2552"/>
                </a:lnTo>
                <a:lnTo>
                  <a:pt x="3704" y="2551"/>
                </a:lnTo>
                <a:lnTo>
                  <a:pt x="3705" y="2548"/>
                </a:lnTo>
                <a:lnTo>
                  <a:pt x="3706" y="2543"/>
                </a:lnTo>
                <a:lnTo>
                  <a:pt x="3708" y="2539"/>
                </a:lnTo>
                <a:lnTo>
                  <a:pt x="3708" y="2537"/>
                </a:lnTo>
                <a:lnTo>
                  <a:pt x="3709" y="2537"/>
                </a:lnTo>
                <a:lnTo>
                  <a:pt x="3715" y="2537"/>
                </a:lnTo>
                <a:lnTo>
                  <a:pt x="3718" y="2525"/>
                </a:lnTo>
                <a:lnTo>
                  <a:pt x="3720" y="2514"/>
                </a:lnTo>
                <a:lnTo>
                  <a:pt x="3722" y="2513"/>
                </a:lnTo>
                <a:lnTo>
                  <a:pt x="3725" y="2512"/>
                </a:lnTo>
                <a:lnTo>
                  <a:pt x="3730" y="2512"/>
                </a:lnTo>
                <a:lnTo>
                  <a:pt x="3736" y="2512"/>
                </a:lnTo>
                <a:lnTo>
                  <a:pt x="3738" y="2512"/>
                </a:lnTo>
                <a:lnTo>
                  <a:pt x="3740" y="2511"/>
                </a:lnTo>
                <a:lnTo>
                  <a:pt x="3743" y="2509"/>
                </a:lnTo>
                <a:lnTo>
                  <a:pt x="3746" y="2506"/>
                </a:lnTo>
                <a:lnTo>
                  <a:pt x="3749" y="2502"/>
                </a:lnTo>
                <a:lnTo>
                  <a:pt x="3751" y="2500"/>
                </a:lnTo>
                <a:lnTo>
                  <a:pt x="3753" y="2499"/>
                </a:lnTo>
                <a:lnTo>
                  <a:pt x="3755" y="2499"/>
                </a:lnTo>
                <a:lnTo>
                  <a:pt x="3760" y="2499"/>
                </a:lnTo>
                <a:lnTo>
                  <a:pt x="3764" y="2498"/>
                </a:lnTo>
                <a:lnTo>
                  <a:pt x="3766" y="2498"/>
                </a:lnTo>
                <a:lnTo>
                  <a:pt x="3768" y="2497"/>
                </a:lnTo>
                <a:lnTo>
                  <a:pt x="3770" y="2496"/>
                </a:lnTo>
                <a:lnTo>
                  <a:pt x="3772" y="2495"/>
                </a:lnTo>
                <a:lnTo>
                  <a:pt x="3777" y="2490"/>
                </a:lnTo>
                <a:lnTo>
                  <a:pt x="3782" y="2484"/>
                </a:lnTo>
                <a:lnTo>
                  <a:pt x="3788" y="2477"/>
                </a:lnTo>
                <a:lnTo>
                  <a:pt x="3793" y="2470"/>
                </a:lnTo>
                <a:lnTo>
                  <a:pt x="3797" y="2463"/>
                </a:lnTo>
                <a:lnTo>
                  <a:pt x="3801" y="2457"/>
                </a:lnTo>
                <a:lnTo>
                  <a:pt x="3802" y="2452"/>
                </a:lnTo>
                <a:lnTo>
                  <a:pt x="3802" y="2450"/>
                </a:lnTo>
                <a:lnTo>
                  <a:pt x="3802" y="2448"/>
                </a:lnTo>
                <a:lnTo>
                  <a:pt x="3801" y="2443"/>
                </a:lnTo>
                <a:lnTo>
                  <a:pt x="3800" y="2438"/>
                </a:lnTo>
                <a:lnTo>
                  <a:pt x="3799" y="2435"/>
                </a:lnTo>
                <a:lnTo>
                  <a:pt x="3799" y="2432"/>
                </a:lnTo>
                <a:lnTo>
                  <a:pt x="3800" y="2428"/>
                </a:lnTo>
                <a:lnTo>
                  <a:pt x="3800" y="2424"/>
                </a:lnTo>
                <a:lnTo>
                  <a:pt x="3802" y="2415"/>
                </a:lnTo>
                <a:lnTo>
                  <a:pt x="3804" y="2407"/>
                </a:lnTo>
                <a:lnTo>
                  <a:pt x="3805" y="2401"/>
                </a:lnTo>
                <a:lnTo>
                  <a:pt x="3804" y="2394"/>
                </a:lnTo>
                <a:lnTo>
                  <a:pt x="3802" y="2383"/>
                </a:lnTo>
                <a:lnTo>
                  <a:pt x="3800" y="2372"/>
                </a:lnTo>
                <a:lnTo>
                  <a:pt x="3799" y="2365"/>
                </a:lnTo>
                <a:lnTo>
                  <a:pt x="3800" y="2358"/>
                </a:lnTo>
                <a:lnTo>
                  <a:pt x="3801" y="2352"/>
                </a:lnTo>
                <a:lnTo>
                  <a:pt x="3802" y="2345"/>
                </a:lnTo>
                <a:lnTo>
                  <a:pt x="3802" y="2342"/>
                </a:lnTo>
                <a:lnTo>
                  <a:pt x="3802" y="2340"/>
                </a:lnTo>
                <a:lnTo>
                  <a:pt x="3801" y="2337"/>
                </a:lnTo>
                <a:lnTo>
                  <a:pt x="3798" y="2334"/>
                </a:lnTo>
                <a:lnTo>
                  <a:pt x="3792" y="2329"/>
                </a:lnTo>
                <a:lnTo>
                  <a:pt x="3786" y="2324"/>
                </a:lnTo>
                <a:lnTo>
                  <a:pt x="3784" y="2321"/>
                </a:lnTo>
                <a:lnTo>
                  <a:pt x="3783" y="2319"/>
                </a:lnTo>
                <a:lnTo>
                  <a:pt x="3782" y="2317"/>
                </a:lnTo>
                <a:lnTo>
                  <a:pt x="3782" y="2299"/>
                </a:lnTo>
                <a:lnTo>
                  <a:pt x="3782" y="2286"/>
                </a:lnTo>
                <a:lnTo>
                  <a:pt x="3782" y="2278"/>
                </a:lnTo>
                <a:lnTo>
                  <a:pt x="3785" y="2272"/>
                </a:lnTo>
                <a:lnTo>
                  <a:pt x="3787" y="2269"/>
                </a:lnTo>
                <a:lnTo>
                  <a:pt x="3788" y="2266"/>
                </a:lnTo>
                <a:lnTo>
                  <a:pt x="3787" y="2264"/>
                </a:lnTo>
                <a:lnTo>
                  <a:pt x="3785" y="2262"/>
                </a:lnTo>
                <a:lnTo>
                  <a:pt x="3780" y="2257"/>
                </a:lnTo>
                <a:lnTo>
                  <a:pt x="3774" y="2252"/>
                </a:lnTo>
                <a:lnTo>
                  <a:pt x="3772" y="2249"/>
                </a:lnTo>
                <a:lnTo>
                  <a:pt x="3771" y="2247"/>
                </a:lnTo>
                <a:lnTo>
                  <a:pt x="3771" y="2244"/>
                </a:lnTo>
                <a:lnTo>
                  <a:pt x="3771" y="2241"/>
                </a:lnTo>
                <a:lnTo>
                  <a:pt x="3772" y="2235"/>
                </a:lnTo>
                <a:lnTo>
                  <a:pt x="3774" y="2229"/>
                </a:lnTo>
                <a:lnTo>
                  <a:pt x="3776" y="2224"/>
                </a:lnTo>
                <a:lnTo>
                  <a:pt x="3782" y="2213"/>
                </a:lnTo>
                <a:lnTo>
                  <a:pt x="3784" y="2209"/>
                </a:lnTo>
                <a:lnTo>
                  <a:pt x="3785" y="2205"/>
                </a:lnTo>
                <a:lnTo>
                  <a:pt x="3786" y="2202"/>
                </a:lnTo>
                <a:lnTo>
                  <a:pt x="3785" y="2199"/>
                </a:lnTo>
                <a:lnTo>
                  <a:pt x="3785" y="2193"/>
                </a:lnTo>
                <a:lnTo>
                  <a:pt x="3784" y="2187"/>
                </a:lnTo>
                <a:lnTo>
                  <a:pt x="3785" y="2185"/>
                </a:lnTo>
                <a:lnTo>
                  <a:pt x="3785" y="2182"/>
                </a:lnTo>
                <a:lnTo>
                  <a:pt x="3791" y="2182"/>
                </a:lnTo>
                <a:lnTo>
                  <a:pt x="3791" y="2179"/>
                </a:lnTo>
                <a:lnTo>
                  <a:pt x="3791" y="2177"/>
                </a:lnTo>
                <a:lnTo>
                  <a:pt x="3792" y="2175"/>
                </a:lnTo>
                <a:lnTo>
                  <a:pt x="3794" y="2172"/>
                </a:lnTo>
                <a:lnTo>
                  <a:pt x="3799" y="2165"/>
                </a:lnTo>
                <a:lnTo>
                  <a:pt x="3803" y="2165"/>
                </a:lnTo>
                <a:lnTo>
                  <a:pt x="3808" y="2165"/>
                </a:lnTo>
                <a:lnTo>
                  <a:pt x="3809" y="2162"/>
                </a:lnTo>
                <a:lnTo>
                  <a:pt x="3810" y="2158"/>
                </a:lnTo>
                <a:lnTo>
                  <a:pt x="3812" y="2154"/>
                </a:lnTo>
                <a:lnTo>
                  <a:pt x="3812" y="2152"/>
                </a:lnTo>
                <a:lnTo>
                  <a:pt x="3813" y="2151"/>
                </a:lnTo>
                <a:lnTo>
                  <a:pt x="3815" y="2150"/>
                </a:lnTo>
                <a:lnTo>
                  <a:pt x="3816" y="2150"/>
                </a:lnTo>
                <a:lnTo>
                  <a:pt x="3819" y="2150"/>
                </a:lnTo>
                <a:lnTo>
                  <a:pt x="3822" y="2150"/>
                </a:lnTo>
                <a:lnTo>
                  <a:pt x="3823" y="2149"/>
                </a:lnTo>
                <a:lnTo>
                  <a:pt x="3825" y="2148"/>
                </a:lnTo>
                <a:lnTo>
                  <a:pt x="3825" y="2147"/>
                </a:lnTo>
                <a:lnTo>
                  <a:pt x="3825" y="2146"/>
                </a:lnTo>
                <a:lnTo>
                  <a:pt x="3825" y="2143"/>
                </a:lnTo>
                <a:lnTo>
                  <a:pt x="3824" y="2140"/>
                </a:lnTo>
                <a:lnTo>
                  <a:pt x="3825" y="2137"/>
                </a:lnTo>
                <a:lnTo>
                  <a:pt x="3825" y="2136"/>
                </a:lnTo>
                <a:lnTo>
                  <a:pt x="3826" y="2135"/>
                </a:lnTo>
                <a:lnTo>
                  <a:pt x="3829" y="2132"/>
                </a:lnTo>
                <a:lnTo>
                  <a:pt x="3831" y="2130"/>
                </a:lnTo>
                <a:lnTo>
                  <a:pt x="3833" y="2129"/>
                </a:lnTo>
                <a:lnTo>
                  <a:pt x="3835" y="2124"/>
                </a:lnTo>
                <a:lnTo>
                  <a:pt x="3835" y="2120"/>
                </a:lnTo>
                <a:lnTo>
                  <a:pt x="3835" y="2115"/>
                </a:lnTo>
                <a:lnTo>
                  <a:pt x="3836" y="2111"/>
                </a:lnTo>
                <a:lnTo>
                  <a:pt x="3837" y="2109"/>
                </a:lnTo>
                <a:lnTo>
                  <a:pt x="3839" y="2106"/>
                </a:lnTo>
                <a:lnTo>
                  <a:pt x="3844" y="2106"/>
                </a:lnTo>
                <a:lnTo>
                  <a:pt x="3847" y="2102"/>
                </a:lnTo>
                <a:lnTo>
                  <a:pt x="3851" y="2094"/>
                </a:lnTo>
                <a:lnTo>
                  <a:pt x="3858" y="2081"/>
                </a:lnTo>
                <a:lnTo>
                  <a:pt x="3861" y="2080"/>
                </a:lnTo>
                <a:lnTo>
                  <a:pt x="3864" y="2079"/>
                </a:lnTo>
                <a:lnTo>
                  <a:pt x="3867" y="2079"/>
                </a:lnTo>
                <a:lnTo>
                  <a:pt x="3870" y="2078"/>
                </a:lnTo>
                <a:lnTo>
                  <a:pt x="3871" y="2077"/>
                </a:lnTo>
                <a:lnTo>
                  <a:pt x="3872" y="2075"/>
                </a:lnTo>
                <a:lnTo>
                  <a:pt x="3875" y="2071"/>
                </a:lnTo>
                <a:lnTo>
                  <a:pt x="3878" y="2066"/>
                </a:lnTo>
                <a:lnTo>
                  <a:pt x="3879" y="2065"/>
                </a:lnTo>
                <a:lnTo>
                  <a:pt x="3881" y="2064"/>
                </a:lnTo>
                <a:lnTo>
                  <a:pt x="3883" y="2064"/>
                </a:lnTo>
                <a:lnTo>
                  <a:pt x="3885" y="2064"/>
                </a:lnTo>
                <a:lnTo>
                  <a:pt x="3887" y="2064"/>
                </a:lnTo>
                <a:lnTo>
                  <a:pt x="3889" y="2064"/>
                </a:lnTo>
                <a:lnTo>
                  <a:pt x="3894" y="2060"/>
                </a:lnTo>
                <a:lnTo>
                  <a:pt x="3900" y="2055"/>
                </a:lnTo>
                <a:lnTo>
                  <a:pt x="3905" y="2049"/>
                </a:lnTo>
                <a:lnTo>
                  <a:pt x="3909" y="2044"/>
                </a:lnTo>
                <a:lnTo>
                  <a:pt x="3910" y="2042"/>
                </a:lnTo>
                <a:lnTo>
                  <a:pt x="3910" y="2038"/>
                </a:lnTo>
                <a:lnTo>
                  <a:pt x="3911" y="2035"/>
                </a:lnTo>
                <a:lnTo>
                  <a:pt x="3911" y="2034"/>
                </a:lnTo>
                <a:lnTo>
                  <a:pt x="3912" y="2033"/>
                </a:lnTo>
                <a:lnTo>
                  <a:pt x="3913" y="2032"/>
                </a:lnTo>
                <a:lnTo>
                  <a:pt x="3915" y="2031"/>
                </a:lnTo>
                <a:lnTo>
                  <a:pt x="3919" y="2030"/>
                </a:lnTo>
                <a:lnTo>
                  <a:pt x="3923" y="2030"/>
                </a:lnTo>
                <a:lnTo>
                  <a:pt x="3924" y="2029"/>
                </a:lnTo>
                <a:lnTo>
                  <a:pt x="3926" y="2027"/>
                </a:lnTo>
                <a:lnTo>
                  <a:pt x="3926" y="2026"/>
                </a:lnTo>
                <a:lnTo>
                  <a:pt x="3926" y="2025"/>
                </a:lnTo>
                <a:lnTo>
                  <a:pt x="3926" y="2022"/>
                </a:lnTo>
                <a:lnTo>
                  <a:pt x="3926" y="2019"/>
                </a:lnTo>
                <a:lnTo>
                  <a:pt x="3926" y="2016"/>
                </a:lnTo>
                <a:lnTo>
                  <a:pt x="3927" y="2015"/>
                </a:lnTo>
                <a:lnTo>
                  <a:pt x="3928" y="2014"/>
                </a:lnTo>
                <a:lnTo>
                  <a:pt x="3932" y="2012"/>
                </a:lnTo>
                <a:lnTo>
                  <a:pt x="3937" y="2010"/>
                </a:lnTo>
                <a:lnTo>
                  <a:pt x="3939" y="2009"/>
                </a:lnTo>
                <a:lnTo>
                  <a:pt x="3940" y="2008"/>
                </a:lnTo>
                <a:lnTo>
                  <a:pt x="3941" y="2004"/>
                </a:lnTo>
                <a:lnTo>
                  <a:pt x="3942" y="2001"/>
                </a:lnTo>
                <a:lnTo>
                  <a:pt x="3942" y="1997"/>
                </a:lnTo>
                <a:lnTo>
                  <a:pt x="3943" y="1994"/>
                </a:lnTo>
                <a:lnTo>
                  <a:pt x="3944" y="1992"/>
                </a:lnTo>
                <a:lnTo>
                  <a:pt x="3947" y="1989"/>
                </a:lnTo>
                <a:lnTo>
                  <a:pt x="3951" y="1985"/>
                </a:lnTo>
                <a:lnTo>
                  <a:pt x="3953" y="1981"/>
                </a:lnTo>
                <a:lnTo>
                  <a:pt x="3954" y="1977"/>
                </a:lnTo>
                <a:lnTo>
                  <a:pt x="3956" y="1970"/>
                </a:lnTo>
                <a:lnTo>
                  <a:pt x="3957" y="1962"/>
                </a:lnTo>
                <a:lnTo>
                  <a:pt x="3960" y="1954"/>
                </a:lnTo>
                <a:lnTo>
                  <a:pt x="3965" y="1954"/>
                </a:lnTo>
                <a:lnTo>
                  <a:pt x="3966" y="1952"/>
                </a:lnTo>
                <a:lnTo>
                  <a:pt x="3967" y="1950"/>
                </a:lnTo>
                <a:lnTo>
                  <a:pt x="3968" y="1945"/>
                </a:lnTo>
                <a:lnTo>
                  <a:pt x="3969" y="1936"/>
                </a:lnTo>
                <a:lnTo>
                  <a:pt x="3971" y="1927"/>
                </a:lnTo>
                <a:lnTo>
                  <a:pt x="3972" y="1922"/>
                </a:lnTo>
                <a:lnTo>
                  <a:pt x="3974" y="1918"/>
                </a:lnTo>
                <a:lnTo>
                  <a:pt x="3975" y="1914"/>
                </a:lnTo>
                <a:lnTo>
                  <a:pt x="3977" y="1911"/>
                </a:lnTo>
                <a:lnTo>
                  <a:pt x="3982" y="1904"/>
                </a:lnTo>
                <a:lnTo>
                  <a:pt x="3987" y="1898"/>
                </a:lnTo>
                <a:lnTo>
                  <a:pt x="3990" y="1892"/>
                </a:lnTo>
                <a:lnTo>
                  <a:pt x="3991" y="1890"/>
                </a:lnTo>
                <a:lnTo>
                  <a:pt x="3991" y="1887"/>
                </a:lnTo>
                <a:lnTo>
                  <a:pt x="3990" y="1884"/>
                </a:lnTo>
                <a:lnTo>
                  <a:pt x="3990" y="1881"/>
                </a:lnTo>
                <a:lnTo>
                  <a:pt x="3996" y="1878"/>
                </a:lnTo>
                <a:lnTo>
                  <a:pt x="3997" y="1876"/>
                </a:lnTo>
                <a:lnTo>
                  <a:pt x="3997" y="1874"/>
                </a:lnTo>
                <a:lnTo>
                  <a:pt x="3996" y="1870"/>
                </a:lnTo>
                <a:lnTo>
                  <a:pt x="3996" y="1865"/>
                </a:lnTo>
                <a:lnTo>
                  <a:pt x="3996" y="1861"/>
                </a:lnTo>
                <a:lnTo>
                  <a:pt x="4002" y="1856"/>
                </a:lnTo>
                <a:lnTo>
                  <a:pt x="4005" y="1828"/>
                </a:lnTo>
                <a:lnTo>
                  <a:pt x="4002" y="1819"/>
                </a:lnTo>
                <a:lnTo>
                  <a:pt x="3996" y="1819"/>
                </a:lnTo>
                <a:lnTo>
                  <a:pt x="3995" y="1820"/>
                </a:lnTo>
                <a:lnTo>
                  <a:pt x="3993" y="1821"/>
                </a:lnTo>
                <a:lnTo>
                  <a:pt x="3988" y="1825"/>
                </a:lnTo>
                <a:lnTo>
                  <a:pt x="3983" y="1828"/>
                </a:lnTo>
                <a:lnTo>
                  <a:pt x="3981" y="1830"/>
                </a:lnTo>
                <a:lnTo>
                  <a:pt x="3979" y="1830"/>
                </a:lnTo>
                <a:lnTo>
                  <a:pt x="3973" y="1831"/>
                </a:lnTo>
                <a:lnTo>
                  <a:pt x="3968" y="1832"/>
                </a:lnTo>
                <a:lnTo>
                  <a:pt x="3957" y="1832"/>
                </a:lnTo>
                <a:lnTo>
                  <a:pt x="3947" y="1833"/>
                </a:lnTo>
                <a:lnTo>
                  <a:pt x="3942" y="1834"/>
                </a:lnTo>
                <a:lnTo>
                  <a:pt x="3937" y="1836"/>
                </a:lnTo>
                <a:lnTo>
                  <a:pt x="3934" y="1838"/>
                </a:lnTo>
                <a:lnTo>
                  <a:pt x="3931" y="1842"/>
                </a:lnTo>
                <a:lnTo>
                  <a:pt x="3927" y="1845"/>
                </a:lnTo>
                <a:lnTo>
                  <a:pt x="3925" y="1847"/>
                </a:lnTo>
                <a:lnTo>
                  <a:pt x="3923" y="1847"/>
                </a:lnTo>
                <a:lnTo>
                  <a:pt x="3919" y="1847"/>
                </a:lnTo>
                <a:lnTo>
                  <a:pt x="3916" y="1847"/>
                </a:lnTo>
                <a:lnTo>
                  <a:pt x="3909" y="1845"/>
                </a:lnTo>
                <a:lnTo>
                  <a:pt x="3901" y="1844"/>
                </a:lnTo>
                <a:lnTo>
                  <a:pt x="3896" y="1844"/>
                </a:lnTo>
                <a:lnTo>
                  <a:pt x="3892" y="1844"/>
                </a:lnTo>
                <a:lnTo>
                  <a:pt x="3887" y="1847"/>
                </a:lnTo>
                <a:lnTo>
                  <a:pt x="3883" y="1849"/>
                </a:lnTo>
                <a:lnTo>
                  <a:pt x="3881" y="1850"/>
                </a:lnTo>
                <a:lnTo>
                  <a:pt x="3879" y="1849"/>
                </a:lnTo>
                <a:lnTo>
                  <a:pt x="3877" y="1848"/>
                </a:lnTo>
                <a:lnTo>
                  <a:pt x="3873" y="1844"/>
                </a:lnTo>
                <a:lnTo>
                  <a:pt x="3870" y="1839"/>
                </a:lnTo>
                <a:lnTo>
                  <a:pt x="3866" y="1834"/>
                </a:lnTo>
                <a:lnTo>
                  <a:pt x="3862" y="1826"/>
                </a:lnTo>
                <a:lnTo>
                  <a:pt x="3860" y="1823"/>
                </a:lnTo>
                <a:lnTo>
                  <a:pt x="3859" y="1822"/>
                </a:lnTo>
                <a:lnTo>
                  <a:pt x="3858" y="1822"/>
                </a:lnTo>
                <a:lnTo>
                  <a:pt x="3853" y="1822"/>
                </a:lnTo>
                <a:lnTo>
                  <a:pt x="3855" y="1819"/>
                </a:lnTo>
                <a:lnTo>
                  <a:pt x="3857" y="1816"/>
                </a:lnTo>
                <a:lnTo>
                  <a:pt x="3860" y="1813"/>
                </a:lnTo>
                <a:lnTo>
                  <a:pt x="3861" y="1811"/>
                </a:lnTo>
                <a:lnTo>
                  <a:pt x="3861" y="1808"/>
                </a:lnTo>
                <a:lnTo>
                  <a:pt x="3861" y="1805"/>
                </a:lnTo>
                <a:lnTo>
                  <a:pt x="3861" y="1802"/>
                </a:lnTo>
                <a:lnTo>
                  <a:pt x="3861" y="1801"/>
                </a:lnTo>
                <a:lnTo>
                  <a:pt x="3861" y="1799"/>
                </a:lnTo>
                <a:lnTo>
                  <a:pt x="3856" y="1796"/>
                </a:lnTo>
                <a:lnTo>
                  <a:pt x="3850" y="1793"/>
                </a:lnTo>
                <a:lnTo>
                  <a:pt x="3845" y="1790"/>
                </a:lnTo>
                <a:lnTo>
                  <a:pt x="3843" y="1788"/>
                </a:lnTo>
                <a:lnTo>
                  <a:pt x="3841" y="1785"/>
                </a:lnTo>
                <a:lnTo>
                  <a:pt x="3841" y="1783"/>
                </a:lnTo>
                <a:lnTo>
                  <a:pt x="3840" y="1781"/>
                </a:lnTo>
                <a:lnTo>
                  <a:pt x="3840" y="1778"/>
                </a:lnTo>
                <a:lnTo>
                  <a:pt x="3840" y="1774"/>
                </a:lnTo>
                <a:lnTo>
                  <a:pt x="3840" y="1773"/>
                </a:lnTo>
                <a:lnTo>
                  <a:pt x="3839" y="1771"/>
                </a:lnTo>
                <a:lnTo>
                  <a:pt x="3835" y="1770"/>
                </a:lnTo>
                <a:lnTo>
                  <a:pt x="3831" y="1769"/>
                </a:lnTo>
                <a:lnTo>
                  <a:pt x="3827" y="1768"/>
                </a:lnTo>
                <a:lnTo>
                  <a:pt x="3826" y="1767"/>
                </a:lnTo>
                <a:lnTo>
                  <a:pt x="3825" y="1766"/>
                </a:lnTo>
                <a:lnTo>
                  <a:pt x="3823" y="1764"/>
                </a:lnTo>
                <a:lnTo>
                  <a:pt x="3823" y="1762"/>
                </a:lnTo>
                <a:lnTo>
                  <a:pt x="3822" y="1757"/>
                </a:lnTo>
                <a:lnTo>
                  <a:pt x="3821" y="1752"/>
                </a:lnTo>
                <a:lnTo>
                  <a:pt x="3819" y="1749"/>
                </a:lnTo>
                <a:lnTo>
                  <a:pt x="3817" y="1748"/>
                </a:lnTo>
                <a:lnTo>
                  <a:pt x="3815" y="1748"/>
                </a:lnTo>
                <a:lnTo>
                  <a:pt x="3812" y="1749"/>
                </a:lnTo>
                <a:lnTo>
                  <a:pt x="3810" y="1749"/>
                </a:lnTo>
                <a:lnTo>
                  <a:pt x="3809" y="1748"/>
                </a:lnTo>
                <a:lnTo>
                  <a:pt x="3808" y="1746"/>
                </a:lnTo>
                <a:lnTo>
                  <a:pt x="3804" y="1741"/>
                </a:lnTo>
                <a:lnTo>
                  <a:pt x="3799" y="1732"/>
                </a:lnTo>
                <a:lnTo>
                  <a:pt x="3797" y="1734"/>
                </a:lnTo>
                <a:lnTo>
                  <a:pt x="3795" y="1735"/>
                </a:lnTo>
                <a:lnTo>
                  <a:pt x="3794" y="1735"/>
                </a:lnTo>
                <a:lnTo>
                  <a:pt x="3794" y="1732"/>
                </a:lnTo>
                <a:lnTo>
                  <a:pt x="3790" y="1731"/>
                </a:lnTo>
                <a:lnTo>
                  <a:pt x="3789" y="1730"/>
                </a:lnTo>
                <a:lnTo>
                  <a:pt x="3788" y="1729"/>
                </a:lnTo>
                <a:lnTo>
                  <a:pt x="3786" y="1723"/>
                </a:lnTo>
                <a:lnTo>
                  <a:pt x="3785" y="1716"/>
                </a:lnTo>
                <a:lnTo>
                  <a:pt x="3784" y="1700"/>
                </a:lnTo>
                <a:lnTo>
                  <a:pt x="3783" y="1685"/>
                </a:lnTo>
                <a:lnTo>
                  <a:pt x="3782" y="1678"/>
                </a:lnTo>
                <a:lnTo>
                  <a:pt x="3781" y="1675"/>
                </a:lnTo>
                <a:lnTo>
                  <a:pt x="3780" y="1673"/>
                </a:lnTo>
                <a:lnTo>
                  <a:pt x="3774" y="1673"/>
                </a:lnTo>
                <a:lnTo>
                  <a:pt x="3761" y="1659"/>
                </a:lnTo>
                <a:lnTo>
                  <a:pt x="3753" y="1650"/>
                </a:lnTo>
                <a:lnTo>
                  <a:pt x="3749" y="1645"/>
                </a:lnTo>
                <a:lnTo>
                  <a:pt x="3747" y="1638"/>
                </a:lnTo>
                <a:lnTo>
                  <a:pt x="3747" y="1631"/>
                </a:lnTo>
                <a:lnTo>
                  <a:pt x="3748" y="1625"/>
                </a:lnTo>
                <a:lnTo>
                  <a:pt x="3749" y="1619"/>
                </a:lnTo>
                <a:lnTo>
                  <a:pt x="3750" y="1607"/>
                </a:lnTo>
                <a:lnTo>
                  <a:pt x="3750" y="1601"/>
                </a:lnTo>
                <a:lnTo>
                  <a:pt x="3749" y="1598"/>
                </a:lnTo>
                <a:lnTo>
                  <a:pt x="3749" y="1594"/>
                </a:lnTo>
                <a:lnTo>
                  <a:pt x="3743" y="1591"/>
                </a:lnTo>
                <a:lnTo>
                  <a:pt x="3743" y="1589"/>
                </a:lnTo>
                <a:lnTo>
                  <a:pt x="3742" y="1588"/>
                </a:lnTo>
                <a:lnTo>
                  <a:pt x="3743" y="1584"/>
                </a:lnTo>
                <a:lnTo>
                  <a:pt x="3743" y="1581"/>
                </a:lnTo>
                <a:lnTo>
                  <a:pt x="3743" y="1579"/>
                </a:lnTo>
                <a:lnTo>
                  <a:pt x="3743" y="1577"/>
                </a:lnTo>
                <a:lnTo>
                  <a:pt x="3740" y="1575"/>
                </a:lnTo>
                <a:lnTo>
                  <a:pt x="3734" y="1571"/>
                </a:lnTo>
                <a:lnTo>
                  <a:pt x="3727" y="1566"/>
                </a:lnTo>
                <a:lnTo>
                  <a:pt x="3725" y="1565"/>
                </a:lnTo>
                <a:lnTo>
                  <a:pt x="3723" y="1563"/>
                </a:lnTo>
                <a:lnTo>
                  <a:pt x="3722" y="1562"/>
                </a:lnTo>
                <a:lnTo>
                  <a:pt x="3722" y="1560"/>
                </a:lnTo>
                <a:lnTo>
                  <a:pt x="3720" y="1556"/>
                </a:lnTo>
                <a:lnTo>
                  <a:pt x="3718" y="1549"/>
                </a:lnTo>
                <a:lnTo>
                  <a:pt x="3717" y="1542"/>
                </a:lnTo>
                <a:lnTo>
                  <a:pt x="3715" y="1535"/>
                </a:lnTo>
                <a:lnTo>
                  <a:pt x="3717" y="1534"/>
                </a:lnTo>
                <a:lnTo>
                  <a:pt x="3720" y="1534"/>
                </a:lnTo>
                <a:lnTo>
                  <a:pt x="3721" y="1533"/>
                </a:lnTo>
                <a:lnTo>
                  <a:pt x="3721" y="1532"/>
                </a:lnTo>
                <a:lnTo>
                  <a:pt x="3720" y="1529"/>
                </a:lnTo>
                <a:lnTo>
                  <a:pt x="3720" y="1527"/>
                </a:lnTo>
                <a:lnTo>
                  <a:pt x="3718" y="1524"/>
                </a:lnTo>
                <a:lnTo>
                  <a:pt x="3714" y="1518"/>
                </a:lnTo>
                <a:lnTo>
                  <a:pt x="3710" y="1512"/>
                </a:lnTo>
                <a:lnTo>
                  <a:pt x="3706" y="1507"/>
                </a:lnTo>
                <a:lnTo>
                  <a:pt x="3702" y="1497"/>
                </a:lnTo>
                <a:lnTo>
                  <a:pt x="3699" y="1488"/>
                </a:lnTo>
                <a:lnTo>
                  <a:pt x="3696" y="1479"/>
                </a:lnTo>
                <a:lnTo>
                  <a:pt x="3692" y="1467"/>
                </a:lnTo>
                <a:lnTo>
                  <a:pt x="3692" y="1466"/>
                </a:lnTo>
                <a:lnTo>
                  <a:pt x="3690" y="1464"/>
                </a:lnTo>
                <a:lnTo>
                  <a:pt x="3687" y="1459"/>
                </a:lnTo>
                <a:lnTo>
                  <a:pt x="3683" y="1454"/>
                </a:lnTo>
                <a:lnTo>
                  <a:pt x="3682" y="1452"/>
                </a:lnTo>
                <a:lnTo>
                  <a:pt x="3681" y="1451"/>
                </a:lnTo>
                <a:lnTo>
                  <a:pt x="3681" y="1448"/>
                </a:lnTo>
                <a:lnTo>
                  <a:pt x="3681" y="1445"/>
                </a:lnTo>
                <a:lnTo>
                  <a:pt x="3682" y="1442"/>
                </a:lnTo>
                <a:lnTo>
                  <a:pt x="3681" y="1440"/>
                </a:lnTo>
                <a:lnTo>
                  <a:pt x="3681" y="1439"/>
                </a:lnTo>
                <a:lnTo>
                  <a:pt x="3679" y="1435"/>
                </a:lnTo>
                <a:lnTo>
                  <a:pt x="3675" y="1432"/>
                </a:lnTo>
                <a:lnTo>
                  <a:pt x="3674" y="1430"/>
                </a:lnTo>
                <a:lnTo>
                  <a:pt x="3672" y="1428"/>
                </a:lnTo>
                <a:lnTo>
                  <a:pt x="3670" y="1422"/>
                </a:lnTo>
                <a:lnTo>
                  <a:pt x="3667" y="1415"/>
                </a:lnTo>
                <a:lnTo>
                  <a:pt x="3667" y="1412"/>
                </a:lnTo>
                <a:lnTo>
                  <a:pt x="3667" y="1411"/>
                </a:lnTo>
                <a:lnTo>
                  <a:pt x="3667" y="1410"/>
                </a:lnTo>
                <a:lnTo>
                  <a:pt x="3668" y="1410"/>
                </a:lnTo>
                <a:lnTo>
                  <a:pt x="3670" y="1411"/>
                </a:lnTo>
                <a:lnTo>
                  <a:pt x="3672" y="1413"/>
                </a:lnTo>
                <a:lnTo>
                  <a:pt x="3673" y="1415"/>
                </a:lnTo>
                <a:lnTo>
                  <a:pt x="3675" y="1420"/>
                </a:lnTo>
                <a:lnTo>
                  <a:pt x="3676" y="1425"/>
                </a:lnTo>
                <a:lnTo>
                  <a:pt x="3677" y="1428"/>
                </a:lnTo>
                <a:lnTo>
                  <a:pt x="3677" y="1429"/>
                </a:lnTo>
                <a:lnTo>
                  <a:pt x="3678" y="1431"/>
                </a:lnTo>
                <a:lnTo>
                  <a:pt x="3681" y="1434"/>
                </a:lnTo>
                <a:lnTo>
                  <a:pt x="3685" y="1438"/>
                </a:lnTo>
                <a:lnTo>
                  <a:pt x="3692" y="1445"/>
                </a:lnTo>
                <a:lnTo>
                  <a:pt x="3694" y="1444"/>
                </a:lnTo>
                <a:lnTo>
                  <a:pt x="3696" y="1443"/>
                </a:lnTo>
                <a:lnTo>
                  <a:pt x="3701" y="1442"/>
                </a:lnTo>
                <a:lnTo>
                  <a:pt x="3701" y="1438"/>
                </a:lnTo>
                <a:lnTo>
                  <a:pt x="3701" y="1434"/>
                </a:lnTo>
                <a:lnTo>
                  <a:pt x="3710" y="1439"/>
                </a:lnTo>
                <a:lnTo>
                  <a:pt x="3716" y="1444"/>
                </a:lnTo>
                <a:lnTo>
                  <a:pt x="3720" y="1449"/>
                </a:lnTo>
                <a:lnTo>
                  <a:pt x="3722" y="1453"/>
                </a:lnTo>
                <a:lnTo>
                  <a:pt x="3726" y="1464"/>
                </a:lnTo>
                <a:lnTo>
                  <a:pt x="3730" y="1471"/>
                </a:lnTo>
                <a:lnTo>
                  <a:pt x="3735" y="1479"/>
                </a:lnTo>
                <a:lnTo>
                  <a:pt x="3736" y="1480"/>
                </a:lnTo>
                <a:lnTo>
                  <a:pt x="3738" y="1481"/>
                </a:lnTo>
                <a:lnTo>
                  <a:pt x="3742" y="1484"/>
                </a:lnTo>
                <a:lnTo>
                  <a:pt x="3746" y="1487"/>
                </a:lnTo>
                <a:lnTo>
                  <a:pt x="3749" y="1490"/>
                </a:lnTo>
                <a:lnTo>
                  <a:pt x="3750" y="1494"/>
                </a:lnTo>
                <a:lnTo>
                  <a:pt x="3751" y="1498"/>
                </a:lnTo>
                <a:lnTo>
                  <a:pt x="3751" y="1506"/>
                </a:lnTo>
                <a:lnTo>
                  <a:pt x="3752" y="1514"/>
                </a:lnTo>
                <a:lnTo>
                  <a:pt x="3753" y="1517"/>
                </a:lnTo>
                <a:lnTo>
                  <a:pt x="3754" y="1521"/>
                </a:lnTo>
                <a:lnTo>
                  <a:pt x="3757" y="1524"/>
                </a:lnTo>
                <a:lnTo>
                  <a:pt x="3760" y="1527"/>
                </a:lnTo>
                <a:lnTo>
                  <a:pt x="3767" y="1533"/>
                </a:lnTo>
                <a:lnTo>
                  <a:pt x="3771" y="1536"/>
                </a:lnTo>
                <a:lnTo>
                  <a:pt x="3773" y="1538"/>
                </a:lnTo>
                <a:lnTo>
                  <a:pt x="3775" y="1540"/>
                </a:lnTo>
                <a:lnTo>
                  <a:pt x="3778" y="1544"/>
                </a:lnTo>
                <a:lnTo>
                  <a:pt x="3779" y="1546"/>
                </a:lnTo>
                <a:lnTo>
                  <a:pt x="3780" y="1549"/>
                </a:lnTo>
                <a:lnTo>
                  <a:pt x="3780" y="1552"/>
                </a:lnTo>
                <a:lnTo>
                  <a:pt x="3779" y="1556"/>
                </a:lnTo>
                <a:lnTo>
                  <a:pt x="3778" y="1559"/>
                </a:lnTo>
                <a:lnTo>
                  <a:pt x="3777" y="1563"/>
                </a:lnTo>
                <a:lnTo>
                  <a:pt x="3777" y="1567"/>
                </a:lnTo>
                <a:lnTo>
                  <a:pt x="3778" y="1577"/>
                </a:lnTo>
                <a:lnTo>
                  <a:pt x="3778" y="1582"/>
                </a:lnTo>
                <a:lnTo>
                  <a:pt x="3779" y="1586"/>
                </a:lnTo>
                <a:lnTo>
                  <a:pt x="3781" y="1588"/>
                </a:lnTo>
                <a:lnTo>
                  <a:pt x="3781" y="1589"/>
                </a:lnTo>
                <a:lnTo>
                  <a:pt x="3782" y="1588"/>
                </a:lnTo>
                <a:lnTo>
                  <a:pt x="3783" y="1597"/>
                </a:lnTo>
                <a:lnTo>
                  <a:pt x="3783" y="1605"/>
                </a:lnTo>
                <a:lnTo>
                  <a:pt x="3783" y="1612"/>
                </a:lnTo>
                <a:lnTo>
                  <a:pt x="3784" y="1616"/>
                </a:lnTo>
                <a:lnTo>
                  <a:pt x="3785" y="1619"/>
                </a:lnTo>
                <a:lnTo>
                  <a:pt x="3788" y="1624"/>
                </a:lnTo>
                <a:lnTo>
                  <a:pt x="3791" y="1627"/>
                </a:lnTo>
                <a:lnTo>
                  <a:pt x="3795" y="1630"/>
                </a:lnTo>
                <a:lnTo>
                  <a:pt x="3800" y="1633"/>
                </a:lnTo>
                <a:lnTo>
                  <a:pt x="3804" y="1635"/>
                </a:lnTo>
                <a:lnTo>
                  <a:pt x="3809" y="1638"/>
                </a:lnTo>
                <a:lnTo>
                  <a:pt x="3813" y="1641"/>
                </a:lnTo>
                <a:lnTo>
                  <a:pt x="3815" y="1643"/>
                </a:lnTo>
                <a:lnTo>
                  <a:pt x="3816" y="1645"/>
                </a:lnTo>
                <a:lnTo>
                  <a:pt x="3818" y="1648"/>
                </a:lnTo>
                <a:lnTo>
                  <a:pt x="3819" y="1653"/>
                </a:lnTo>
                <a:lnTo>
                  <a:pt x="3821" y="1662"/>
                </a:lnTo>
                <a:lnTo>
                  <a:pt x="3822" y="1671"/>
                </a:lnTo>
                <a:lnTo>
                  <a:pt x="3823" y="1675"/>
                </a:lnTo>
                <a:lnTo>
                  <a:pt x="3825" y="1678"/>
                </a:lnTo>
                <a:lnTo>
                  <a:pt x="3830" y="1681"/>
                </a:lnTo>
                <a:lnTo>
                  <a:pt x="3836" y="1684"/>
                </a:lnTo>
                <a:lnTo>
                  <a:pt x="3850" y="1707"/>
                </a:lnTo>
                <a:lnTo>
                  <a:pt x="3850" y="1709"/>
                </a:lnTo>
                <a:lnTo>
                  <a:pt x="3850" y="1712"/>
                </a:lnTo>
                <a:lnTo>
                  <a:pt x="3849" y="1718"/>
                </a:lnTo>
                <a:lnTo>
                  <a:pt x="3847" y="1723"/>
                </a:lnTo>
                <a:lnTo>
                  <a:pt x="3847" y="1729"/>
                </a:lnTo>
                <a:lnTo>
                  <a:pt x="3848" y="1730"/>
                </a:lnTo>
                <a:lnTo>
                  <a:pt x="3848" y="1733"/>
                </a:lnTo>
                <a:lnTo>
                  <a:pt x="3849" y="1742"/>
                </a:lnTo>
                <a:lnTo>
                  <a:pt x="3851" y="1754"/>
                </a:lnTo>
                <a:lnTo>
                  <a:pt x="3852" y="1759"/>
                </a:lnTo>
                <a:lnTo>
                  <a:pt x="3853" y="1763"/>
                </a:lnTo>
                <a:lnTo>
                  <a:pt x="3852" y="1762"/>
                </a:lnTo>
                <a:lnTo>
                  <a:pt x="3851" y="1761"/>
                </a:lnTo>
                <a:lnTo>
                  <a:pt x="3851" y="1762"/>
                </a:lnTo>
                <a:lnTo>
                  <a:pt x="3850" y="1763"/>
                </a:lnTo>
                <a:lnTo>
                  <a:pt x="3850" y="1765"/>
                </a:lnTo>
                <a:lnTo>
                  <a:pt x="3850" y="1766"/>
                </a:lnTo>
                <a:lnTo>
                  <a:pt x="3854" y="1770"/>
                </a:lnTo>
                <a:lnTo>
                  <a:pt x="3857" y="1772"/>
                </a:lnTo>
                <a:lnTo>
                  <a:pt x="3858" y="1774"/>
                </a:lnTo>
                <a:lnTo>
                  <a:pt x="3860" y="1780"/>
                </a:lnTo>
                <a:lnTo>
                  <a:pt x="3860" y="1786"/>
                </a:lnTo>
                <a:lnTo>
                  <a:pt x="3861" y="1790"/>
                </a:lnTo>
                <a:lnTo>
                  <a:pt x="3861" y="1794"/>
                </a:lnTo>
                <a:lnTo>
                  <a:pt x="3862" y="1796"/>
                </a:lnTo>
                <a:lnTo>
                  <a:pt x="3863" y="1797"/>
                </a:lnTo>
                <a:lnTo>
                  <a:pt x="3865" y="1798"/>
                </a:lnTo>
                <a:lnTo>
                  <a:pt x="3867" y="1799"/>
                </a:lnTo>
                <a:lnTo>
                  <a:pt x="3869" y="1799"/>
                </a:lnTo>
                <a:lnTo>
                  <a:pt x="3872" y="1800"/>
                </a:lnTo>
                <a:lnTo>
                  <a:pt x="3881" y="1799"/>
                </a:lnTo>
                <a:lnTo>
                  <a:pt x="3885" y="1798"/>
                </a:lnTo>
                <a:lnTo>
                  <a:pt x="3889" y="1797"/>
                </a:lnTo>
                <a:lnTo>
                  <a:pt x="3893" y="1794"/>
                </a:lnTo>
                <a:lnTo>
                  <a:pt x="3896" y="1792"/>
                </a:lnTo>
                <a:lnTo>
                  <a:pt x="3899" y="1789"/>
                </a:lnTo>
                <a:lnTo>
                  <a:pt x="3902" y="1786"/>
                </a:lnTo>
                <a:lnTo>
                  <a:pt x="3905" y="1784"/>
                </a:lnTo>
                <a:lnTo>
                  <a:pt x="3909" y="1783"/>
                </a:lnTo>
                <a:lnTo>
                  <a:pt x="3911" y="1782"/>
                </a:lnTo>
                <a:lnTo>
                  <a:pt x="3913" y="1782"/>
                </a:lnTo>
                <a:lnTo>
                  <a:pt x="3917" y="1782"/>
                </a:lnTo>
                <a:lnTo>
                  <a:pt x="3922" y="1783"/>
                </a:lnTo>
                <a:lnTo>
                  <a:pt x="3926" y="1783"/>
                </a:lnTo>
                <a:lnTo>
                  <a:pt x="3929" y="1780"/>
                </a:lnTo>
                <a:lnTo>
                  <a:pt x="3932" y="1778"/>
                </a:lnTo>
                <a:lnTo>
                  <a:pt x="3934" y="1777"/>
                </a:lnTo>
                <a:lnTo>
                  <a:pt x="3938" y="1779"/>
                </a:lnTo>
                <a:lnTo>
                  <a:pt x="3941" y="1781"/>
                </a:lnTo>
                <a:lnTo>
                  <a:pt x="3943" y="1782"/>
                </a:lnTo>
                <a:lnTo>
                  <a:pt x="3946" y="1782"/>
                </a:lnTo>
                <a:lnTo>
                  <a:pt x="3950" y="1781"/>
                </a:lnTo>
                <a:lnTo>
                  <a:pt x="3954" y="1780"/>
                </a:lnTo>
                <a:lnTo>
                  <a:pt x="3955" y="1779"/>
                </a:lnTo>
                <a:lnTo>
                  <a:pt x="3956" y="1778"/>
                </a:lnTo>
                <a:lnTo>
                  <a:pt x="3958" y="1774"/>
                </a:lnTo>
                <a:lnTo>
                  <a:pt x="3960" y="1771"/>
                </a:lnTo>
                <a:lnTo>
                  <a:pt x="3962" y="1768"/>
                </a:lnTo>
                <a:lnTo>
                  <a:pt x="3968" y="1765"/>
                </a:lnTo>
                <a:lnTo>
                  <a:pt x="3974" y="1763"/>
                </a:lnTo>
                <a:lnTo>
                  <a:pt x="3987" y="1759"/>
                </a:lnTo>
                <a:lnTo>
                  <a:pt x="3999" y="1755"/>
                </a:lnTo>
                <a:lnTo>
                  <a:pt x="4005" y="1752"/>
                </a:lnTo>
                <a:lnTo>
                  <a:pt x="4010" y="1749"/>
                </a:lnTo>
                <a:lnTo>
                  <a:pt x="4010" y="1746"/>
                </a:lnTo>
                <a:lnTo>
                  <a:pt x="4013" y="1746"/>
                </a:lnTo>
                <a:lnTo>
                  <a:pt x="4016" y="1738"/>
                </a:lnTo>
                <a:lnTo>
                  <a:pt x="4021" y="1738"/>
                </a:lnTo>
                <a:lnTo>
                  <a:pt x="4022" y="1736"/>
                </a:lnTo>
                <a:lnTo>
                  <a:pt x="4021" y="1735"/>
                </a:lnTo>
                <a:lnTo>
                  <a:pt x="4020" y="1731"/>
                </a:lnTo>
                <a:lnTo>
                  <a:pt x="4019" y="1729"/>
                </a:lnTo>
                <a:lnTo>
                  <a:pt x="4019" y="1727"/>
                </a:lnTo>
                <a:lnTo>
                  <a:pt x="4020" y="1725"/>
                </a:lnTo>
                <a:lnTo>
                  <a:pt x="4021" y="1723"/>
                </a:lnTo>
                <a:lnTo>
                  <a:pt x="4024" y="1722"/>
                </a:lnTo>
                <a:lnTo>
                  <a:pt x="4026" y="1720"/>
                </a:lnTo>
                <a:lnTo>
                  <a:pt x="4031" y="1719"/>
                </a:lnTo>
                <a:lnTo>
                  <a:pt x="4043" y="1717"/>
                </a:lnTo>
                <a:lnTo>
                  <a:pt x="4050" y="1715"/>
                </a:lnTo>
                <a:lnTo>
                  <a:pt x="4053" y="1711"/>
                </a:lnTo>
                <a:lnTo>
                  <a:pt x="4056" y="1708"/>
                </a:lnTo>
                <a:lnTo>
                  <a:pt x="4058" y="1707"/>
                </a:lnTo>
                <a:lnTo>
                  <a:pt x="4059" y="1706"/>
                </a:lnTo>
                <a:lnTo>
                  <a:pt x="4060" y="1707"/>
                </a:lnTo>
                <a:lnTo>
                  <a:pt x="4063" y="1708"/>
                </a:lnTo>
                <a:lnTo>
                  <a:pt x="4066" y="1708"/>
                </a:lnTo>
                <a:lnTo>
                  <a:pt x="4067" y="1708"/>
                </a:lnTo>
                <a:lnTo>
                  <a:pt x="4069" y="1707"/>
                </a:lnTo>
                <a:lnTo>
                  <a:pt x="4072" y="1703"/>
                </a:lnTo>
                <a:lnTo>
                  <a:pt x="4073" y="1698"/>
                </a:lnTo>
                <a:lnTo>
                  <a:pt x="4075" y="1693"/>
                </a:lnTo>
                <a:lnTo>
                  <a:pt x="4076" y="1691"/>
                </a:lnTo>
                <a:lnTo>
                  <a:pt x="4078" y="1690"/>
                </a:lnTo>
                <a:lnTo>
                  <a:pt x="4079" y="1689"/>
                </a:lnTo>
                <a:lnTo>
                  <a:pt x="4081" y="1689"/>
                </a:lnTo>
                <a:lnTo>
                  <a:pt x="4087" y="1689"/>
                </a:lnTo>
                <a:lnTo>
                  <a:pt x="4096" y="1690"/>
                </a:lnTo>
                <a:lnTo>
                  <a:pt x="4101" y="1679"/>
                </a:lnTo>
                <a:lnTo>
                  <a:pt x="4103" y="1676"/>
                </a:lnTo>
                <a:lnTo>
                  <a:pt x="4105" y="1674"/>
                </a:lnTo>
                <a:lnTo>
                  <a:pt x="4111" y="1671"/>
                </a:lnTo>
                <a:lnTo>
                  <a:pt x="4124" y="1667"/>
                </a:lnTo>
                <a:lnTo>
                  <a:pt x="4123" y="1666"/>
                </a:lnTo>
                <a:lnTo>
                  <a:pt x="4122" y="1665"/>
                </a:lnTo>
                <a:lnTo>
                  <a:pt x="4122" y="1662"/>
                </a:lnTo>
                <a:lnTo>
                  <a:pt x="4122" y="1652"/>
                </a:lnTo>
                <a:lnTo>
                  <a:pt x="4125" y="1643"/>
                </a:lnTo>
                <a:lnTo>
                  <a:pt x="4126" y="1636"/>
                </a:lnTo>
                <a:lnTo>
                  <a:pt x="4131" y="1636"/>
                </a:lnTo>
                <a:lnTo>
                  <a:pt x="4135" y="1636"/>
                </a:lnTo>
                <a:lnTo>
                  <a:pt x="4137" y="1631"/>
                </a:lnTo>
                <a:lnTo>
                  <a:pt x="4138" y="1625"/>
                </a:lnTo>
                <a:lnTo>
                  <a:pt x="4139" y="1619"/>
                </a:lnTo>
                <a:lnTo>
                  <a:pt x="4139" y="1617"/>
                </a:lnTo>
                <a:lnTo>
                  <a:pt x="4141" y="1614"/>
                </a:lnTo>
                <a:lnTo>
                  <a:pt x="4143" y="1610"/>
                </a:lnTo>
                <a:lnTo>
                  <a:pt x="4145" y="1607"/>
                </a:lnTo>
                <a:lnTo>
                  <a:pt x="4152" y="1599"/>
                </a:lnTo>
                <a:lnTo>
                  <a:pt x="4154" y="1595"/>
                </a:lnTo>
                <a:lnTo>
                  <a:pt x="4157" y="1590"/>
                </a:lnTo>
                <a:lnTo>
                  <a:pt x="4157" y="1588"/>
                </a:lnTo>
                <a:lnTo>
                  <a:pt x="4158" y="1585"/>
                </a:lnTo>
                <a:lnTo>
                  <a:pt x="4158" y="1583"/>
                </a:lnTo>
                <a:lnTo>
                  <a:pt x="4157" y="1580"/>
                </a:lnTo>
                <a:lnTo>
                  <a:pt x="4157" y="1579"/>
                </a:lnTo>
                <a:lnTo>
                  <a:pt x="4156" y="1579"/>
                </a:lnTo>
                <a:lnTo>
                  <a:pt x="4154" y="1578"/>
                </a:lnTo>
                <a:lnTo>
                  <a:pt x="4151" y="1578"/>
                </a:lnTo>
                <a:lnTo>
                  <a:pt x="4149" y="1577"/>
                </a:lnTo>
                <a:lnTo>
                  <a:pt x="4148" y="1576"/>
                </a:lnTo>
                <a:lnTo>
                  <a:pt x="4147" y="1573"/>
                </a:lnTo>
                <a:lnTo>
                  <a:pt x="4145" y="1566"/>
                </a:lnTo>
                <a:lnTo>
                  <a:pt x="4143" y="1559"/>
                </a:lnTo>
                <a:lnTo>
                  <a:pt x="4142" y="1556"/>
                </a:lnTo>
                <a:lnTo>
                  <a:pt x="4141" y="1555"/>
                </a:lnTo>
                <a:lnTo>
                  <a:pt x="4138" y="1553"/>
                </a:lnTo>
                <a:lnTo>
                  <a:pt x="4136" y="1552"/>
                </a:lnTo>
                <a:lnTo>
                  <a:pt x="4133" y="1551"/>
                </a:lnTo>
                <a:lnTo>
                  <a:pt x="4130" y="1550"/>
                </a:lnTo>
                <a:lnTo>
                  <a:pt x="4124" y="1549"/>
                </a:lnTo>
                <a:lnTo>
                  <a:pt x="4121" y="1548"/>
                </a:lnTo>
                <a:lnTo>
                  <a:pt x="4118" y="1546"/>
                </a:lnTo>
                <a:lnTo>
                  <a:pt x="4115" y="1544"/>
                </a:lnTo>
                <a:lnTo>
                  <a:pt x="4112" y="1541"/>
                </a:lnTo>
                <a:lnTo>
                  <a:pt x="4109" y="1539"/>
                </a:lnTo>
                <a:lnTo>
                  <a:pt x="4106" y="1535"/>
                </a:lnTo>
                <a:lnTo>
                  <a:pt x="4102" y="1528"/>
                </a:lnTo>
                <a:lnTo>
                  <a:pt x="4098" y="1520"/>
                </a:lnTo>
                <a:lnTo>
                  <a:pt x="4096" y="1515"/>
                </a:lnTo>
                <a:lnTo>
                  <a:pt x="4095" y="1510"/>
                </a:lnTo>
                <a:lnTo>
                  <a:pt x="4093" y="1504"/>
                </a:lnTo>
                <a:lnTo>
                  <a:pt x="4093" y="1498"/>
                </a:lnTo>
                <a:lnTo>
                  <a:pt x="4089" y="1502"/>
                </a:lnTo>
                <a:lnTo>
                  <a:pt x="4086" y="1505"/>
                </a:lnTo>
                <a:lnTo>
                  <a:pt x="4080" y="1514"/>
                </a:lnTo>
                <a:lnTo>
                  <a:pt x="4077" y="1518"/>
                </a:lnTo>
                <a:lnTo>
                  <a:pt x="4073" y="1521"/>
                </a:lnTo>
                <a:lnTo>
                  <a:pt x="4069" y="1525"/>
                </a:lnTo>
                <a:lnTo>
                  <a:pt x="4065" y="1529"/>
                </a:lnTo>
                <a:lnTo>
                  <a:pt x="4059" y="1532"/>
                </a:lnTo>
                <a:lnTo>
                  <a:pt x="4052" y="1535"/>
                </a:lnTo>
                <a:lnTo>
                  <a:pt x="4050" y="1541"/>
                </a:lnTo>
                <a:lnTo>
                  <a:pt x="4047" y="1541"/>
                </a:lnTo>
                <a:lnTo>
                  <a:pt x="4044" y="1540"/>
                </a:lnTo>
                <a:lnTo>
                  <a:pt x="4041" y="1538"/>
                </a:lnTo>
                <a:lnTo>
                  <a:pt x="4038" y="1536"/>
                </a:lnTo>
                <a:lnTo>
                  <a:pt x="4037" y="1535"/>
                </a:lnTo>
                <a:lnTo>
                  <a:pt x="4035" y="1535"/>
                </a:lnTo>
                <a:lnTo>
                  <a:pt x="4029" y="1535"/>
                </a:lnTo>
                <a:lnTo>
                  <a:pt x="4025" y="1536"/>
                </a:lnTo>
                <a:lnTo>
                  <a:pt x="4021" y="1537"/>
                </a:lnTo>
                <a:lnTo>
                  <a:pt x="4019" y="1537"/>
                </a:lnTo>
                <a:lnTo>
                  <a:pt x="4016" y="1537"/>
                </a:lnTo>
                <a:lnTo>
                  <a:pt x="4005" y="1535"/>
                </a:lnTo>
                <a:lnTo>
                  <a:pt x="4006" y="1524"/>
                </a:lnTo>
                <a:lnTo>
                  <a:pt x="4006" y="1514"/>
                </a:lnTo>
                <a:lnTo>
                  <a:pt x="4006" y="1505"/>
                </a:lnTo>
                <a:lnTo>
                  <a:pt x="4006" y="1501"/>
                </a:lnTo>
                <a:lnTo>
                  <a:pt x="4005" y="1499"/>
                </a:lnTo>
                <a:lnTo>
                  <a:pt x="4004" y="1498"/>
                </a:lnTo>
                <a:lnTo>
                  <a:pt x="4003" y="1498"/>
                </a:lnTo>
                <a:lnTo>
                  <a:pt x="4002" y="1498"/>
                </a:lnTo>
                <a:lnTo>
                  <a:pt x="4000" y="1500"/>
                </a:lnTo>
                <a:lnTo>
                  <a:pt x="3999" y="1502"/>
                </a:lnTo>
                <a:lnTo>
                  <a:pt x="3997" y="1507"/>
                </a:lnTo>
                <a:lnTo>
                  <a:pt x="3993" y="1518"/>
                </a:lnTo>
                <a:lnTo>
                  <a:pt x="3988" y="1518"/>
                </a:lnTo>
                <a:lnTo>
                  <a:pt x="3985" y="1509"/>
                </a:lnTo>
                <a:lnTo>
                  <a:pt x="3982" y="1501"/>
                </a:lnTo>
                <a:lnTo>
                  <a:pt x="3982" y="1499"/>
                </a:lnTo>
                <a:lnTo>
                  <a:pt x="3983" y="1497"/>
                </a:lnTo>
                <a:lnTo>
                  <a:pt x="3984" y="1494"/>
                </a:lnTo>
                <a:lnTo>
                  <a:pt x="3985" y="1491"/>
                </a:lnTo>
                <a:lnTo>
                  <a:pt x="3985" y="1489"/>
                </a:lnTo>
                <a:lnTo>
                  <a:pt x="3985" y="1487"/>
                </a:lnTo>
                <a:lnTo>
                  <a:pt x="3984" y="1486"/>
                </a:lnTo>
                <a:lnTo>
                  <a:pt x="3982" y="1484"/>
                </a:lnTo>
                <a:lnTo>
                  <a:pt x="3978" y="1481"/>
                </a:lnTo>
                <a:lnTo>
                  <a:pt x="3974" y="1479"/>
                </a:lnTo>
                <a:lnTo>
                  <a:pt x="3972" y="1477"/>
                </a:lnTo>
                <a:lnTo>
                  <a:pt x="3971" y="1476"/>
                </a:lnTo>
                <a:lnTo>
                  <a:pt x="3970" y="1474"/>
                </a:lnTo>
                <a:lnTo>
                  <a:pt x="3969" y="1472"/>
                </a:lnTo>
                <a:lnTo>
                  <a:pt x="3968" y="1467"/>
                </a:lnTo>
                <a:lnTo>
                  <a:pt x="3967" y="1463"/>
                </a:lnTo>
                <a:lnTo>
                  <a:pt x="3965" y="1459"/>
                </a:lnTo>
                <a:lnTo>
                  <a:pt x="3963" y="1457"/>
                </a:lnTo>
                <a:lnTo>
                  <a:pt x="3959" y="1455"/>
                </a:lnTo>
                <a:lnTo>
                  <a:pt x="3956" y="1453"/>
                </a:lnTo>
                <a:lnTo>
                  <a:pt x="3954" y="1451"/>
                </a:lnTo>
                <a:lnTo>
                  <a:pt x="3953" y="1448"/>
                </a:lnTo>
                <a:lnTo>
                  <a:pt x="3953" y="1446"/>
                </a:lnTo>
                <a:lnTo>
                  <a:pt x="3952" y="1441"/>
                </a:lnTo>
                <a:lnTo>
                  <a:pt x="3952" y="1436"/>
                </a:lnTo>
                <a:lnTo>
                  <a:pt x="3951" y="1431"/>
                </a:lnTo>
                <a:lnTo>
                  <a:pt x="3949" y="1427"/>
                </a:lnTo>
                <a:lnTo>
                  <a:pt x="3946" y="1424"/>
                </a:lnTo>
                <a:lnTo>
                  <a:pt x="3942" y="1420"/>
                </a:lnTo>
                <a:lnTo>
                  <a:pt x="3940" y="1417"/>
                </a:lnTo>
                <a:lnTo>
                  <a:pt x="3941" y="1415"/>
                </a:lnTo>
                <a:lnTo>
                  <a:pt x="3942" y="1414"/>
                </a:lnTo>
                <a:lnTo>
                  <a:pt x="3942" y="1411"/>
                </a:lnTo>
                <a:lnTo>
                  <a:pt x="3942" y="1407"/>
                </a:lnTo>
                <a:lnTo>
                  <a:pt x="3943" y="1403"/>
                </a:lnTo>
                <a:lnTo>
                  <a:pt x="3948" y="1404"/>
                </a:lnTo>
                <a:lnTo>
                  <a:pt x="3951" y="1404"/>
                </a:lnTo>
                <a:lnTo>
                  <a:pt x="3952" y="1403"/>
                </a:lnTo>
                <a:lnTo>
                  <a:pt x="3952" y="1402"/>
                </a:lnTo>
                <a:lnTo>
                  <a:pt x="3951" y="1400"/>
                </a:lnTo>
                <a:lnTo>
                  <a:pt x="3950" y="1398"/>
                </a:lnTo>
                <a:lnTo>
                  <a:pt x="3945" y="1391"/>
                </a:lnTo>
                <a:lnTo>
                  <a:pt x="3953" y="1395"/>
                </a:lnTo>
                <a:lnTo>
                  <a:pt x="3960" y="1400"/>
                </a:lnTo>
                <a:lnTo>
                  <a:pt x="3960" y="1398"/>
                </a:lnTo>
                <a:lnTo>
                  <a:pt x="3959" y="1396"/>
                </a:lnTo>
                <a:lnTo>
                  <a:pt x="3959" y="1395"/>
                </a:lnTo>
                <a:lnTo>
                  <a:pt x="3960" y="1394"/>
                </a:lnTo>
                <a:lnTo>
                  <a:pt x="3962" y="1394"/>
                </a:lnTo>
                <a:lnTo>
                  <a:pt x="3965" y="1396"/>
                </a:lnTo>
                <a:lnTo>
                  <a:pt x="3969" y="1399"/>
                </a:lnTo>
                <a:lnTo>
                  <a:pt x="3973" y="1402"/>
                </a:lnTo>
                <a:lnTo>
                  <a:pt x="3975" y="1402"/>
                </a:lnTo>
                <a:lnTo>
                  <a:pt x="3976" y="1403"/>
                </a:lnTo>
                <a:lnTo>
                  <a:pt x="3978" y="1402"/>
                </a:lnTo>
                <a:lnTo>
                  <a:pt x="3980" y="1400"/>
                </a:lnTo>
                <a:lnTo>
                  <a:pt x="3983" y="1398"/>
                </a:lnTo>
                <a:lnTo>
                  <a:pt x="3985" y="1397"/>
                </a:lnTo>
                <a:lnTo>
                  <a:pt x="3989" y="1406"/>
                </a:lnTo>
                <a:lnTo>
                  <a:pt x="3992" y="1415"/>
                </a:lnTo>
                <a:lnTo>
                  <a:pt x="3999" y="1434"/>
                </a:lnTo>
                <a:lnTo>
                  <a:pt x="4005" y="1436"/>
                </a:lnTo>
                <a:lnTo>
                  <a:pt x="4005" y="1438"/>
                </a:lnTo>
                <a:lnTo>
                  <a:pt x="4004" y="1441"/>
                </a:lnTo>
                <a:lnTo>
                  <a:pt x="4004" y="1443"/>
                </a:lnTo>
                <a:lnTo>
                  <a:pt x="4005" y="1445"/>
                </a:lnTo>
                <a:lnTo>
                  <a:pt x="4007" y="1446"/>
                </a:lnTo>
                <a:lnTo>
                  <a:pt x="4009" y="1446"/>
                </a:lnTo>
                <a:lnTo>
                  <a:pt x="4011" y="1446"/>
                </a:lnTo>
                <a:lnTo>
                  <a:pt x="4012" y="1447"/>
                </a:lnTo>
                <a:lnTo>
                  <a:pt x="4013" y="1448"/>
                </a:lnTo>
                <a:lnTo>
                  <a:pt x="4013" y="1450"/>
                </a:lnTo>
                <a:lnTo>
                  <a:pt x="4013" y="1453"/>
                </a:lnTo>
                <a:lnTo>
                  <a:pt x="4012" y="1456"/>
                </a:lnTo>
                <a:lnTo>
                  <a:pt x="4013" y="1458"/>
                </a:lnTo>
                <a:lnTo>
                  <a:pt x="4013" y="1459"/>
                </a:lnTo>
                <a:lnTo>
                  <a:pt x="4015" y="1460"/>
                </a:lnTo>
                <a:lnTo>
                  <a:pt x="4018" y="1462"/>
                </a:lnTo>
                <a:lnTo>
                  <a:pt x="4022" y="1463"/>
                </a:lnTo>
                <a:lnTo>
                  <a:pt x="4024" y="1465"/>
                </a:lnTo>
                <a:lnTo>
                  <a:pt x="4025" y="1466"/>
                </a:lnTo>
                <a:lnTo>
                  <a:pt x="4024" y="1469"/>
                </a:lnTo>
                <a:lnTo>
                  <a:pt x="4024" y="1471"/>
                </a:lnTo>
                <a:lnTo>
                  <a:pt x="4024" y="1473"/>
                </a:lnTo>
                <a:lnTo>
                  <a:pt x="4038" y="1484"/>
                </a:lnTo>
                <a:lnTo>
                  <a:pt x="4042" y="1486"/>
                </a:lnTo>
                <a:lnTo>
                  <a:pt x="4047" y="1487"/>
                </a:lnTo>
                <a:lnTo>
                  <a:pt x="4057" y="1489"/>
                </a:lnTo>
                <a:lnTo>
                  <a:pt x="4069" y="1490"/>
                </a:lnTo>
                <a:lnTo>
                  <a:pt x="4076" y="1486"/>
                </a:lnTo>
                <a:lnTo>
                  <a:pt x="4084" y="1483"/>
                </a:lnTo>
                <a:lnTo>
                  <a:pt x="4098" y="1476"/>
                </a:lnTo>
                <a:lnTo>
                  <a:pt x="4097" y="1475"/>
                </a:lnTo>
                <a:lnTo>
                  <a:pt x="4097" y="1474"/>
                </a:lnTo>
                <a:lnTo>
                  <a:pt x="4098" y="1473"/>
                </a:lnTo>
                <a:lnTo>
                  <a:pt x="4101" y="1473"/>
                </a:lnTo>
                <a:lnTo>
                  <a:pt x="4102" y="1474"/>
                </a:lnTo>
                <a:lnTo>
                  <a:pt x="4104" y="1475"/>
                </a:lnTo>
                <a:lnTo>
                  <a:pt x="4107" y="1477"/>
                </a:lnTo>
                <a:lnTo>
                  <a:pt x="4110" y="1479"/>
                </a:lnTo>
                <a:lnTo>
                  <a:pt x="4111" y="1480"/>
                </a:lnTo>
                <a:lnTo>
                  <a:pt x="4112" y="1481"/>
                </a:lnTo>
                <a:lnTo>
                  <a:pt x="4114" y="1485"/>
                </a:lnTo>
                <a:lnTo>
                  <a:pt x="4114" y="1488"/>
                </a:lnTo>
                <a:lnTo>
                  <a:pt x="4115" y="1495"/>
                </a:lnTo>
                <a:lnTo>
                  <a:pt x="4115" y="1498"/>
                </a:lnTo>
                <a:lnTo>
                  <a:pt x="4115" y="1502"/>
                </a:lnTo>
                <a:lnTo>
                  <a:pt x="4116" y="1504"/>
                </a:lnTo>
                <a:lnTo>
                  <a:pt x="4118" y="1507"/>
                </a:lnTo>
                <a:lnTo>
                  <a:pt x="4121" y="1509"/>
                </a:lnTo>
                <a:lnTo>
                  <a:pt x="4124" y="1511"/>
                </a:lnTo>
                <a:lnTo>
                  <a:pt x="4128" y="1513"/>
                </a:lnTo>
                <a:lnTo>
                  <a:pt x="4131" y="1514"/>
                </a:lnTo>
                <a:lnTo>
                  <a:pt x="4139" y="1515"/>
                </a:lnTo>
                <a:lnTo>
                  <a:pt x="4147" y="1515"/>
                </a:lnTo>
                <a:lnTo>
                  <a:pt x="4155" y="1515"/>
                </a:lnTo>
                <a:lnTo>
                  <a:pt x="4162" y="1515"/>
                </a:lnTo>
                <a:lnTo>
                  <a:pt x="4169" y="1515"/>
                </a:lnTo>
                <a:lnTo>
                  <a:pt x="4174" y="1515"/>
                </a:lnTo>
                <a:lnTo>
                  <a:pt x="4175" y="1516"/>
                </a:lnTo>
                <a:lnTo>
                  <a:pt x="4176" y="1517"/>
                </a:lnTo>
                <a:lnTo>
                  <a:pt x="4179" y="1520"/>
                </a:lnTo>
                <a:lnTo>
                  <a:pt x="4183" y="1524"/>
                </a:lnTo>
                <a:lnTo>
                  <a:pt x="4184" y="1524"/>
                </a:lnTo>
                <a:lnTo>
                  <a:pt x="4187" y="1523"/>
                </a:lnTo>
                <a:lnTo>
                  <a:pt x="4194" y="1523"/>
                </a:lnTo>
                <a:lnTo>
                  <a:pt x="4204" y="1521"/>
                </a:lnTo>
                <a:lnTo>
                  <a:pt x="4230" y="1517"/>
                </a:lnTo>
                <a:lnTo>
                  <a:pt x="4244" y="1514"/>
                </a:lnTo>
                <a:lnTo>
                  <a:pt x="4250" y="1514"/>
                </a:lnTo>
                <a:lnTo>
                  <a:pt x="4256" y="1513"/>
                </a:lnTo>
                <a:lnTo>
                  <a:pt x="4267" y="1513"/>
                </a:lnTo>
                <a:lnTo>
                  <a:pt x="4272" y="1514"/>
                </a:lnTo>
                <a:lnTo>
                  <a:pt x="4276" y="1515"/>
                </a:lnTo>
                <a:lnTo>
                  <a:pt x="4284" y="1527"/>
                </a:lnTo>
                <a:lnTo>
                  <a:pt x="4284" y="1528"/>
                </a:lnTo>
                <a:lnTo>
                  <a:pt x="4282" y="1530"/>
                </a:lnTo>
                <a:lnTo>
                  <a:pt x="4280" y="1532"/>
                </a:lnTo>
                <a:lnTo>
                  <a:pt x="4280" y="1534"/>
                </a:lnTo>
                <a:lnTo>
                  <a:pt x="4281" y="1535"/>
                </a:lnTo>
                <a:lnTo>
                  <a:pt x="4282" y="1535"/>
                </a:lnTo>
                <a:lnTo>
                  <a:pt x="4283" y="1536"/>
                </a:lnTo>
                <a:lnTo>
                  <a:pt x="4287" y="1535"/>
                </a:lnTo>
                <a:lnTo>
                  <a:pt x="4290" y="1535"/>
                </a:lnTo>
                <a:lnTo>
                  <a:pt x="4292" y="1535"/>
                </a:lnTo>
                <a:lnTo>
                  <a:pt x="4297" y="1538"/>
                </a:lnTo>
                <a:lnTo>
                  <a:pt x="4299" y="1539"/>
                </a:lnTo>
                <a:lnTo>
                  <a:pt x="4300" y="1540"/>
                </a:lnTo>
                <a:lnTo>
                  <a:pt x="4300" y="1544"/>
                </a:lnTo>
                <a:lnTo>
                  <a:pt x="4299" y="1548"/>
                </a:lnTo>
                <a:lnTo>
                  <a:pt x="4300" y="1550"/>
                </a:lnTo>
                <a:lnTo>
                  <a:pt x="4301" y="1552"/>
                </a:lnTo>
                <a:lnTo>
                  <a:pt x="4318" y="1557"/>
                </a:lnTo>
                <a:lnTo>
                  <a:pt x="4319" y="1559"/>
                </a:lnTo>
                <a:lnTo>
                  <a:pt x="4319" y="1561"/>
                </a:lnTo>
                <a:lnTo>
                  <a:pt x="4320" y="1565"/>
                </a:lnTo>
                <a:lnTo>
                  <a:pt x="4320" y="1570"/>
                </a:lnTo>
                <a:lnTo>
                  <a:pt x="4321" y="1574"/>
                </a:lnTo>
                <a:lnTo>
                  <a:pt x="4334" y="1578"/>
                </a:lnTo>
                <a:lnTo>
                  <a:pt x="4339" y="1579"/>
                </a:lnTo>
                <a:lnTo>
                  <a:pt x="4344" y="1579"/>
                </a:lnTo>
                <a:lnTo>
                  <a:pt x="4348" y="1578"/>
                </a:lnTo>
                <a:lnTo>
                  <a:pt x="4352" y="1576"/>
                </a:lnTo>
                <a:lnTo>
                  <a:pt x="4357" y="1573"/>
                </a:lnTo>
                <a:lnTo>
                  <a:pt x="4363" y="1569"/>
                </a:lnTo>
                <a:lnTo>
                  <a:pt x="4360" y="1574"/>
                </a:lnTo>
                <a:lnTo>
                  <a:pt x="4356" y="1581"/>
                </a:lnTo>
                <a:lnTo>
                  <a:pt x="4353" y="1587"/>
                </a:lnTo>
                <a:lnTo>
                  <a:pt x="4351" y="1589"/>
                </a:lnTo>
                <a:lnTo>
                  <a:pt x="4349" y="1591"/>
                </a:lnTo>
                <a:lnTo>
                  <a:pt x="4345" y="1593"/>
                </a:lnTo>
                <a:lnTo>
                  <a:pt x="4341" y="1593"/>
                </a:lnTo>
                <a:lnTo>
                  <a:pt x="4336" y="1593"/>
                </a:lnTo>
                <a:lnTo>
                  <a:pt x="4332" y="1594"/>
                </a:lnTo>
                <a:lnTo>
                  <a:pt x="4331" y="1596"/>
                </a:lnTo>
                <a:lnTo>
                  <a:pt x="4329" y="1599"/>
                </a:lnTo>
                <a:lnTo>
                  <a:pt x="4329" y="1601"/>
                </a:lnTo>
                <a:lnTo>
                  <a:pt x="4329" y="1602"/>
                </a:lnTo>
                <a:lnTo>
                  <a:pt x="4330" y="1603"/>
                </a:lnTo>
                <a:lnTo>
                  <a:pt x="4332" y="1602"/>
                </a:lnTo>
                <a:lnTo>
                  <a:pt x="4337" y="1611"/>
                </a:lnTo>
                <a:lnTo>
                  <a:pt x="4343" y="1619"/>
                </a:lnTo>
                <a:lnTo>
                  <a:pt x="4350" y="1626"/>
                </a:lnTo>
                <a:lnTo>
                  <a:pt x="4357" y="1633"/>
                </a:lnTo>
                <a:lnTo>
                  <a:pt x="4361" y="1632"/>
                </a:lnTo>
                <a:lnTo>
                  <a:pt x="4365" y="1630"/>
                </a:lnTo>
                <a:lnTo>
                  <a:pt x="4374" y="1627"/>
                </a:lnTo>
                <a:lnTo>
                  <a:pt x="4378" y="1625"/>
                </a:lnTo>
                <a:lnTo>
                  <a:pt x="4381" y="1623"/>
                </a:lnTo>
                <a:lnTo>
                  <a:pt x="4384" y="1620"/>
                </a:lnTo>
                <a:lnTo>
                  <a:pt x="4385" y="1617"/>
                </a:lnTo>
                <a:lnTo>
                  <a:pt x="4386" y="1614"/>
                </a:lnTo>
                <a:lnTo>
                  <a:pt x="4386" y="1612"/>
                </a:lnTo>
                <a:lnTo>
                  <a:pt x="4385" y="1607"/>
                </a:lnTo>
                <a:lnTo>
                  <a:pt x="4385" y="1602"/>
                </a:lnTo>
                <a:lnTo>
                  <a:pt x="4385" y="1599"/>
                </a:lnTo>
                <a:lnTo>
                  <a:pt x="4385" y="1597"/>
                </a:lnTo>
                <a:lnTo>
                  <a:pt x="4394" y="1591"/>
                </a:lnTo>
                <a:lnTo>
                  <a:pt x="4394" y="1594"/>
                </a:lnTo>
                <a:lnTo>
                  <a:pt x="4393" y="1596"/>
                </a:lnTo>
                <a:lnTo>
                  <a:pt x="4392" y="1599"/>
                </a:lnTo>
                <a:lnTo>
                  <a:pt x="4391" y="1603"/>
                </a:lnTo>
                <a:lnTo>
                  <a:pt x="4391" y="1605"/>
                </a:lnTo>
                <a:lnTo>
                  <a:pt x="4396" y="1608"/>
                </a:lnTo>
                <a:lnTo>
                  <a:pt x="4395" y="1612"/>
                </a:lnTo>
                <a:lnTo>
                  <a:pt x="4394" y="1616"/>
                </a:lnTo>
                <a:lnTo>
                  <a:pt x="4394" y="1619"/>
                </a:lnTo>
                <a:lnTo>
                  <a:pt x="4395" y="1621"/>
                </a:lnTo>
                <a:lnTo>
                  <a:pt x="4397" y="1623"/>
                </a:lnTo>
                <a:lnTo>
                  <a:pt x="4399" y="1626"/>
                </a:lnTo>
                <a:lnTo>
                  <a:pt x="4399" y="1628"/>
                </a:lnTo>
                <a:lnTo>
                  <a:pt x="4399" y="1631"/>
                </a:lnTo>
                <a:lnTo>
                  <a:pt x="4399" y="1633"/>
                </a:lnTo>
                <a:lnTo>
                  <a:pt x="4398" y="1636"/>
                </a:lnTo>
                <a:lnTo>
                  <a:pt x="4395" y="1642"/>
                </a:lnTo>
                <a:lnTo>
                  <a:pt x="4392" y="1649"/>
                </a:lnTo>
                <a:lnTo>
                  <a:pt x="4391" y="1652"/>
                </a:lnTo>
                <a:lnTo>
                  <a:pt x="4391" y="1656"/>
                </a:lnTo>
                <a:lnTo>
                  <a:pt x="4395" y="1664"/>
                </a:lnTo>
                <a:lnTo>
                  <a:pt x="4399" y="1673"/>
                </a:lnTo>
                <a:lnTo>
                  <a:pt x="4398" y="1673"/>
                </a:lnTo>
                <a:lnTo>
                  <a:pt x="4398" y="1674"/>
                </a:lnTo>
                <a:lnTo>
                  <a:pt x="4397" y="1676"/>
                </a:lnTo>
                <a:lnTo>
                  <a:pt x="4397" y="1680"/>
                </a:lnTo>
                <a:lnTo>
                  <a:pt x="4398" y="1685"/>
                </a:lnTo>
                <a:lnTo>
                  <a:pt x="4399" y="1690"/>
                </a:lnTo>
                <a:lnTo>
                  <a:pt x="4403" y="1704"/>
                </a:lnTo>
                <a:lnTo>
                  <a:pt x="4408" y="1726"/>
                </a:lnTo>
                <a:lnTo>
                  <a:pt x="4408" y="1730"/>
                </a:lnTo>
                <a:lnTo>
                  <a:pt x="4408" y="1735"/>
                </a:lnTo>
                <a:lnTo>
                  <a:pt x="4407" y="1739"/>
                </a:lnTo>
                <a:lnTo>
                  <a:pt x="4408" y="1743"/>
                </a:lnTo>
                <a:lnTo>
                  <a:pt x="4409" y="1748"/>
                </a:lnTo>
                <a:lnTo>
                  <a:pt x="4411" y="1752"/>
                </a:lnTo>
                <a:lnTo>
                  <a:pt x="4416" y="1761"/>
                </a:lnTo>
                <a:lnTo>
                  <a:pt x="4421" y="1771"/>
                </a:lnTo>
                <a:lnTo>
                  <a:pt x="4425" y="1780"/>
                </a:lnTo>
                <a:lnTo>
                  <a:pt x="4427" y="1792"/>
                </a:lnTo>
                <a:lnTo>
                  <a:pt x="4428" y="1804"/>
                </a:lnTo>
                <a:lnTo>
                  <a:pt x="4429" y="1810"/>
                </a:lnTo>
                <a:lnTo>
                  <a:pt x="4430" y="1816"/>
                </a:lnTo>
                <a:lnTo>
                  <a:pt x="4431" y="1822"/>
                </a:lnTo>
                <a:lnTo>
                  <a:pt x="4433" y="1828"/>
                </a:lnTo>
                <a:lnTo>
                  <a:pt x="4437" y="1833"/>
                </a:lnTo>
                <a:lnTo>
                  <a:pt x="4441" y="1840"/>
                </a:lnTo>
                <a:lnTo>
                  <a:pt x="4446" y="1846"/>
                </a:lnTo>
                <a:lnTo>
                  <a:pt x="4450" y="1853"/>
                </a:lnTo>
                <a:lnTo>
                  <a:pt x="4452" y="1858"/>
                </a:lnTo>
                <a:lnTo>
                  <a:pt x="4452" y="1863"/>
                </a:lnTo>
                <a:lnTo>
                  <a:pt x="4453" y="1868"/>
                </a:lnTo>
                <a:lnTo>
                  <a:pt x="4456" y="1873"/>
                </a:lnTo>
                <a:lnTo>
                  <a:pt x="4461" y="1875"/>
                </a:lnTo>
                <a:lnTo>
                  <a:pt x="4462" y="1878"/>
                </a:lnTo>
                <a:lnTo>
                  <a:pt x="4462" y="1880"/>
                </a:lnTo>
                <a:lnTo>
                  <a:pt x="4461" y="1882"/>
                </a:lnTo>
                <a:lnTo>
                  <a:pt x="4460" y="1883"/>
                </a:lnTo>
                <a:lnTo>
                  <a:pt x="4459" y="1885"/>
                </a:lnTo>
                <a:lnTo>
                  <a:pt x="4458" y="1887"/>
                </a:lnTo>
                <a:lnTo>
                  <a:pt x="4458" y="1889"/>
                </a:lnTo>
                <a:lnTo>
                  <a:pt x="4459" y="1890"/>
                </a:lnTo>
                <a:lnTo>
                  <a:pt x="4460" y="1892"/>
                </a:lnTo>
                <a:lnTo>
                  <a:pt x="4464" y="1896"/>
                </a:lnTo>
                <a:lnTo>
                  <a:pt x="4470" y="1903"/>
                </a:lnTo>
                <a:lnTo>
                  <a:pt x="4473" y="1908"/>
                </a:lnTo>
                <a:lnTo>
                  <a:pt x="4475" y="1912"/>
                </a:lnTo>
                <a:lnTo>
                  <a:pt x="4476" y="1914"/>
                </a:lnTo>
                <a:lnTo>
                  <a:pt x="4477" y="1916"/>
                </a:lnTo>
                <a:lnTo>
                  <a:pt x="4477" y="1918"/>
                </a:lnTo>
                <a:lnTo>
                  <a:pt x="4478" y="1920"/>
                </a:lnTo>
                <a:lnTo>
                  <a:pt x="4482" y="1920"/>
                </a:lnTo>
                <a:lnTo>
                  <a:pt x="4486" y="1920"/>
                </a:lnTo>
                <a:lnTo>
                  <a:pt x="4490" y="1912"/>
                </a:lnTo>
                <a:lnTo>
                  <a:pt x="4493" y="1906"/>
                </a:lnTo>
                <a:lnTo>
                  <a:pt x="4495" y="1903"/>
                </a:lnTo>
                <a:lnTo>
                  <a:pt x="4497" y="1903"/>
                </a:lnTo>
                <a:lnTo>
                  <a:pt x="4499" y="1902"/>
                </a:lnTo>
                <a:lnTo>
                  <a:pt x="4502" y="1902"/>
                </a:lnTo>
                <a:lnTo>
                  <a:pt x="4503" y="1902"/>
                </a:lnTo>
                <a:lnTo>
                  <a:pt x="4503" y="1901"/>
                </a:lnTo>
                <a:lnTo>
                  <a:pt x="4505" y="1898"/>
                </a:lnTo>
                <a:lnTo>
                  <a:pt x="4506" y="1894"/>
                </a:lnTo>
                <a:lnTo>
                  <a:pt x="4508" y="1888"/>
                </a:lnTo>
                <a:lnTo>
                  <a:pt x="4508" y="1885"/>
                </a:lnTo>
                <a:lnTo>
                  <a:pt x="4510" y="1882"/>
                </a:lnTo>
                <a:lnTo>
                  <a:pt x="4512" y="1880"/>
                </a:lnTo>
                <a:lnTo>
                  <a:pt x="4513" y="1879"/>
                </a:lnTo>
                <a:lnTo>
                  <a:pt x="4515" y="1878"/>
                </a:lnTo>
                <a:lnTo>
                  <a:pt x="4517" y="1878"/>
                </a:lnTo>
                <a:lnTo>
                  <a:pt x="4519" y="1878"/>
                </a:lnTo>
                <a:lnTo>
                  <a:pt x="4521" y="1879"/>
                </a:lnTo>
                <a:lnTo>
                  <a:pt x="4523" y="1878"/>
                </a:lnTo>
                <a:lnTo>
                  <a:pt x="4521" y="1861"/>
                </a:lnTo>
                <a:lnTo>
                  <a:pt x="4520" y="1850"/>
                </a:lnTo>
                <a:lnTo>
                  <a:pt x="4520" y="1842"/>
                </a:lnTo>
                <a:lnTo>
                  <a:pt x="4523" y="1837"/>
                </a:lnTo>
                <a:lnTo>
                  <a:pt x="4526" y="1832"/>
                </a:lnTo>
                <a:lnTo>
                  <a:pt x="4530" y="1826"/>
                </a:lnTo>
                <a:lnTo>
                  <a:pt x="4531" y="1824"/>
                </a:lnTo>
                <a:lnTo>
                  <a:pt x="4531" y="1822"/>
                </a:lnTo>
                <a:lnTo>
                  <a:pt x="4529" y="1815"/>
                </a:lnTo>
                <a:lnTo>
                  <a:pt x="4526" y="1808"/>
                </a:lnTo>
                <a:lnTo>
                  <a:pt x="4525" y="1801"/>
                </a:lnTo>
                <a:lnTo>
                  <a:pt x="4526" y="1788"/>
                </a:lnTo>
                <a:lnTo>
                  <a:pt x="4526" y="1782"/>
                </a:lnTo>
                <a:lnTo>
                  <a:pt x="4527" y="1776"/>
                </a:lnTo>
                <a:lnTo>
                  <a:pt x="4529" y="1771"/>
                </a:lnTo>
                <a:lnTo>
                  <a:pt x="4530" y="1769"/>
                </a:lnTo>
                <a:lnTo>
                  <a:pt x="4531" y="1768"/>
                </a:lnTo>
                <a:lnTo>
                  <a:pt x="4529" y="1762"/>
                </a:lnTo>
                <a:lnTo>
                  <a:pt x="4526" y="1754"/>
                </a:lnTo>
                <a:lnTo>
                  <a:pt x="4527" y="1754"/>
                </a:lnTo>
                <a:lnTo>
                  <a:pt x="4528" y="1752"/>
                </a:lnTo>
                <a:lnTo>
                  <a:pt x="4529" y="1750"/>
                </a:lnTo>
                <a:lnTo>
                  <a:pt x="4530" y="1748"/>
                </a:lnTo>
                <a:lnTo>
                  <a:pt x="4531" y="1746"/>
                </a:lnTo>
                <a:lnTo>
                  <a:pt x="4534" y="1745"/>
                </a:lnTo>
                <a:lnTo>
                  <a:pt x="4537" y="1746"/>
                </a:lnTo>
                <a:lnTo>
                  <a:pt x="4540" y="1746"/>
                </a:lnTo>
                <a:lnTo>
                  <a:pt x="4543" y="1746"/>
                </a:lnTo>
                <a:lnTo>
                  <a:pt x="4544" y="1745"/>
                </a:lnTo>
                <a:lnTo>
                  <a:pt x="4546" y="1744"/>
                </a:lnTo>
                <a:lnTo>
                  <a:pt x="4547" y="1741"/>
                </a:lnTo>
                <a:lnTo>
                  <a:pt x="4549" y="1737"/>
                </a:lnTo>
                <a:lnTo>
                  <a:pt x="4551" y="1735"/>
                </a:lnTo>
                <a:lnTo>
                  <a:pt x="4553" y="1734"/>
                </a:lnTo>
                <a:lnTo>
                  <a:pt x="4555" y="1733"/>
                </a:lnTo>
                <a:lnTo>
                  <a:pt x="4559" y="1732"/>
                </a:lnTo>
                <a:lnTo>
                  <a:pt x="4562" y="1731"/>
                </a:lnTo>
                <a:lnTo>
                  <a:pt x="4564" y="1731"/>
                </a:lnTo>
                <a:lnTo>
                  <a:pt x="4565" y="1729"/>
                </a:lnTo>
                <a:lnTo>
                  <a:pt x="4566" y="1727"/>
                </a:lnTo>
                <a:lnTo>
                  <a:pt x="4567" y="1725"/>
                </a:lnTo>
                <a:lnTo>
                  <a:pt x="4568" y="1720"/>
                </a:lnTo>
                <a:lnTo>
                  <a:pt x="4568" y="1718"/>
                </a:lnTo>
                <a:lnTo>
                  <a:pt x="4568" y="1716"/>
                </a:lnTo>
                <a:lnTo>
                  <a:pt x="4569" y="1714"/>
                </a:lnTo>
                <a:lnTo>
                  <a:pt x="4571" y="1712"/>
                </a:lnTo>
                <a:lnTo>
                  <a:pt x="4573" y="1711"/>
                </a:lnTo>
                <a:lnTo>
                  <a:pt x="4575" y="1711"/>
                </a:lnTo>
                <a:lnTo>
                  <a:pt x="4579" y="1711"/>
                </a:lnTo>
                <a:lnTo>
                  <a:pt x="4583" y="1711"/>
                </a:lnTo>
                <a:lnTo>
                  <a:pt x="4586" y="1710"/>
                </a:lnTo>
                <a:lnTo>
                  <a:pt x="4588" y="1709"/>
                </a:lnTo>
                <a:lnTo>
                  <a:pt x="4588" y="1704"/>
                </a:lnTo>
                <a:lnTo>
                  <a:pt x="4589" y="1702"/>
                </a:lnTo>
                <a:lnTo>
                  <a:pt x="4590" y="1701"/>
                </a:lnTo>
                <a:lnTo>
                  <a:pt x="4594" y="1699"/>
                </a:lnTo>
                <a:lnTo>
                  <a:pt x="4599" y="1697"/>
                </a:lnTo>
                <a:lnTo>
                  <a:pt x="4602" y="1695"/>
                </a:lnTo>
                <a:lnTo>
                  <a:pt x="4604" y="1693"/>
                </a:lnTo>
                <a:lnTo>
                  <a:pt x="4605" y="1689"/>
                </a:lnTo>
                <a:lnTo>
                  <a:pt x="4609" y="1682"/>
                </a:lnTo>
                <a:lnTo>
                  <a:pt x="4612" y="1675"/>
                </a:lnTo>
                <a:lnTo>
                  <a:pt x="4614" y="1672"/>
                </a:lnTo>
                <a:lnTo>
                  <a:pt x="4616" y="1670"/>
                </a:lnTo>
                <a:lnTo>
                  <a:pt x="4618" y="1669"/>
                </a:lnTo>
                <a:lnTo>
                  <a:pt x="4620" y="1669"/>
                </a:lnTo>
                <a:lnTo>
                  <a:pt x="4622" y="1668"/>
                </a:lnTo>
                <a:lnTo>
                  <a:pt x="4624" y="1667"/>
                </a:lnTo>
                <a:lnTo>
                  <a:pt x="4622" y="1664"/>
                </a:lnTo>
                <a:lnTo>
                  <a:pt x="4621" y="1663"/>
                </a:lnTo>
                <a:lnTo>
                  <a:pt x="4622" y="1662"/>
                </a:lnTo>
                <a:lnTo>
                  <a:pt x="4623" y="1661"/>
                </a:lnTo>
                <a:lnTo>
                  <a:pt x="4624" y="1661"/>
                </a:lnTo>
                <a:lnTo>
                  <a:pt x="4627" y="1661"/>
                </a:lnTo>
                <a:lnTo>
                  <a:pt x="4630" y="1662"/>
                </a:lnTo>
                <a:lnTo>
                  <a:pt x="4633" y="1662"/>
                </a:lnTo>
                <a:lnTo>
                  <a:pt x="4639" y="1659"/>
                </a:lnTo>
                <a:lnTo>
                  <a:pt x="4647" y="1653"/>
                </a:lnTo>
                <a:lnTo>
                  <a:pt x="4651" y="1650"/>
                </a:lnTo>
                <a:lnTo>
                  <a:pt x="4654" y="1647"/>
                </a:lnTo>
                <a:lnTo>
                  <a:pt x="4658" y="1642"/>
                </a:lnTo>
                <a:lnTo>
                  <a:pt x="4659" y="1639"/>
                </a:lnTo>
                <a:lnTo>
                  <a:pt x="4658" y="1636"/>
                </a:lnTo>
                <a:lnTo>
                  <a:pt x="4657" y="1635"/>
                </a:lnTo>
                <a:lnTo>
                  <a:pt x="4655" y="1633"/>
                </a:lnTo>
                <a:lnTo>
                  <a:pt x="4654" y="1632"/>
                </a:lnTo>
                <a:lnTo>
                  <a:pt x="4655" y="1631"/>
                </a:lnTo>
                <a:lnTo>
                  <a:pt x="4657" y="1631"/>
                </a:lnTo>
                <a:lnTo>
                  <a:pt x="4658" y="1631"/>
                </a:lnTo>
                <a:lnTo>
                  <a:pt x="4661" y="1625"/>
                </a:lnTo>
                <a:lnTo>
                  <a:pt x="4662" y="1623"/>
                </a:lnTo>
                <a:lnTo>
                  <a:pt x="4663" y="1621"/>
                </a:lnTo>
                <a:lnTo>
                  <a:pt x="4667" y="1619"/>
                </a:lnTo>
                <a:lnTo>
                  <a:pt x="4672" y="1617"/>
                </a:lnTo>
                <a:lnTo>
                  <a:pt x="4672" y="1611"/>
                </a:lnTo>
                <a:lnTo>
                  <a:pt x="4675" y="1611"/>
                </a:lnTo>
                <a:lnTo>
                  <a:pt x="4677" y="1611"/>
                </a:lnTo>
                <a:lnTo>
                  <a:pt x="4680" y="1613"/>
                </a:lnTo>
                <a:lnTo>
                  <a:pt x="4683" y="1614"/>
                </a:lnTo>
                <a:lnTo>
                  <a:pt x="4687" y="1618"/>
                </a:lnTo>
                <a:lnTo>
                  <a:pt x="4689" y="1619"/>
                </a:lnTo>
                <a:lnTo>
                  <a:pt x="4700" y="1613"/>
                </a:lnTo>
                <a:lnTo>
                  <a:pt x="4714" y="1605"/>
                </a:lnTo>
                <a:lnTo>
                  <a:pt x="4713" y="1606"/>
                </a:lnTo>
                <a:lnTo>
                  <a:pt x="4713" y="1607"/>
                </a:lnTo>
                <a:lnTo>
                  <a:pt x="4714" y="1608"/>
                </a:lnTo>
                <a:lnTo>
                  <a:pt x="4715" y="1608"/>
                </a:lnTo>
                <a:lnTo>
                  <a:pt x="4720" y="1608"/>
                </a:lnTo>
                <a:lnTo>
                  <a:pt x="4723" y="1594"/>
                </a:lnTo>
                <a:lnTo>
                  <a:pt x="4726" y="1580"/>
                </a:lnTo>
                <a:lnTo>
                  <a:pt x="4731" y="1583"/>
                </a:lnTo>
                <a:lnTo>
                  <a:pt x="4735" y="1586"/>
                </a:lnTo>
                <a:lnTo>
                  <a:pt x="4739" y="1589"/>
                </a:lnTo>
                <a:lnTo>
                  <a:pt x="4742" y="1591"/>
                </a:lnTo>
                <a:lnTo>
                  <a:pt x="4744" y="1594"/>
                </a:lnTo>
                <a:lnTo>
                  <a:pt x="4745" y="1597"/>
                </a:lnTo>
                <a:lnTo>
                  <a:pt x="4747" y="1602"/>
                </a:lnTo>
                <a:lnTo>
                  <a:pt x="4749" y="1615"/>
                </a:lnTo>
                <a:lnTo>
                  <a:pt x="4749" y="1619"/>
                </a:lnTo>
                <a:lnTo>
                  <a:pt x="4750" y="1623"/>
                </a:lnTo>
                <a:lnTo>
                  <a:pt x="4752" y="1628"/>
                </a:lnTo>
                <a:lnTo>
                  <a:pt x="4754" y="1633"/>
                </a:lnTo>
                <a:lnTo>
                  <a:pt x="4755" y="1635"/>
                </a:lnTo>
                <a:lnTo>
                  <a:pt x="4757" y="1636"/>
                </a:lnTo>
                <a:lnTo>
                  <a:pt x="4759" y="1637"/>
                </a:lnTo>
                <a:lnTo>
                  <a:pt x="4760" y="1638"/>
                </a:lnTo>
                <a:lnTo>
                  <a:pt x="4760" y="1639"/>
                </a:lnTo>
                <a:lnTo>
                  <a:pt x="4761" y="1642"/>
                </a:lnTo>
                <a:lnTo>
                  <a:pt x="4762" y="1645"/>
                </a:lnTo>
                <a:lnTo>
                  <a:pt x="4762" y="1650"/>
                </a:lnTo>
                <a:lnTo>
                  <a:pt x="4767" y="1650"/>
                </a:lnTo>
                <a:lnTo>
                  <a:pt x="4769" y="1649"/>
                </a:lnTo>
                <a:lnTo>
                  <a:pt x="4769" y="1648"/>
                </a:lnTo>
                <a:lnTo>
                  <a:pt x="4768" y="1647"/>
                </a:lnTo>
                <a:lnTo>
                  <a:pt x="4770" y="1647"/>
                </a:lnTo>
                <a:lnTo>
                  <a:pt x="4772" y="1647"/>
                </a:lnTo>
                <a:lnTo>
                  <a:pt x="4773" y="1646"/>
                </a:lnTo>
                <a:lnTo>
                  <a:pt x="4774" y="1645"/>
                </a:lnTo>
                <a:lnTo>
                  <a:pt x="4779" y="1645"/>
                </a:lnTo>
                <a:lnTo>
                  <a:pt x="4781" y="1654"/>
                </a:lnTo>
                <a:lnTo>
                  <a:pt x="4781" y="1663"/>
                </a:lnTo>
                <a:lnTo>
                  <a:pt x="4782" y="1672"/>
                </a:lnTo>
                <a:lnTo>
                  <a:pt x="4785" y="1681"/>
                </a:lnTo>
                <a:lnTo>
                  <a:pt x="4785" y="1683"/>
                </a:lnTo>
                <a:lnTo>
                  <a:pt x="4787" y="1684"/>
                </a:lnTo>
                <a:lnTo>
                  <a:pt x="4790" y="1687"/>
                </a:lnTo>
                <a:lnTo>
                  <a:pt x="4794" y="1691"/>
                </a:lnTo>
                <a:lnTo>
                  <a:pt x="4795" y="1693"/>
                </a:lnTo>
                <a:lnTo>
                  <a:pt x="4796" y="1695"/>
                </a:lnTo>
                <a:lnTo>
                  <a:pt x="4796" y="1699"/>
                </a:lnTo>
                <a:lnTo>
                  <a:pt x="4795" y="1703"/>
                </a:lnTo>
                <a:lnTo>
                  <a:pt x="4794" y="1706"/>
                </a:lnTo>
                <a:lnTo>
                  <a:pt x="4793" y="1710"/>
                </a:lnTo>
                <a:lnTo>
                  <a:pt x="4790" y="1716"/>
                </a:lnTo>
                <a:lnTo>
                  <a:pt x="4788" y="1718"/>
                </a:lnTo>
                <a:lnTo>
                  <a:pt x="4787" y="1721"/>
                </a:lnTo>
                <a:lnTo>
                  <a:pt x="4787" y="1725"/>
                </a:lnTo>
                <a:lnTo>
                  <a:pt x="4787" y="1729"/>
                </a:lnTo>
                <a:lnTo>
                  <a:pt x="4788" y="1733"/>
                </a:lnTo>
                <a:lnTo>
                  <a:pt x="4787" y="1738"/>
                </a:lnTo>
                <a:lnTo>
                  <a:pt x="4797" y="1738"/>
                </a:lnTo>
                <a:lnTo>
                  <a:pt x="4802" y="1739"/>
                </a:lnTo>
                <a:lnTo>
                  <a:pt x="4808" y="1738"/>
                </a:lnTo>
                <a:lnTo>
                  <a:pt x="4811" y="1738"/>
                </a:lnTo>
                <a:lnTo>
                  <a:pt x="4814" y="1737"/>
                </a:lnTo>
                <a:lnTo>
                  <a:pt x="4817" y="1736"/>
                </a:lnTo>
                <a:lnTo>
                  <a:pt x="4820" y="1735"/>
                </a:lnTo>
                <a:lnTo>
                  <a:pt x="4822" y="1733"/>
                </a:lnTo>
                <a:lnTo>
                  <a:pt x="4824" y="1731"/>
                </a:lnTo>
                <a:lnTo>
                  <a:pt x="4826" y="1729"/>
                </a:lnTo>
                <a:lnTo>
                  <a:pt x="4827" y="1726"/>
                </a:lnTo>
                <a:lnTo>
                  <a:pt x="4827" y="1724"/>
                </a:lnTo>
                <a:lnTo>
                  <a:pt x="4827" y="1721"/>
                </a:lnTo>
                <a:lnTo>
                  <a:pt x="4826" y="1718"/>
                </a:lnTo>
                <a:lnTo>
                  <a:pt x="4826" y="1716"/>
                </a:lnTo>
                <a:lnTo>
                  <a:pt x="4827" y="1715"/>
                </a:lnTo>
                <a:lnTo>
                  <a:pt x="4832" y="1715"/>
                </a:lnTo>
                <a:lnTo>
                  <a:pt x="4838" y="1722"/>
                </a:lnTo>
                <a:lnTo>
                  <a:pt x="4842" y="1727"/>
                </a:lnTo>
                <a:lnTo>
                  <a:pt x="4844" y="1729"/>
                </a:lnTo>
                <a:lnTo>
                  <a:pt x="4849" y="1729"/>
                </a:lnTo>
                <a:lnTo>
                  <a:pt x="4850" y="1732"/>
                </a:lnTo>
                <a:lnTo>
                  <a:pt x="4850" y="1734"/>
                </a:lnTo>
                <a:lnTo>
                  <a:pt x="4850" y="1736"/>
                </a:lnTo>
                <a:lnTo>
                  <a:pt x="4849" y="1738"/>
                </a:lnTo>
                <a:lnTo>
                  <a:pt x="4847" y="1742"/>
                </a:lnTo>
                <a:lnTo>
                  <a:pt x="4846" y="1744"/>
                </a:lnTo>
                <a:lnTo>
                  <a:pt x="4847" y="1746"/>
                </a:lnTo>
                <a:lnTo>
                  <a:pt x="4847" y="1747"/>
                </a:lnTo>
                <a:lnTo>
                  <a:pt x="4848" y="1748"/>
                </a:lnTo>
                <a:lnTo>
                  <a:pt x="4851" y="1750"/>
                </a:lnTo>
                <a:lnTo>
                  <a:pt x="4853" y="1753"/>
                </a:lnTo>
                <a:lnTo>
                  <a:pt x="4855" y="1754"/>
                </a:lnTo>
                <a:lnTo>
                  <a:pt x="4856" y="1758"/>
                </a:lnTo>
                <a:lnTo>
                  <a:pt x="4856" y="1762"/>
                </a:lnTo>
                <a:lnTo>
                  <a:pt x="4856" y="1769"/>
                </a:lnTo>
                <a:lnTo>
                  <a:pt x="4856" y="1776"/>
                </a:lnTo>
                <a:lnTo>
                  <a:pt x="4857" y="1779"/>
                </a:lnTo>
                <a:lnTo>
                  <a:pt x="4858" y="1783"/>
                </a:lnTo>
                <a:lnTo>
                  <a:pt x="4859" y="1785"/>
                </a:lnTo>
                <a:lnTo>
                  <a:pt x="4861" y="1791"/>
                </a:lnTo>
                <a:lnTo>
                  <a:pt x="4866" y="1791"/>
                </a:lnTo>
                <a:lnTo>
                  <a:pt x="4868" y="1798"/>
                </a:lnTo>
                <a:lnTo>
                  <a:pt x="4868" y="1804"/>
                </a:lnTo>
                <a:lnTo>
                  <a:pt x="4869" y="1810"/>
                </a:lnTo>
                <a:lnTo>
                  <a:pt x="4869" y="1816"/>
                </a:lnTo>
                <a:lnTo>
                  <a:pt x="4872" y="1816"/>
                </a:lnTo>
                <a:lnTo>
                  <a:pt x="4872" y="1819"/>
                </a:lnTo>
                <a:lnTo>
                  <a:pt x="4871" y="1822"/>
                </a:lnTo>
                <a:lnTo>
                  <a:pt x="4870" y="1825"/>
                </a:lnTo>
                <a:lnTo>
                  <a:pt x="4869" y="1827"/>
                </a:lnTo>
                <a:lnTo>
                  <a:pt x="4867" y="1830"/>
                </a:lnTo>
                <a:lnTo>
                  <a:pt x="4866" y="1833"/>
                </a:lnTo>
                <a:lnTo>
                  <a:pt x="4875" y="1836"/>
                </a:lnTo>
                <a:lnTo>
                  <a:pt x="4877" y="1847"/>
                </a:lnTo>
                <a:lnTo>
                  <a:pt x="4877" y="1852"/>
                </a:lnTo>
                <a:lnTo>
                  <a:pt x="4877" y="1858"/>
                </a:lnTo>
                <a:lnTo>
                  <a:pt x="4875" y="1858"/>
                </a:lnTo>
                <a:lnTo>
                  <a:pt x="4875" y="1870"/>
                </a:lnTo>
                <a:lnTo>
                  <a:pt x="4875" y="1884"/>
                </a:lnTo>
                <a:lnTo>
                  <a:pt x="4874" y="1886"/>
                </a:lnTo>
                <a:lnTo>
                  <a:pt x="4873" y="1887"/>
                </a:lnTo>
                <a:lnTo>
                  <a:pt x="4870" y="1892"/>
                </a:lnTo>
                <a:lnTo>
                  <a:pt x="4867" y="1897"/>
                </a:lnTo>
                <a:lnTo>
                  <a:pt x="4866" y="1900"/>
                </a:lnTo>
                <a:lnTo>
                  <a:pt x="4866" y="1903"/>
                </a:lnTo>
                <a:lnTo>
                  <a:pt x="4867" y="1906"/>
                </a:lnTo>
                <a:lnTo>
                  <a:pt x="4868" y="1908"/>
                </a:lnTo>
                <a:lnTo>
                  <a:pt x="4871" y="1914"/>
                </a:lnTo>
                <a:lnTo>
                  <a:pt x="4882" y="1926"/>
                </a:lnTo>
                <a:lnTo>
                  <a:pt x="4888" y="1932"/>
                </a:lnTo>
                <a:lnTo>
                  <a:pt x="4893" y="1939"/>
                </a:lnTo>
                <a:lnTo>
                  <a:pt x="4897" y="1945"/>
                </a:lnTo>
                <a:lnTo>
                  <a:pt x="4899" y="1948"/>
                </a:lnTo>
                <a:lnTo>
                  <a:pt x="4900" y="1951"/>
                </a:lnTo>
                <a:lnTo>
                  <a:pt x="4902" y="1960"/>
                </a:lnTo>
                <a:lnTo>
                  <a:pt x="4902" y="1967"/>
                </a:lnTo>
                <a:lnTo>
                  <a:pt x="4902" y="1980"/>
                </a:lnTo>
                <a:lnTo>
                  <a:pt x="4902" y="1986"/>
                </a:lnTo>
                <a:lnTo>
                  <a:pt x="4903" y="1994"/>
                </a:lnTo>
                <a:lnTo>
                  <a:pt x="4906" y="1994"/>
                </a:lnTo>
                <a:lnTo>
                  <a:pt x="4908" y="2008"/>
                </a:lnTo>
                <a:lnTo>
                  <a:pt x="4909" y="2015"/>
                </a:lnTo>
                <a:lnTo>
                  <a:pt x="4910" y="2019"/>
                </a:lnTo>
                <a:lnTo>
                  <a:pt x="4911" y="2022"/>
                </a:lnTo>
                <a:lnTo>
                  <a:pt x="4915" y="2025"/>
                </a:lnTo>
                <a:lnTo>
                  <a:pt x="4918" y="2028"/>
                </a:lnTo>
                <a:lnTo>
                  <a:pt x="4920" y="2030"/>
                </a:lnTo>
                <a:lnTo>
                  <a:pt x="4920" y="2033"/>
                </a:lnTo>
                <a:lnTo>
                  <a:pt x="4919" y="2036"/>
                </a:lnTo>
                <a:lnTo>
                  <a:pt x="4919" y="2039"/>
                </a:lnTo>
                <a:lnTo>
                  <a:pt x="4920" y="2041"/>
                </a:lnTo>
                <a:lnTo>
                  <a:pt x="4920" y="2042"/>
                </a:lnTo>
                <a:lnTo>
                  <a:pt x="4922" y="2043"/>
                </a:lnTo>
                <a:lnTo>
                  <a:pt x="4925" y="2044"/>
                </a:lnTo>
                <a:lnTo>
                  <a:pt x="4928" y="2045"/>
                </a:lnTo>
                <a:lnTo>
                  <a:pt x="4931" y="2047"/>
                </a:lnTo>
                <a:lnTo>
                  <a:pt x="4940" y="2057"/>
                </a:lnTo>
                <a:lnTo>
                  <a:pt x="4944" y="2060"/>
                </a:lnTo>
                <a:lnTo>
                  <a:pt x="4947" y="2062"/>
                </a:lnTo>
                <a:lnTo>
                  <a:pt x="4951" y="2064"/>
                </a:lnTo>
                <a:lnTo>
                  <a:pt x="4956" y="2064"/>
                </a:lnTo>
                <a:lnTo>
                  <a:pt x="4962" y="2063"/>
                </a:lnTo>
                <a:lnTo>
                  <a:pt x="4970" y="2061"/>
                </a:lnTo>
                <a:lnTo>
                  <a:pt x="4969" y="2055"/>
                </a:lnTo>
                <a:lnTo>
                  <a:pt x="4968" y="2050"/>
                </a:lnTo>
                <a:lnTo>
                  <a:pt x="4967" y="2044"/>
                </a:lnTo>
                <a:lnTo>
                  <a:pt x="4965" y="2039"/>
                </a:lnTo>
                <a:lnTo>
                  <a:pt x="4959" y="2039"/>
                </a:lnTo>
                <a:lnTo>
                  <a:pt x="4958" y="2028"/>
                </a:lnTo>
                <a:lnTo>
                  <a:pt x="4956" y="2016"/>
                </a:lnTo>
                <a:lnTo>
                  <a:pt x="4959" y="2016"/>
                </a:lnTo>
                <a:lnTo>
                  <a:pt x="4959" y="2010"/>
                </a:lnTo>
                <a:lnTo>
                  <a:pt x="4958" y="2003"/>
                </a:lnTo>
                <a:lnTo>
                  <a:pt x="4957" y="1997"/>
                </a:lnTo>
                <a:lnTo>
                  <a:pt x="4955" y="1990"/>
                </a:lnTo>
                <a:lnTo>
                  <a:pt x="4953" y="1984"/>
                </a:lnTo>
                <a:lnTo>
                  <a:pt x="4951" y="1978"/>
                </a:lnTo>
                <a:lnTo>
                  <a:pt x="4948" y="1973"/>
                </a:lnTo>
                <a:lnTo>
                  <a:pt x="4945" y="1968"/>
                </a:lnTo>
                <a:lnTo>
                  <a:pt x="4944" y="1967"/>
                </a:lnTo>
                <a:lnTo>
                  <a:pt x="4942" y="1966"/>
                </a:lnTo>
                <a:lnTo>
                  <a:pt x="4938" y="1964"/>
                </a:lnTo>
                <a:lnTo>
                  <a:pt x="4934" y="1962"/>
                </a:lnTo>
                <a:lnTo>
                  <a:pt x="4931" y="1960"/>
                </a:lnTo>
                <a:lnTo>
                  <a:pt x="4929" y="1957"/>
                </a:lnTo>
                <a:lnTo>
                  <a:pt x="4928" y="1955"/>
                </a:lnTo>
                <a:lnTo>
                  <a:pt x="4926" y="1949"/>
                </a:lnTo>
                <a:lnTo>
                  <a:pt x="4923" y="1944"/>
                </a:lnTo>
                <a:lnTo>
                  <a:pt x="4922" y="1942"/>
                </a:lnTo>
                <a:lnTo>
                  <a:pt x="4920" y="1940"/>
                </a:lnTo>
                <a:lnTo>
                  <a:pt x="4918" y="1939"/>
                </a:lnTo>
                <a:lnTo>
                  <a:pt x="4916" y="1938"/>
                </a:lnTo>
                <a:lnTo>
                  <a:pt x="4912" y="1938"/>
                </a:lnTo>
                <a:lnTo>
                  <a:pt x="4908" y="1936"/>
                </a:lnTo>
                <a:lnTo>
                  <a:pt x="4907" y="1936"/>
                </a:lnTo>
                <a:lnTo>
                  <a:pt x="4906" y="1934"/>
                </a:lnTo>
                <a:lnTo>
                  <a:pt x="4904" y="1932"/>
                </a:lnTo>
                <a:lnTo>
                  <a:pt x="4903" y="1929"/>
                </a:lnTo>
                <a:lnTo>
                  <a:pt x="4902" y="1924"/>
                </a:lnTo>
                <a:lnTo>
                  <a:pt x="4902" y="1918"/>
                </a:lnTo>
                <a:lnTo>
                  <a:pt x="4901" y="1915"/>
                </a:lnTo>
                <a:lnTo>
                  <a:pt x="4900" y="1912"/>
                </a:lnTo>
                <a:lnTo>
                  <a:pt x="4892" y="1912"/>
                </a:lnTo>
                <a:lnTo>
                  <a:pt x="4890" y="1906"/>
                </a:lnTo>
                <a:lnTo>
                  <a:pt x="4889" y="1902"/>
                </a:lnTo>
                <a:lnTo>
                  <a:pt x="4888" y="1899"/>
                </a:lnTo>
                <a:lnTo>
                  <a:pt x="4886" y="1895"/>
                </a:lnTo>
                <a:lnTo>
                  <a:pt x="4883" y="1895"/>
                </a:lnTo>
                <a:lnTo>
                  <a:pt x="4883" y="1891"/>
                </a:lnTo>
                <a:lnTo>
                  <a:pt x="4882" y="1888"/>
                </a:lnTo>
                <a:lnTo>
                  <a:pt x="4883" y="1879"/>
                </a:lnTo>
                <a:lnTo>
                  <a:pt x="4885" y="1870"/>
                </a:lnTo>
                <a:lnTo>
                  <a:pt x="4887" y="1861"/>
                </a:lnTo>
                <a:lnTo>
                  <a:pt x="4893" y="1844"/>
                </a:lnTo>
                <a:lnTo>
                  <a:pt x="4897" y="1830"/>
                </a:lnTo>
                <a:lnTo>
                  <a:pt x="4894" y="1808"/>
                </a:lnTo>
                <a:lnTo>
                  <a:pt x="4894" y="1802"/>
                </a:lnTo>
                <a:lnTo>
                  <a:pt x="4900" y="1801"/>
                </a:lnTo>
                <a:lnTo>
                  <a:pt x="4908" y="1799"/>
                </a:lnTo>
                <a:lnTo>
                  <a:pt x="4909" y="1802"/>
                </a:lnTo>
                <a:lnTo>
                  <a:pt x="4910" y="1802"/>
                </a:lnTo>
                <a:lnTo>
                  <a:pt x="4911" y="1802"/>
                </a:lnTo>
                <a:lnTo>
                  <a:pt x="4914" y="1802"/>
                </a:lnTo>
                <a:lnTo>
                  <a:pt x="4914" y="1807"/>
                </a:lnTo>
                <a:lnTo>
                  <a:pt x="4914" y="1810"/>
                </a:lnTo>
                <a:lnTo>
                  <a:pt x="4915" y="1814"/>
                </a:lnTo>
                <a:lnTo>
                  <a:pt x="4916" y="1815"/>
                </a:lnTo>
                <a:lnTo>
                  <a:pt x="4917" y="1816"/>
                </a:lnTo>
                <a:lnTo>
                  <a:pt x="4918" y="1817"/>
                </a:lnTo>
                <a:lnTo>
                  <a:pt x="4920" y="1817"/>
                </a:lnTo>
                <a:lnTo>
                  <a:pt x="4922" y="1817"/>
                </a:lnTo>
                <a:lnTo>
                  <a:pt x="4924" y="1816"/>
                </a:lnTo>
                <a:lnTo>
                  <a:pt x="4931" y="1813"/>
                </a:lnTo>
                <a:lnTo>
                  <a:pt x="4931" y="1814"/>
                </a:lnTo>
                <a:lnTo>
                  <a:pt x="4931" y="1815"/>
                </a:lnTo>
                <a:lnTo>
                  <a:pt x="4931" y="1817"/>
                </a:lnTo>
                <a:lnTo>
                  <a:pt x="4931" y="1820"/>
                </a:lnTo>
                <a:lnTo>
                  <a:pt x="4931" y="1822"/>
                </a:lnTo>
                <a:lnTo>
                  <a:pt x="4932" y="1823"/>
                </a:lnTo>
                <a:lnTo>
                  <a:pt x="4933" y="1824"/>
                </a:lnTo>
                <a:lnTo>
                  <a:pt x="4936" y="1825"/>
                </a:lnTo>
                <a:lnTo>
                  <a:pt x="4940" y="1826"/>
                </a:lnTo>
                <a:lnTo>
                  <a:pt x="4941" y="1827"/>
                </a:lnTo>
                <a:lnTo>
                  <a:pt x="4942" y="1828"/>
                </a:lnTo>
                <a:lnTo>
                  <a:pt x="4943" y="1829"/>
                </a:lnTo>
                <a:lnTo>
                  <a:pt x="4942" y="1832"/>
                </a:lnTo>
                <a:lnTo>
                  <a:pt x="4942" y="1834"/>
                </a:lnTo>
                <a:lnTo>
                  <a:pt x="4942" y="1836"/>
                </a:lnTo>
                <a:lnTo>
                  <a:pt x="4945" y="1836"/>
                </a:lnTo>
                <a:lnTo>
                  <a:pt x="4950" y="1847"/>
                </a:lnTo>
                <a:lnTo>
                  <a:pt x="4956" y="1858"/>
                </a:lnTo>
                <a:lnTo>
                  <a:pt x="4958" y="1857"/>
                </a:lnTo>
                <a:lnTo>
                  <a:pt x="4960" y="1856"/>
                </a:lnTo>
                <a:lnTo>
                  <a:pt x="4962" y="1855"/>
                </a:lnTo>
                <a:lnTo>
                  <a:pt x="4963" y="1855"/>
                </a:lnTo>
                <a:lnTo>
                  <a:pt x="4965" y="1856"/>
                </a:lnTo>
                <a:lnTo>
                  <a:pt x="4962" y="1864"/>
                </a:lnTo>
                <a:lnTo>
                  <a:pt x="4973" y="1868"/>
                </a:lnTo>
                <a:lnTo>
                  <a:pt x="4976" y="1868"/>
                </a:lnTo>
                <a:lnTo>
                  <a:pt x="4979" y="1870"/>
                </a:lnTo>
                <a:lnTo>
                  <a:pt x="4978" y="1880"/>
                </a:lnTo>
                <a:lnTo>
                  <a:pt x="4977" y="1884"/>
                </a:lnTo>
                <a:lnTo>
                  <a:pt x="4977" y="1889"/>
                </a:lnTo>
                <a:lnTo>
                  <a:pt x="4978" y="1892"/>
                </a:lnTo>
                <a:lnTo>
                  <a:pt x="4979" y="1896"/>
                </a:lnTo>
                <a:lnTo>
                  <a:pt x="4980" y="1897"/>
                </a:lnTo>
                <a:lnTo>
                  <a:pt x="4981" y="1898"/>
                </a:lnTo>
                <a:lnTo>
                  <a:pt x="4982" y="1900"/>
                </a:lnTo>
                <a:lnTo>
                  <a:pt x="4984" y="1901"/>
                </a:lnTo>
                <a:lnTo>
                  <a:pt x="4985" y="1901"/>
                </a:lnTo>
                <a:lnTo>
                  <a:pt x="4985" y="1902"/>
                </a:lnTo>
                <a:lnTo>
                  <a:pt x="4983" y="1903"/>
                </a:lnTo>
                <a:lnTo>
                  <a:pt x="4982" y="1904"/>
                </a:lnTo>
                <a:lnTo>
                  <a:pt x="4981" y="1905"/>
                </a:lnTo>
                <a:lnTo>
                  <a:pt x="4982" y="1906"/>
                </a:lnTo>
                <a:lnTo>
                  <a:pt x="4984" y="1904"/>
                </a:lnTo>
                <a:lnTo>
                  <a:pt x="4987" y="1903"/>
                </a:lnTo>
                <a:lnTo>
                  <a:pt x="4993" y="1901"/>
                </a:lnTo>
                <a:lnTo>
                  <a:pt x="4993" y="1895"/>
                </a:lnTo>
                <a:lnTo>
                  <a:pt x="4995" y="1895"/>
                </a:lnTo>
                <a:lnTo>
                  <a:pt x="4997" y="1895"/>
                </a:lnTo>
                <a:lnTo>
                  <a:pt x="4999" y="1895"/>
                </a:lnTo>
                <a:lnTo>
                  <a:pt x="5000" y="1895"/>
                </a:lnTo>
                <a:lnTo>
                  <a:pt x="5001" y="1895"/>
                </a:lnTo>
                <a:lnTo>
                  <a:pt x="5000" y="1893"/>
                </a:lnTo>
                <a:lnTo>
                  <a:pt x="4998" y="1889"/>
                </a:lnTo>
                <a:lnTo>
                  <a:pt x="4997" y="1884"/>
                </a:lnTo>
                <a:lnTo>
                  <a:pt x="4997" y="1882"/>
                </a:lnTo>
                <a:lnTo>
                  <a:pt x="4998" y="1881"/>
                </a:lnTo>
                <a:lnTo>
                  <a:pt x="5002" y="1884"/>
                </a:lnTo>
                <a:lnTo>
                  <a:pt x="5005" y="1886"/>
                </a:lnTo>
                <a:lnTo>
                  <a:pt x="5007" y="1887"/>
                </a:lnTo>
                <a:lnTo>
                  <a:pt x="5007" y="1885"/>
                </a:lnTo>
                <a:lnTo>
                  <a:pt x="5008" y="1883"/>
                </a:lnTo>
                <a:lnTo>
                  <a:pt x="5010" y="1878"/>
                </a:lnTo>
                <a:lnTo>
                  <a:pt x="5005" y="1876"/>
                </a:lnTo>
                <a:lnTo>
                  <a:pt x="5003" y="1875"/>
                </a:lnTo>
                <a:lnTo>
                  <a:pt x="5001" y="1873"/>
                </a:lnTo>
                <a:lnTo>
                  <a:pt x="4998" y="1868"/>
                </a:lnTo>
                <a:lnTo>
                  <a:pt x="4997" y="1865"/>
                </a:lnTo>
                <a:lnTo>
                  <a:pt x="4999" y="1865"/>
                </a:lnTo>
                <a:lnTo>
                  <a:pt x="5004" y="1867"/>
                </a:lnTo>
                <a:lnTo>
                  <a:pt x="5004" y="1870"/>
                </a:lnTo>
                <a:lnTo>
                  <a:pt x="5016" y="1870"/>
                </a:lnTo>
                <a:lnTo>
                  <a:pt x="5024" y="1870"/>
                </a:lnTo>
                <a:lnTo>
                  <a:pt x="5022" y="1867"/>
                </a:lnTo>
                <a:lnTo>
                  <a:pt x="5021" y="1865"/>
                </a:lnTo>
                <a:lnTo>
                  <a:pt x="5021" y="1864"/>
                </a:lnTo>
                <a:lnTo>
                  <a:pt x="5025" y="1863"/>
                </a:lnTo>
                <a:lnTo>
                  <a:pt x="5027" y="1864"/>
                </a:lnTo>
                <a:lnTo>
                  <a:pt x="5028" y="1864"/>
                </a:lnTo>
                <a:lnTo>
                  <a:pt x="5029" y="1864"/>
                </a:lnTo>
                <a:lnTo>
                  <a:pt x="5035" y="1861"/>
                </a:lnTo>
                <a:lnTo>
                  <a:pt x="5041" y="1858"/>
                </a:lnTo>
                <a:lnTo>
                  <a:pt x="5046" y="1854"/>
                </a:lnTo>
                <a:lnTo>
                  <a:pt x="5051" y="1850"/>
                </a:lnTo>
                <a:lnTo>
                  <a:pt x="5055" y="1846"/>
                </a:lnTo>
                <a:lnTo>
                  <a:pt x="5058" y="1842"/>
                </a:lnTo>
                <a:lnTo>
                  <a:pt x="5061" y="1838"/>
                </a:lnTo>
                <a:lnTo>
                  <a:pt x="5063" y="1833"/>
                </a:lnTo>
                <a:lnTo>
                  <a:pt x="5064" y="1828"/>
                </a:lnTo>
                <a:lnTo>
                  <a:pt x="5065" y="1823"/>
                </a:lnTo>
                <a:lnTo>
                  <a:pt x="5066" y="1818"/>
                </a:lnTo>
                <a:lnTo>
                  <a:pt x="5066" y="1812"/>
                </a:lnTo>
                <a:lnTo>
                  <a:pt x="5065" y="1806"/>
                </a:lnTo>
                <a:lnTo>
                  <a:pt x="5063" y="1794"/>
                </a:lnTo>
                <a:lnTo>
                  <a:pt x="5060" y="1780"/>
                </a:lnTo>
                <a:lnTo>
                  <a:pt x="5055" y="1757"/>
                </a:lnTo>
                <a:lnTo>
                  <a:pt x="5054" y="1756"/>
                </a:lnTo>
                <a:lnTo>
                  <a:pt x="5052" y="1755"/>
                </a:lnTo>
                <a:lnTo>
                  <a:pt x="5049" y="1753"/>
                </a:lnTo>
                <a:lnTo>
                  <a:pt x="5045" y="1751"/>
                </a:lnTo>
                <a:lnTo>
                  <a:pt x="5044" y="1750"/>
                </a:lnTo>
                <a:lnTo>
                  <a:pt x="5043" y="1749"/>
                </a:lnTo>
                <a:lnTo>
                  <a:pt x="5043" y="1746"/>
                </a:lnTo>
                <a:lnTo>
                  <a:pt x="5044" y="1743"/>
                </a:lnTo>
                <a:lnTo>
                  <a:pt x="5044" y="1740"/>
                </a:lnTo>
                <a:lnTo>
                  <a:pt x="5043" y="1738"/>
                </a:lnTo>
                <a:lnTo>
                  <a:pt x="5035" y="1730"/>
                </a:lnTo>
                <a:lnTo>
                  <a:pt x="5030" y="1725"/>
                </a:lnTo>
                <a:lnTo>
                  <a:pt x="5028" y="1722"/>
                </a:lnTo>
                <a:lnTo>
                  <a:pt x="5027" y="1721"/>
                </a:lnTo>
                <a:lnTo>
                  <a:pt x="5026" y="1719"/>
                </a:lnTo>
                <a:lnTo>
                  <a:pt x="5027" y="1716"/>
                </a:lnTo>
                <a:lnTo>
                  <a:pt x="5027" y="1714"/>
                </a:lnTo>
                <a:lnTo>
                  <a:pt x="5027" y="1713"/>
                </a:lnTo>
                <a:lnTo>
                  <a:pt x="5027" y="1712"/>
                </a:lnTo>
                <a:lnTo>
                  <a:pt x="5025" y="1711"/>
                </a:lnTo>
                <a:lnTo>
                  <a:pt x="5024" y="1710"/>
                </a:lnTo>
                <a:lnTo>
                  <a:pt x="5020" y="1709"/>
                </a:lnTo>
                <a:lnTo>
                  <a:pt x="5015" y="1708"/>
                </a:lnTo>
                <a:lnTo>
                  <a:pt x="5012" y="1707"/>
                </a:lnTo>
                <a:lnTo>
                  <a:pt x="5012" y="1705"/>
                </a:lnTo>
                <a:lnTo>
                  <a:pt x="5011" y="1704"/>
                </a:lnTo>
                <a:lnTo>
                  <a:pt x="5011" y="1701"/>
                </a:lnTo>
                <a:lnTo>
                  <a:pt x="5011" y="1698"/>
                </a:lnTo>
                <a:lnTo>
                  <a:pt x="5010" y="1695"/>
                </a:lnTo>
                <a:lnTo>
                  <a:pt x="5008" y="1694"/>
                </a:lnTo>
                <a:lnTo>
                  <a:pt x="5005" y="1692"/>
                </a:lnTo>
                <a:lnTo>
                  <a:pt x="5003" y="1691"/>
                </a:lnTo>
                <a:lnTo>
                  <a:pt x="5001" y="1690"/>
                </a:lnTo>
                <a:lnTo>
                  <a:pt x="4999" y="1686"/>
                </a:lnTo>
                <a:lnTo>
                  <a:pt x="4998" y="1681"/>
                </a:lnTo>
                <a:lnTo>
                  <a:pt x="4997" y="1676"/>
                </a:lnTo>
                <a:lnTo>
                  <a:pt x="4997" y="1671"/>
                </a:lnTo>
                <a:lnTo>
                  <a:pt x="4997" y="1666"/>
                </a:lnTo>
                <a:lnTo>
                  <a:pt x="4998" y="1660"/>
                </a:lnTo>
                <a:lnTo>
                  <a:pt x="4999" y="1655"/>
                </a:lnTo>
                <a:lnTo>
                  <a:pt x="5001" y="1650"/>
                </a:lnTo>
                <a:lnTo>
                  <a:pt x="5003" y="1649"/>
                </a:lnTo>
                <a:lnTo>
                  <a:pt x="5005" y="1649"/>
                </a:lnTo>
                <a:lnTo>
                  <a:pt x="5008" y="1648"/>
                </a:lnTo>
                <a:lnTo>
                  <a:pt x="5010" y="1647"/>
                </a:lnTo>
                <a:lnTo>
                  <a:pt x="5011" y="1645"/>
                </a:lnTo>
                <a:lnTo>
                  <a:pt x="5013" y="1643"/>
                </a:lnTo>
                <a:lnTo>
                  <a:pt x="5015" y="1638"/>
                </a:lnTo>
                <a:lnTo>
                  <a:pt x="5018" y="1632"/>
                </a:lnTo>
                <a:lnTo>
                  <a:pt x="5019" y="1630"/>
                </a:lnTo>
                <a:lnTo>
                  <a:pt x="5021" y="1628"/>
                </a:lnTo>
                <a:lnTo>
                  <a:pt x="5030" y="1619"/>
                </a:lnTo>
                <a:lnTo>
                  <a:pt x="5035" y="1616"/>
                </a:lnTo>
                <a:lnTo>
                  <a:pt x="5040" y="1613"/>
                </a:lnTo>
                <a:lnTo>
                  <a:pt x="5044" y="1612"/>
                </a:lnTo>
                <a:lnTo>
                  <a:pt x="5047" y="1611"/>
                </a:lnTo>
                <a:lnTo>
                  <a:pt x="5054" y="1609"/>
                </a:lnTo>
                <a:lnTo>
                  <a:pt x="5062" y="1608"/>
                </a:lnTo>
                <a:lnTo>
                  <a:pt x="5072" y="1608"/>
                </a:lnTo>
                <a:lnTo>
                  <a:pt x="5069" y="1619"/>
                </a:lnTo>
                <a:lnTo>
                  <a:pt x="5070" y="1626"/>
                </a:lnTo>
                <a:lnTo>
                  <a:pt x="5070" y="1629"/>
                </a:lnTo>
                <a:lnTo>
                  <a:pt x="5072" y="1633"/>
                </a:lnTo>
                <a:lnTo>
                  <a:pt x="5077" y="1642"/>
                </a:lnTo>
                <a:lnTo>
                  <a:pt x="5081" y="1639"/>
                </a:lnTo>
                <a:lnTo>
                  <a:pt x="5083" y="1638"/>
                </a:lnTo>
                <a:lnTo>
                  <a:pt x="5084" y="1638"/>
                </a:lnTo>
                <a:lnTo>
                  <a:pt x="5086" y="1639"/>
                </a:lnTo>
                <a:lnTo>
                  <a:pt x="5085" y="1635"/>
                </a:lnTo>
                <a:lnTo>
                  <a:pt x="5086" y="1631"/>
                </a:lnTo>
                <a:lnTo>
                  <a:pt x="5085" y="1631"/>
                </a:lnTo>
                <a:lnTo>
                  <a:pt x="5084" y="1631"/>
                </a:lnTo>
                <a:lnTo>
                  <a:pt x="5082" y="1629"/>
                </a:lnTo>
                <a:lnTo>
                  <a:pt x="5080" y="1625"/>
                </a:lnTo>
                <a:lnTo>
                  <a:pt x="5084" y="1623"/>
                </a:lnTo>
                <a:lnTo>
                  <a:pt x="5088" y="1621"/>
                </a:lnTo>
                <a:lnTo>
                  <a:pt x="5097" y="1617"/>
                </a:lnTo>
                <a:lnTo>
                  <a:pt x="5098" y="1615"/>
                </a:lnTo>
                <a:lnTo>
                  <a:pt x="5100" y="1612"/>
                </a:lnTo>
                <a:lnTo>
                  <a:pt x="5101" y="1610"/>
                </a:lnTo>
                <a:lnTo>
                  <a:pt x="5102" y="1608"/>
                </a:lnTo>
                <a:lnTo>
                  <a:pt x="5106" y="1607"/>
                </a:lnTo>
                <a:lnTo>
                  <a:pt x="5110" y="1606"/>
                </a:lnTo>
                <a:lnTo>
                  <a:pt x="5117" y="1605"/>
                </a:lnTo>
                <a:lnTo>
                  <a:pt x="5125" y="1605"/>
                </a:lnTo>
                <a:lnTo>
                  <a:pt x="5129" y="1604"/>
                </a:lnTo>
                <a:lnTo>
                  <a:pt x="5133" y="1602"/>
                </a:lnTo>
                <a:lnTo>
                  <a:pt x="5135" y="1601"/>
                </a:lnTo>
                <a:lnTo>
                  <a:pt x="5137" y="1599"/>
                </a:lnTo>
                <a:lnTo>
                  <a:pt x="5140" y="1595"/>
                </a:lnTo>
                <a:lnTo>
                  <a:pt x="5145" y="1586"/>
                </a:lnTo>
                <a:lnTo>
                  <a:pt x="5153" y="1594"/>
                </a:lnTo>
                <a:lnTo>
                  <a:pt x="5155" y="1593"/>
                </a:lnTo>
                <a:lnTo>
                  <a:pt x="5158" y="1591"/>
                </a:lnTo>
                <a:lnTo>
                  <a:pt x="5161" y="1589"/>
                </a:lnTo>
                <a:lnTo>
                  <a:pt x="5162" y="1588"/>
                </a:lnTo>
                <a:lnTo>
                  <a:pt x="5168" y="1587"/>
                </a:lnTo>
                <a:lnTo>
                  <a:pt x="5173" y="1586"/>
                </a:lnTo>
                <a:lnTo>
                  <a:pt x="5178" y="1586"/>
                </a:lnTo>
                <a:lnTo>
                  <a:pt x="5184" y="1586"/>
                </a:lnTo>
                <a:lnTo>
                  <a:pt x="5190" y="1583"/>
                </a:lnTo>
                <a:lnTo>
                  <a:pt x="5190" y="1580"/>
                </a:lnTo>
                <a:lnTo>
                  <a:pt x="5190" y="1576"/>
                </a:lnTo>
                <a:lnTo>
                  <a:pt x="5190" y="1569"/>
                </a:lnTo>
                <a:lnTo>
                  <a:pt x="5204" y="1561"/>
                </a:lnTo>
                <a:lnTo>
                  <a:pt x="5218" y="1555"/>
                </a:lnTo>
                <a:lnTo>
                  <a:pt x="5217" y="1549"/>
                </a:lnTo>
                <a:lnTo>
                  <a:pt x="5218" y="1543"/>
                </a:lnTo>
                <a:lnTo>
                  <a:pt x="5220" y="1542"/>
                </a:lnTo>
                <a:lnTo>
                  <a:pt x="5223" y="1542"/>
                </a:lnTo>
                <a:lnTo>
                  <a:pt x="5228" y="1542"/>
                </a:lnTo>
                <a:lnTo>
                  <a:pt x="5233" y="1542"/>
                </a:lnTo>
                <a:lnTo>
                  <a:pt x="5235" y="1542"/>
                </a:lnTo>
                <a:lnTo>
                  <a:pt x="5237" y="1541"/>
                </a:lnTo>
                <a:lnTo>
                  <a:pt x="5235" y="1532"/>
                </a:lnTo>
                <a:lnTo>
                  <a:pt x="5239" y="1530"/>
                </a:lnTo>
                <a:lnTo>
                  <a:pt x="5241" y="1529"/>
                </a:lnTo>
                <a:lnTo>
                  <a:pt x="5240" y="1529"/>
                </a:lnTo>
                <a:lnTo>
                  <a:pt x="5237" y="1529"/>
                </a:lnTo>
                <a:lnTo>
                  <a:pt x="5237" y="1524"/>
                </a:lnTo>
                <a:lnTo>
                  <a:pt x="5243" y="1524"/>
                </a:lnTo>
                <a:lnTo>
                  <a:pt x="5246" y="1524"/>
                </a:lnTo>
                <a:lnTo>
                  <a:pt x="5249" y="1524"/>
                </a:lnTo>
                <a:lnTo>
                  <a:pt x="5248" y="1517"/>
                </a:lnTo>
                <a:lnTo>
                  <a:pt x="5249" y="1511"/>
                </a:lnTo>
                <a:lnTo>
                  <a:pt x="5249" y="1507"/>
                </a:lnTo>
                <a:lnTo>
                  <a:pt x="5249" y="1504"/>
                </a:lnTo>
                <a:lnTo>
                  <a:pt x="5247" y="1503"/>
                </a:lnTo>
                <a:lnTo>
                  <a:pt x="5245" y="1502"/>
                </a:lnTo>
                <a:lnTo>
                  <a:pt x="5244" y="1501"/>
                </a:lnTo>
                <a:lnTo>
                  <a:pt x="5243" y="1500"/>
                </a:lnTo>
                <a:lnTo>
                  <a:pt x="5243" y="1498"/>
                </a:lnTo>
                <a:lnTo>
                  <a:pt x="5246" y="1498"/>
                </a:lnTo>
                <a:lnTo>
                  <a:pt x="5247" y="1495"/>
                </a:lnTo>
                <a:lnTo>
                  <a:pt x="5247" y="1492"/>
                </a:lnTo>
                <a:lnTo>
                  <a:pt x="5247" y="1488"/>
                </a:lnTo>
                <a:lnTo>
                  <a:pt x="5249" y="1484"/>
                </a:lnTo>
                <a:lnTo>
                  <a:pt x="5250" y="1484"/>
                </a:lnTo>
                <a:lnTo>
                  <a:pt x="5253" y="1484"/>
                </a:lnTo>
                <a:lnTo>
                  <a:pt x="5255" y="1484"/>
                </a:lnTo>
                <a:lnTo>
                  <a:pt x="5257" y="1484"/>
                </a:lnTo>
                <a:lnTo>
                  <a:pt x="5259" y="1482"/>
                </a:lnTo>
                <a:lnTo>
                  <a:pt x="5261" y="1479"/>
                </a:lnTo>
                <a:lnTo>
                  <a:pt x="5263" y="1475"/>
                </a:lnTo>
                <a:lnTo>
                  <a:pt x="5266" y="1473"/>
                </a:lnTo>
                <a:lnTo>
                  <a:pt x="5268" y="1473"/>
                </a:lnTo>
                <a:lnTo>
                  <a:pt x="5269" y="1472"/>
                </a:lnTo>
                <a:lnTo>
                  <a:pt x="5269" y="1471"/>
                </a:lnTo>
                <a:lnTo>
                  <a:pt x="5269" y="1468"/>
                </a:lnTo>
                <a:lnTo>
                  <a:pt x="5268" y="1464"/>
                </a:lnTo>
                <a:lnTo>
                  <a:pt x="5268" y="1462"/>
                </a:lnTo>
                <a:lnTo>
                  <a:pt x="5270" y="1460"/>
                </a:lnTo>
                <a:lnTo>
                  <a:pt x="5272" y="1457"/>
                </a:lnTo>
                <a:lnTo>
                  <a:pt x="5275" y="1454"/>
                </a:lnTo>
                <a:lnTo>
                  <a:pt x="5277" y="1451"/>
                </a:lnTo>
                <a:lnTo>
                  <a:pt x="5280" y="1451"/>
                </a:lnTo>
                <a:lnTo>
                  <a:pt x="5281" y="1452"/>
                </a:lnTo>
                <a:lnTo>
                  <a:pt x="5282" y="1452"/>
                </a:lnTo>
                <a:lnTo>
                  <a:pt x="5285" y="1451"/>
                </a:lnTo>
                <a:lnTo>
                  <a:pt x="5283" y="1443"/>
                </a:lnTo>
                <a:lnTo>
                  <a:pt x="5282" y="1439"/>
                </a:lnTo>
                <a:lnTo>
                  <a:pt x="5283" y="1437"/>
                </a:lnTo>
                <a:lnTo>
                  <a:pt x="5283" y="1434"/>
                </a:lnTo>
                <a:lnTo>
                  <a:pt x="5282" y="1428"/>
                </a:lnTo>
                <a:lnTo>
                  <a:pt x="5291" y="1428"/>
                </a:lnTo>
                <a:lnTo>
                  <a:pt x="5293" y="1423"/>
                </a:lnTo>
                <a:lnTo>
                  <a:pt x="5293" y="1420"/>
                </a:lnTo>
                <a:lnTo>
                  <a:pt x="5293" y="1418"/>
                </a:lnTo>
                <a:lnTo>
                  <a:pt x="5292" y="1418"/>
                </a:lnTo>
                <a:lnTo>
                  <a:pt x="5290" y="1418"/>
                </a:lnTo>
                <a:lnTo>
                  <a:pt x="5288" y="1418"/>
                </a:lnTo>
                <a:lnTo>
                  <a:pt x="5297" y="1411"/>
                </a:lnTo>
                <a:lnTo>
                  <a:pt x="5293" y="1407"/>
                </a:lnTo>
                <a:lnTo>
                  <a:pt x="5290" y="1404"/>
                </a:lnTo>
                <a:lnTo>
                  <a:pt x="5288" y="1403"/>
                </a:lnTo>
                <a:lnTo>
                  <a:pt x="5285" y="1403"/>
                </a:lnTo>
                <a:lnTo>
                  <a:pt x="5280" y="1404"/>
                </a:lnTo>
                <a:lnTo>
                  <a:pt x="5277" y="1405"/>
                </a:lnTo>
                <a:lnTo>
                  <a:pt x="5277" y="1406"/>
                </a:lnTo>
                <a:lnTo>
                  <a:pt x="5276" y="1406"/>
                </a:lnTo>
                <a:lnTo>
                  <a:pt x="5275" y="1406"/>
                </a:lnTo>
                <a:lnTo>
                  <a:pt x="5273" y="1404"/>
                </a:lnTo>
                <a:lnTo>
                  <a:pt x="5272" y="1401"/>
                </a:lnTo>
                <a:lnTo>
                  <a:pt x="5271" y="1400"/>
                </a:lnTo>
                <a:lnTo>
                  <a:pt x="5284" y="1392"/>
                </a:lnTo>
                <a:lnTo>
                  <a:pt x="5286" y="1390"/>
                </a:lnTo>
                <a:lnTo>
                  <a:pt x="5288" y="1389"/>
                </a:lnTo>
                <a:lnTo>
                  <a:pt x="5289" y="1387"/>
                </a:lnTo>
                <a:lnTo>
                  <a:pt x="5289" y="1386"/>
                </a:lnTo>
                <a:lnTo>
                  <a:pt x="5290" y="1385"/>
                </a:lnTo>
                <a:lnTo>
                  <a:pt x="5290" y="1383"/>
                </a:lnTo>
                <a:lnTo>
                  <a:pt x="5290" y="1382"/>
                </a:lnTo>
                <a:lnTo>
                  <a:pt x="5289" y="1380"/>
                </a:lnTo>
                <a:lnTo>
                  <a:pt x="5288" y="1377"/>
                </a:lnTo>
                <a:lnTo>
                  <a:pt x="5284" y="1372"/>
                </a:lnTo>
                <a:lnTo>
                  <a:pt x="5277" y="1366"/>
                </a:lnTo>
                <a:lnTo>
                  <a:pt x="5282" y="1366"/>
                </a:lnTo>
                <a:lnTo>
                  <a:pt x="5282" y="1362"/>
                </a:lnTo>
                <a:lnTo>
                  <a:pt x="5282" y="1358"/>
                </a:lnTo>
                <a:lnTo>
                  <a:pt x="5278" y="1352"/>
                </a:lnTo>
                <a:lnTo>
                  <a:pt x="5272" y="1347"/>
                </a:lnTo>
                <a:lnTo>
                  <a:pt x="5266" y="1341"/>
                </a:lnTo>
                <a:lnTo>
                  <a:pt x="5264" y="1338"/>
                </a:lnTo>
                <a:lnTo>
                  <a:pt x="5263" y="1335"/>
                </a:lnTo>
                <a:lnTo>
                  <a:pt x="5263" y="1333"/>
                </a:lnTo>
                <a:lnTo>
                  <a:pt x="5263" y="1329"/>
                </a:lnTo>
                <a:lnTo>
                  <a:pt x="5263" y="1326"/>
                </a:lnTo>
                <a:lnTo>
                  <a:pt x="5263" y="1325"/>
                </a:lnTo>
                <a:lnTo>
                  <a:pt x="5263" y="1324"/>
                </a:lnTo>
                <a:lnTo>
                  <a:pt x="5262" y="1323"/>
                </a:lnTo>
                <a:lnTo>
                  <a:pt x="5261" y="1323"/>
                </a:lnTo>
                <a:lnTo>
                  <a:pt x="5259" y="1322"/>
                </a:lnTo>
                <a:lnTo>
                  <a:pt x="5256" y="1322"/>
                </a:lnTo>
                <a:lnTo>
                  <a:pt x="5254" y="1321"/>
                </a:lnTo>
                <a:lnTo>
                  <a:pt x="5253" y="1320"/>
                </a:lnTo>
                <a:lnTo>
                  <a:pt x="5254" y="1319"/>
                </a:lnTo>
                <a:lnTo>
                  <a:pt x="5256" y="1318"/>
                </a:lnTo>
                <a:lnTo>
                  <a:pt x="5258" y="1317"/>
                </a:lnTo>
                <a:lnTo>
                  <a:pt x="5258" y="1316"/>
                </a:lnTo>
                <a:lnTo>
                  <a:pt x="5257" y="1315"/>
                </a:lnTo>
                <a:lnTo>
                  <a:pt x="5254" y="1313"/>
                </a:lnTo>
                <a:lnTo>
                  <a:pt x="5252" y="1310"/>
                </a:lnTo>
                <a:lnTo>
                  <a:pt x="5249" y="1307"/>
                </a:lnTo>
                <a:lnTo>
                  <a:pt x="5247" y="1302"/>
                </a:lnTo>
                <a:lnTo>
                  <a:pt x="5246" y="1298"/>
                </a:lnTo>
                <a:lnTo>
                  <a:pt x="5245" y="1293"/>
                </a:lnTo>
                <a:lnTo>
                  <a:pt x="5245" y="1287"/>
                </a:lnTo>
                <a:lnTo>
                  <a:pt x="5246" y="1282"/>
                </a:lnTo>
                <a:lnTo>
                  <a:pt x="5247" y="1280"/>
                </a:lnTo>
                <a:lnTo>
                  <a:pt x="5248" y="1278"/>
                </a:lnTo>
                <a:lnTo>
                  <a:pt x="5252" y="1275"/>
                </a:lnTo>
                <a:lnTo>
                  <a:pt x="5257" y="1273"/>
                </a:lnTo>
                <a:lnTo>
                  <a:pt x="5259" y="1272"/>
                </a:lnTo>
                <a:lnTo>
                  <a:pt x="5260" y="1270"/>
                </a:lnTo>
                <a:lnTo>
                  <a:pt x="5260" y="1269"/>
                </a:lnTo>
                <a:lnTo>
                  <a:pt x="5259" y="1268"/>
                </a:lnTo>
                <a:lnTo>
                  <a:pt x="5257" y="1265"/>
                </a:lnTo>
                <a:lnTo>
                  <a:pt x="5269" y="1253"/>
                </a:lnTo>
                <a:lnTo>
                  <a:pt x="5276" y="1247"/>
                </a:lnTo>
                <a:lnTo>
                  <a:pt x="5282" y="1242"/>
                </a:lnTo>
                <a:lnTo>
                  <a:pt x="5287" y="1241"/>
                </a:lnTo>
                <a:lnTo>
                  <a:pt x="5294" y="1240"/>
                </a:lnTo>
                <a:lnTo>
                  <a:pt x="5301" y="1238"/>
                </a:lnTo>
                <a:lnTo>
                  <a:pt x="5305" y="1237"/>
                </a:lnTo>
                <a:lnTo>
                  <a:pt x="5306" y="1236"/>
                </a:lnTo>
                <a:lnTo>
                  <a:pt x="5306" y="1234"/>
                </a:lnTo>
                <a:lnTo>
                  <a:pt x="5306" y="1230"/>
                </a:lnTo>
                <a:lnTo>
                  <a:pt x="5307" y="1225"/>
                </a:lnTo>
                <a:lnTo>
                  <a:pt x="5307" y="1224"/>
                </a:lnTo>
                <a:lnTo>
                  <a:pt x="5308" y="1223"/>
                </a:lnTo>
                <a:lnTo>
                  <a:pt x="5296" y="1223"/>
                </a:lnTo>
                <a:lnTo>
                  <a:pt x="5289" y="1223"/>
                </a:lnTo>
                <a:lnTo>
                  <a:pt x="5282" y="1223"/>
                </a:lnTo>
                <a:lnTo>
                  <a:pt x="5280" y="1221"/>
                </a:lnTo>
                <a:lnTo>
                  <a:pt x="5279" y="1220"/>
                </a:lnTo>
                <a:lnTo>
                  <a:pt x="5276" y="1219"/>
                </a:lnTo>
                <a:lnTo>
                  <a:pt x="5270" y="1217"/>
                </a:lnTo>
                <a:lnTo>
                  <a:pt x="5267" y="1217"/>
                </a:lnTo>
                <a:lnTo>
                  <a:pt x="5263" y="1217"/>
                </a:lnTo>
                <a:lnTo>
                  <a:pt x="5261" y="1218"/>
                </a:lnTo>
                <a:lnTo>
                  <a:pt x="5259" y="1219"/>
                </a:lnTo>
                <a:lnTo>
                  <a:pt x="5255" y="1224"/>
                </a:lnTo>
                <a:lnTo>
                  <a:pt x="5252" y="1228"/>
                </a:lnTo>
                <a:lnTo>
                  <a:pt x="5249" y="1231"/>
                </a:lnTo>
                <a:lnTo>
                  <a:pt x="5244" y="1232"/>
                </a:lnTo>
                <a:lnTo>
                  <a:pt x="5241" y="1233"/>
                </a:lnTo>
                <a:lnTo>
                  <a:pt x="5238" y="1233"/>
                </a:lnTo>
                <a:lnTo>
                  <a:pt x="5235" y="1234"/>
                </a:lnTo>
                <a:lnTo>
                  <a:pt x="5229" y="1223"/>
                </a:lnTo>
                <a:lnTo>
                  <a:pt x="5223" y="1213"/>
                </a:lnTo>
                <a:lnTo>
                  <a:pt x="5218" y="1202"/>
                </a:lnTo>
                <a:lnTo>
                  <a:pt x="5215" y="1197"/>
                </a:lnTo>
                <a:lnTo>
                  <a:pt x="5212" y="1192"/>
                </a:lnTo>
                <a:lnTo>
                  <a:pt x="5214" y="1191"/>
                </a:lnTo>
                <a:lnTo>
                  <a:pt x="5214" y="1190"/>
                </a:lnTo>
                <a:lnTo>
                  <a:pt x="5215" y="1189"/>
                </a:lnTo>
                <a:lnTo>
                  <a:pt x="5215" y="1187"/>
                </a:lnTo>
                <a:lnTo>
                  <a:pt x="5216" y="1185"/>
                </a:lnTo>
                <a:lnTo>
                  <a:pt x="5217" y="1184"/>
                </a:lnTo>
                <a:lnTo>
                  <a:pt x="5218" y="1183"/>
                </a:lnTo>
                <a:lnTo>
                  <a:pt x="5223" y="1183"/>
                </a:lnTo>
                <a:lnTo>
                  <a:pt x="5228" y="1183"/>
                </a:lnTo>
                <a:lnTo>
                  <a:pt x="5233" y="1184"/>
                </a:lnTo>
                <a:lnTo>
                  <a:pt x="5235" y="1184"/>
                </a:lnTo>
                <a:lnTo>
                  <a:pt x="5237" y="1183"/>
                </a:lnTo>
                <a:lnTo>
                  <a:pt x="5239" y="1181"/>
                </a:lnTo>
                <a:lnTo>
                  <a:pt x="5240" y="1177"/>
                </a:lnTo>
                <a:lnTo>
                  <a:pt x="5242" y="1172"/>
                </a:lnTo>
                <a:lnTo>
                  <a:pt x="5243" y="1169"/>
                </a:lnTo>
                <a:lnTo>
                  <a:pt x="5245" y="1168"/>
                </a:lnTo>
                <a:lnTo>
                  <a:pt x="5247" y="1167"/>
                </a:lnTo>
                <a:lnTo>
                  <a:pt x="5253" y="1165"/>
                </a:lnTo>
                <a:lnTo>
                  <a:pt x="5258" y="1163"/>
                </a:lnTo>
                <a:lnTo>
                  <a:pt x="5263" y="1161"/>
                </a:lnTo>
                <a:lnTo>
                  <a:pt x="5265" y="1159"/>
                </a:lnTo>
                <a:lnTo>
                  <a:pt x="5267" y="1155"/>
                </a:lnTo>
                <a:lnTo>
                  <a:pt x="5272" y="1147"/>
                </a:lnTo>
                <a:lnTo>
                  <a:pt x="5280" y="1133"/>
                </a:lnTo>
                <a:lnTo>
                  <a:pt x="5290" y="1135"/>
                </a:lnTo>
                <a:lnTo>
                  <a:pt x="5296" y="1138"/>
                </a:lnTo>
                <a:lnTo>
                  <a:pt x="5300" y="1140"/>
                </a:lnTo>
                <a:lnTo>
                  <a:pt x="5300" y="1141"/>
                </a:lnTo>
                <a:lnTo>
                  <a:pt x="5301" y="1142"/>
                </a:lnTo>
                <a:lnTo>
                  <a:pt x="5300" y="1145"/>
                </a:lnTo>
                <a:lnTo>
                  <a:pt x="5298" y="1148"/>
                </a:lnTo>
                <a:lnTo>
                  <a:pt x="5294" y="1154"/>
                </a:lnTo>
                <a:lnTo>
                  <a:pt x="5291" y="1161"/>
                </a:lnTo>
                <a:lnTo>
                  <a:pt x="5288" y="1166"/>
                </a:lnTo>
                <a:lnTo>
                  <a:pt x="5285" y="1175"/>
                </a:lnTo>
                <a:lnTo>
                  <a:pt x="5284" y="1179"/>
                </a:lnTo>
                <a:lnTo>
                  <a:pt x="5284" y="1180"/>
                </a:lnTo>
                <a:lnTo>
                  <a:pt x="5284" y="1181"/>
                </a:lnTo>
                <a:lnTo>
                  <a:pt x="5285" y="1181"/>
                </a:lnTo>
                <a:lnTo>
                  <a:pt x="5286" y="1181"/>
                </a:lnTo>
                <a:lnTo>
                  <a:pt x="5291" y="1178"/>
                </a:lnTo>
                <a:lnTo>
                  <a:pt x="5289" y="1180"/>
                </a:lnTo>
                <a:lnTo>
                  <a:pt x="5287" y="1186"/>
                </a:lnTo>
                <a:lnTo>
                  <a:pt x="5286" y="1189"/>
                </a:lnTo>
                <a:lnTo>
                  <a:pt x="5286" y="1191"/>
                </a:lnTo>
                <a:lnTo>
                  <a:pt x="5286" y="1192"/>
                </a:lnTo>
                <a:lnTo>
                  <a:pt x="5288" y="1192"/>
                </a:lnTo>
                <a:lnTo>
                  <a:pt x="5290" y="1191"/>
                </a:lnTo>
                <a:lnTo>
                  <a:pt x="5292" y="1189"/>
                </a:lnTo>
                <a:lnTo>
                  <a:pt x="5297" y="1184"/>
                </a:lnTo>
                <a:lnTo>
                  <a:pt x="5307" y="1173"/>
                </a:lnTo>
                <a:lnTo>
                  <a:pt x="5313" y="1168"/>
                </a:lnTo>
                <a:lnTo>
                  <a:pt x="5317" y="1166"/>
                </a:lnTo>
                <a:lnTo>
                  <a:pt x="5320" y="1164"/>
                </a:lnTo>
                <a:lnTo>
                  <a:pt x="5326" y="1161"/>
                </a:lnTo>
                <a:lnTo>
                  <a:pt x="5330" y="1161"/>
                </a:lnTo>
                <a:lnTo>
                  <a:pt x="5333" y="1161"/>
                </a:lnTo>
                <a:lnTo>
                  <a:pt x="5335" y="1162"/>
                </a:lnTo>
                <a:lnTo>
                  <a:pt x="5337" y="1164"/>
                </a:lnTo>
                <a:lnTo>
                  <a:pt x="5339" y="1165"/>
                </a:lnTo>
                <a:lnTo>
                  <a:pt x="5341" y="1166"/>
                </a:lnTo>
                <a:lnTo>
                  <a:pt x="5344" y="1166"/>
                </a:lnTo>
                <a:lnTo>
                  <a:pt x="5347" y="1165"/>
                </a:lnTo>
                <a:lnTo>
                  <a:pt x="5351" y="1168"/>
                </a:lnTo>
                <a:lnTo>
                  <a:pt x="5354" y="1170"/>
                </a:lnTo>
                <a:lnTo>
                  <a:pt x="5356" y="1172"/>
                </a:lnTo>
                <a:lnTo>
                  <a:pt x="5356" y="1174"/>
                </a:lnTo>
                <a:lnTo>
                  <a:pt x="5356" y="1176"/>
                </a:lnTo>
                <a:lnTo>
                  <a:pt x="5355" y="1179"/>
                </a:lnTo>
                <a:lnTo>
                  <a:pt x="5353" y="1181"/>
                </a:lnTo>
                <a:lnTo>
                  <a:pt x="5353" y="1183"/>
                </a:lnTo>
                <a:lnTo>
                  <a:pt x="5354" y="1185"/>
                </a:lnTo>
                <a:lnTo>
                  <a:pt x="5356" y="1187"/>
                </a:lnTo>
                <a:lnTo>
                  <a:pt x="5358" y="1189"/>
                </a:lnTo>
                <a:lnTo>
                  <a:pt x="5358" y="1191"/>
                </a:lnTo>
                <a:lnTo>
                  <a:pt x="5358" y="1192"/>
                </a:lnTo>
                <a:lnTo>
                  <a:pt x="5350" y="1192"/>
                </a:lnTo>
                <a:lnTo>
                  <a:pt x="5349" y="1195"/>
                </a:lnTo>
                <a:lnTo>
                  <a:pt x="5348" y="1196"/>
                </a:lnTo>
                <a:lnTo>
                  <a:pt x="5347" y="1197"/>
                </a:lnTo>
                <a:lnTo>
                  <a:pt x="5344" y="1197"/>
                </a:lnTo>
                <a:lnTo>
                  <a:pt x="5345" y="1202"/>
                </a:lnTo>
                <a:lnTo>
                  <a:pt x="5344" y="1206"/>
                </a:lnTo>
                <a:lnTo>
                  <a:pt x="5347" y="1207"/>
                </a:lnTo>
                <a:lnTo>
                  <a:pt x="5350" y="1207"/>
                </a:lnTo>
                <a:lnTo>
                  <a:pt x="5353" y="1207"/>
                </a:lnTo>
                <a:lnTo>
                  <a:pt x="5354" y="1208"/>
                </a:lnTo>
                <a:lnTo>
                  <a:pt x="5356" y="1209"/>
                </a:lnTo>
                <a:lnTo>
                  <a:pt x="5353" y="1217"/>
                </a:lnTo>
                <a:lnTo>
                  <a:pt x="5360" y="1218"/>
                </a:lnTo>
                <a:lnTo>
                  <a:pt x="5364" y="1218"/>
                </a:lnTo>
                <a:lnTo>
                  <a:pt x="5365" y="1218"/>
                </a:lnTo>
                <a:lnTo>
                  <a:pt x="5364" y="1217"/>
                </a:lnTo>
                <a:lnTo>
                  <a:pt x="5372" y="1217"/>
                </a:lnTo>
                <a:lnTo>
                  <a:pt x="5381" y="1217"/>
                </a:lnTo>
                <a:lnTo>
                  <a:pt x="5384" y="1226"/>
                </a:lnTo>
                <a:lnTo>
                  <a:pt x="5385" y="1231"/>
                </a:lnTo>
                <a:lnTo>
                  <a:pt x="5385" y="1233"/>
                </a:lnTo>
                <a:lnTo>
                  <a:pt x="5384" y="1235"/>
                </a:lnTo>
                <a:lnTo>
                  <a:pt x="5382" y="1237"/>
                </a:lnTo>
                <a:lnTo>
                  <a:pt x="5378" y="1240"/>
                </a:lnTo>
                <a:lnTo>
                  <a:pt x="5387" y="1248"/>
                </a:lnTo>
                <a:lnTo>
                  <a:pt x="5387" y="1249"/>
                </a:lnTo>
                <a:lnTo>
                  <a:pt x="5386" y="1251"/>
                </a:lnTo>
                <a:lnTo>
                  <a:pt x="5384" y="1254"/>
                </a:lnTo>
                <a:lnTo>
                  <a:pt x="5383" y="1254"/>
                </a:lnTo>
                <a:lnTo>
                  <a:pt x="5383" y="1256"/>
                </a:lnTo>
                <a:lnTo>
                  <a:pt x="5383" y="1259"/>
                </a:lnTo>
                <a:lnTo>
                  <a:pt x="5384" y="1262"/>
                </a:lnTo>
                <a:lnTo>
                  <a:pt x="5384" y="1261"/>
                </a:lnTo>
                <a:lnTo>
                  <a:pt x="5385" y="1262"/>
                </a:lnTo>
                <a:lnTo>
                  <a:pt x="5385" y="1263"/>
                </a:lnTo>
                <a:lnTo>
                  <a:pt x="5386" y="1266"/>
                </a:lnTo>
                <a:lnTo>
                  <a:pt x="5387" y="1273"/>
                </a:lnTo>
                <a:lnTo>
                  <a:pt x="5385" y="1274"/>
                </a:lnTo>
                <a:lnTo>
                  <a:pt x="5382" y="1275"/>
                </a:lnTo>
                <a:lnTo>
                  <a:pt x="5378" y="1276"/>
                </a:lnTo>
                <a:lnTo>
                  <a:pt x="5377" y="1285"/>
                </a:lnTo>
                <a:lnTo>
                  <a:pt x="5377" y="1292"/>
                </a:lnTo>
                <a:lnTo>
                  <a:pt x="5377" y="1299"/>
                </a:lnTo>
                <a:lnTo>
                  <a:pt x="5375" y="1307"/>
                </a:lnTo>
                <a:lnTo>
                  <a:pt x="5378" y="1307"/>
                </a:lnTo>
                <a:lnTo>
                  <a:pt x="5380" y="1307"/>
                </a:lnTo>
                <a:lnTo>
                  <a:pt x="5382" y="1309"/>
                </a:lnTo>
                <a:lnTo>
                  <a:pt x="5384" y="1310"/>
                </a:lnTo>
                <a:lnTo>
                  <a:pt x="5393" y="1301"/>
                </a:lnTo>
                <a:lnTo>
                  <a:pt x="5398" y="1296"/>
                </a:lnTo>
                <a:lnTo>
                  <a:pt x="5403" y="1293"/>
                </a:lnTo>
                <a:lnTo>
                  <a:pt x="5410" y="1291"/>
                </a:lnTo>
                <a:lnTo>
                  <a:pt x="5418" y="1289"/>
                </a:lnTo>
                <a:lnTo>
                  <a:pt x="5421" y="1287"/>
                </a:lnTo>
                <a:lnTo>
                  <a:pt x="5424" y="1286"/>
                </a:lnTo>
                <a:lnTo>
                  <a:pt x="5427" y="1284"/>
                </a:lnTo>
                <a:lnTo>
                  <a:pt x="5429" y="1282"/>
                </a:lnTo>
                <a:lnTo>
                  <a:pt x="5430" y="1279"/>
                </a:lnTo>
                <a:lnTo>
                  <a:pt x="5430" y="1274"/>
                </a:lnTo>
                <a:lnTo>
                  <a:pt x="5432" y="1261"/>
                </a:lnTo>
                <a:lnTo>
                  <a:pt x="5432" y="1247"/>
                </a:lnTo>
                <a:lnTo>
                  <a:pt x="5432" y="1237"/>
                </a:lnTo>
                <a:lnTo>
                  <a:pt x="5430" y="1235"/>
                </a:lnTo>
                <a:lnTo>
                  <a:pt x="5427" y="1233"/>
                </a:lnTo>
                <a:lnTo>
                  <a:pt x="5425" y="1230"/>
                </a:lnTo>
                <a:lnTo>
                  <a:pt x="5423" y="1228"/>
                </a:lnTo>
                <a:lnTo>
                  <a:pt x="5423" y="1226"/>
                </a:lnTo>
                <a:lnTo>
                  <a:pt x="5423" y="1224"/>
                </a:lnTo>
                <a:lnTo>
                  <a:pt x="5423" y="1222"/>
                </a:lnTo>
                <a:lnTo>
                  <a:pt x="5423" y="1220"/>
                </a:lnTo>
                <a:lnTo>
                  <a:pt x="5417" y="1220"/>
                </a:lnTo>
                <a:lnTo>
                  <a:pt x="5417" y="1217"/>
                </a:lnTo>
                <a:lnTo>
                  <a:pt x="5417" y="1214"/>
                </a:lnTo>
                <a:lnTo>
                  <a:pt x="5418" y="1212"/>
                </a:lnTo>
                <a:lnTo>
                  <a:pt x="5417" y="1209"/>
                </a:lnTo>
                <a:lnTo>
                  <a:pt x="5414" y="1206"/>
                </a:lnTo>
                <a:lnTo>
                  <a:pt x="5413" y="1205"/>
                </a:lnTo>
                <a:lnTo>
                  <a:pt x="5411" y="1203"/>
                </a:lnTo>
                <a:lnTo>
                  <a:pt x="5410" y="1202"/>
                </a:lnTo>
                <a:lnTo>
                  <a:pt x="5409" y="1201"/>
                </a:lnTo>
                <a:lnTo>
                  <a:pt x="5409" y="1200"/>
                </a:lnTo>
                <a:lnTo>
                  <a:pt x="5409" y="1198"/>
                </a:lnTo>
                <a:lnTo>
                  <a:pt x="5409" y="1197"/>
                </a:lnTo>
                <a:lnTo>
                  <a:pt x="5411" y="1195"/>
                </a:lnTo>
                <a:lnTo>
                  <a:pt x="5412" y="1193"/>
                </a:lnTo>
                <a:lnTo>
                  <a:pt x="5412" y="1192"/>
                </a:lnTo>
                <a:lnTo>
                  <a:pt x="5410" y="1190"/>
                </a:lnTo>
                <a:lnTo>
                  <a:pt x="5408" y="1188"/>
                </a:lnTo>
                <a:lnTo>
                  <a:pt x="5403" y="1187"/>
                </a:lnTo>
                <a:lnTo>
                  <a:pt x="5398" y="1185"/>
                </a:lnTo>
                <a:lnTo>
                  <a:pt x="5395" y="1184"/>
                </a:lnTo>
                <a:lnTo>
                  <a:pt x="5392" y="1183"/>
                </a:lnTo>
                <a:lnTo>
                  <a:pt x="5395" y="1173"/>
                </a:lnTo>
                <a:lnTo>
                  <a:pt x="5398" y="1164"/>
                </a:lnTo>
                <a:lnTo>
                  <a:pt x="5399" y="1163"/>
                </a:lnTo>
                <a:lnTo>
                  <a:pt x="5400" y="1162"/>
                </a:lnTo>
                <a:lnTo>
                  <a:pt x="5404" y="1161"/>
                </a:lnTo>
                <a:lnTo>
                  <a:pt x="5409" y="1159"/>
                </a:lnTo>
                <a:lnTo>
                  <a:pt x="5412" y="1158"/>
                </a:lnTo>
                <a:lnTo>
                  <a:pt x="5413" y="1156"/>
                </a:lnTo>
                <a:lnTo>
                  <a:pt x="5415" y="1152"/>
                </a:lnTo>
                <a:lnTo>
                  <a:pt x="5416" y="1149"/>
                </a:lnTo>
                <a:lnTo>
                  <a:pt x="5417" y="1147"/>
                </a:lnTo>
                <a:lnTo>
                  <a:pt x="5419" y="1146"/>
                </a:lnTo>
                <a:lnTo>
                  <a:pt x="5420" y="1146"/>
                </a:lnTo>
                <a:lnTo>
                  <a:pt x="5425" y="1145"/>
                </a:lnTo>
                <a:lnTo>
                  <a:pt x="5429" y="1145"/>
                </a:lnTo>
                <a:lnTo>
                  <a:pt x="5431" y="1144"/>
                </a:lnTo>
                <a:lnTo>
                  <a:pt x="5432" y="1144"/>
                </a:lnTo>
                <a:lnTo>
                  <a:pt x="5433" y="1141"/>
                </a:lnTo>
                <a:lnTo>
                  <a:pt x="5434" y="1139"/>
                </a:lnTo>
                <a:lnTo>
                  <a:pt x="5435" y="1134"/>
                </a:lnTo>
                <a:lnTo>
                  <a:pt x="5436" y="1128"/>
                </a:lnTo>
                <a:lnTo>
                  <a:pt x="5437" y="1121"/>
                </a:lnTo>
                <a:lnTo>
                  <a:pt x="5432" y="1121"/>
                </a:lnTo>
                <a:lnTo>
                  <a:pt x="5430" y="1120"/>
                </a:lnTo>
                <a:lnTo>
                  <a:pt x="5429" y="1119"/>
                </a:lnTo>
                <a:lnTo>
                  <a:pt x="5428" y="1116"/>
                </a:lnTo>
                <a:lnTo>
                  <a:pt x="5429" y="1114"/>
                </a:lnTo>
                <a:lnTo>
                  <a:pt x="5429" y="1112"/>
                </a:lnTo>
                <a:lnTo>
                  <a:pt x="5429" y="1111"/>
                </a:lnTo>
                <a:lnTo>
                  <a:pt x="5429" y="1110"/>
                </a:lnTo>
                <a:lnTo>
                  <a:pt x="5442" y="1098"/>
                </a:lnTo>
                <a:lnTo>
                  <a:pt x="5456" y="1087"/>
                </a:lnTo>
                <a:lnTo>
                  <a:pt x="5468" y="1076"/>
                </a:lnTo>
                <a:lnTo>
                  <a:pt x="5470" y="1072"/>
                </a:lnTo>
                <a:lnTo>
                  <a:pt x="5471" y="1068"/>
                </a:lnTo>
                <a:lnTo>
                  <a:pt x="5474" y="1067"/>
                </a:lnTo>
                <a:lnTo>
                  <a:pt x="5479" y="1068"/>
                </a:lnTo>
                <a:lnTo>
                  <a:pt x="5488" y="1068"/>
                </a:lnTo>
                <a:lnTo>
                  <a:pt x="5487" y="1074"/>
                </a:lnTo>
                <a:lnTo>
                  <a:pt x="5485" y="1082"/>
                </a:lnTo>
                <a:lnTo>
                  <a:pt x="5493" y="1087"/>
                </a:lnTo>
                <a:lnTo>
                  <a:pt x="5496" y="1089"/>
                </a:lnTo>
                <a:lnTo>
                  <a:pt x="5500" y="1090"/>
                </a:lnTo>
                <a:lnTo>
                  <a:pt x="5504" y="1091"/>
                </a:lnTo>
                <a:lnTo>
                  <a:pt x="5507" y="1091"/>
                </a:lnTo>
                <a:lnTo>
                  <a:pt x="5512" y="1090"/>
                </a:lnTo>
                <a:lnTo>
                  <a:pt x="5516" y="1088"/>
                </a:lnTo>
                <a:lnTo>
                  <a:pt x="5516" y="1082"/>
                </a:lnTo>
                <a:lnTo>
                  <a:pt x="5520" y="1079"/>
                </a:lnTo>
                <a:lnTo>
                  <a:pt x="5523" y="1076"/>
                </a:lnTo>
                <a:lnTo>
                  <a:pt x="5527" y="1070"/>
                </a:lnTo>
                <a:lnTo>
                  <a:pt x="5530" y="1065"/>
                </a:lnTo>
                <a:lnTo>
                  <a:pt x="5532" y="1063"/>
                </a:lnTo>
                <a:lnTo>
                  <a:pt x="5533" y="1062"/>
                </a:lnTo>
                <a:lnTo>
                  <a:pt x="5538" y="1062"/>
                </a:lnTo>
                <a:lnTo>
                  <a:pt x="5540" y="1060"/>
                </a:lnTo>
                <a:lnTo>
                  <a:pt x="5540" y="1058"/>
                </a:lnTo>
                <a:lnTo>
                  <a:pt x="5541" y="1053"/>
                </a:lnTo>
                <a:lnTo>
                  <a:pt x="5542" y="1049"/>
                </a:lnTo>
                <a:lnTo>
                  <a:pt x="5543" y="1047"/>
                </a:lnTo>
                <a:lnTo>
                  <a:pt x="5544" y="1045"/>
                </a:lnTo>
                <a:lnTo>
                  <a:pt x="5545" y="1044"/>
                </a:lnTo>
                <a:lnTo>
                  <a:pt x="5547" y="1043"/>
                </a:lnTo>
                <a:lnTo>
                  <a:pt x="5551" y="1041"/>
                </a:lnTo>
                <a:lnTo>
                  <a:pt x="5555" y="1039"/>
                </a:lnTo>
                <a:lnTo>
                  <a:pt x="5558" y="1037"/>
                </a:lnTo>
                <a:lnTo>
                  <a:pt x="5559" y="1035"/>
                </a:lnTo>
                <a:lnTo>
                  <a:pt x="5560" y="1033"/>
                </a:lnTo>
                <a:lnTo>
                  <a:pt x="5561" y="1028"/>
                </a:lnTo>
                <a:lnTo>
                  <a:pt x="5562" y="1024"/>
                </a:lnTo>
                <a:lnTo>
                  <a:pt x="5564" y="1020"/>
                </a:lnTo>
                <a:lnTo>
                  <a:pt x="5566" y="1018"/>
                </a:lnTo>
                <a:lnTo>
                  <a:pt x="5569" y="1016"/>
                </a:lnTo>
                <a:lnTo>
                  <a:pt x="5575" y="1011"/>
                </a:lnTo>
                <a:lnTo>
                  <a:pt x="5582" y="1006"/>
                </a:lnTo>
                <a:lnTo>
                  <a:pt x="5584" y="1003"/>
                </a:lnTo>
                <a:lnTo>
                  <a:pt x="5586" y="1000"/>
                </a:lnTo>
                <a:lnTo>
                  <a:pt x="5588" y="997"/>
                </a:lnTo>
                <a:lnTo>
                  <a:pt x="5589" y="992"/>
                </a:lnTo>
                <a:lnTo>
                  <a:pt x="5591" y="983"/>
                </a:lnTo>
                <a:lnTo>
                  <a:pt x="5593" y="974"/>
                </a:lnTo>
                <a:lnTo>
                  <a:pt x="5595" y="970"/>
                </a:lnTo>
                <a:lnTo>
                  <a:pt x="5597" y="967"/>
                </a:lnTo>
                <a:lnTo>
                  <a:pt x="5599" y="966"/>
                </a:lnTo>
                <a:lnTo>
                  <a:pt x="5602" y="965"/>
                </a:lnTo>
                <a:lnTo>
                  <a:pt x="5606" y="964"/>
                </a:lnTo>
                <a:lnTo>
                  <a:pt x="5607" y="962"/>
                </a:lnTo>
                <a:lnTo>
                  <a:pt x="5607" y="960"/>
                </a:lnTo>
                <a:lnTo>
                  <a:pt x="5607" y="957"/>
                </a:lnTo>
                <a:lnTo>
                  <a:pt x="5607" y="953"/>
                </a:lnTo>
                <a:lnTo>
                  <a:pt x="5608" y="951"/>
                </a:lnTo>
                <a:lnTo>
                  <a:pt x="5609" y="950"/>
                </a:lnTo>
                <a:lnTo>
                  <a:pt x="5612" y="946"/>
                </a:lnTo>
                <a:lnTo>
                  <a:pt x="5618" y="943"/>
                </a:lnTo>
                <a:lnTo>
                  <a:pt x="5623" y="939"/>
                </a:lnTo>
                <a:lnTo>
                  <a:pt x="5624" y="938"/>
                </a:lnTo>
                <a:lnTo>
                  <a:pt x="5626" y="936"/>
                </a:lnTo>
                <a:lnTo>
                  <a:pt x="5626" y="933"/>
                </a:lnTo>
                <a:lnTo>
                  <a:pt x="5625" y="930"/>
                </a:lnTo>
                <a:lnTo>
                  <a:pt x="5625" y="927"/>
                </a:lnTo>
                <a:lnTo>
                  <a:pt x="5625" y="926"/>
                </a:lnTo>
                <a:lnTo>
                  <a:pt x="5626" y="924"/>
                </a:lnTo>
                <a:lnTo>
                  <a:pt x="5631" y="924"/>
                </a:lnTo>
                <a:lnTo>
                  <a:pt x="5626" y="916"/>
                </a:lnTo>
                <a:lnTo>
                  <a:pt x="5630" y="909"/>
                </a:lnTo>
                <a:lnTo>
                  <a:pt x="5633" y="905"/>
                </a:lnTo>
                <a:lnTo>
                  <a:pt x="5634" y="903"/>
                </a:lnTo>
                <a:lnTo>
                  <a:pt x="5634" y="902"/>
                </a:lnTo>
                <a:lnTo>
                  <a:pt x="5633" y="897"/>
                </a:lnTo>
                <a:lnTo>
                  <a:pt x="5631" y="891"/>
                </a:lnTo>
                <a:lnTo>
                  <a:pt x="5629" y="885"/>
                </a:lnTo>
                <a:lnTo>
                  <a:pt x="5628" y="882"/>
                </a:lnTo>
                <a:lnTo>
                  <a:pt x="5628" y="879"/>
                </a:lnTo>
                <a:lnTo>
                  <a:pt x="5629" y="878"/>
                </a:lnTo>
                <a:lnTo>
                  <a:pt x="5631" y="876"/>
                </a:lnTo>
                <a:lnTo>
                  <a:pt x="5633" y="873"/>
                </a:lnTo>
                <a:lnTo>
                  <a:pt x="5634" y="871"/>
                </a:lnTo>
                <a:lnTo>
                  <a:pt x="5632" y="865"/>
                </a:lnTo>
                <a:lnTo>
                  <a:pt x="5631" y="863"/>
                </a:lnTo>
                <a:lnTo>
                  <a:pt x="5631" y="862"/>
                </a:lnTo>
                <a:lnTo>
                  <a:pt x="5633" y="860"/>
                </a:lnTo>
                <a:lnTo>
                  <a:pt x="5635" y="859"/>
                </a:lnTo>
                <a:lnTo>
                  <a:pt x="5638" y="857"/>
                </a:lnTo>
                <a:lnTo>
                  <a:pt x="5640" y="856"/>
                </a:lnTo>
                <a:lnTo>
                  <a:pt x="5641" y="854"/>
                </a:lnTo>
                <a:lnTo>
                  <a:pt x="5642" y="852"/>
                </a:lnTo>
                <a:lnTo>
                  <a:pt x="5643" y="848"/>
                </a:lnTo>
                <a:lnTo>
                  <a:pt x="5643" y="844"/>
                </a:lnTo>
                <a:lnTo>
                  <a:pt x="5643" y="840"/>
                </a:lnTo>
                <a:lnTo>
                  <a:pt x="5641" y="832"/>
                </a:lnTo>
                <a:lnTo>
                  <a:pt x="5640" y="822"/>
                </a:lnTo>
                <a:lnTo>
                  <a:pt x="5644" y="822"/>
                </a:lnTo>
                <a:lnTo>
                  <a:pt x="5647" y="822"/>
                </a:lnTo>
                <a:lnTo>
                  <a:pt x="5650" y="822"/>
                </a:lnTo>
                <a:lnTo>
                  <a:pt x="5654" y="822"/>
                </a:lnTo>
                <a:lnTo>
                  <a:pt x="5654" y="819"/>
                </a:lnTo>
                <a:lnTo>
                  <a:pt x="5651" y="818"/>
                </a:lnTo>
                <a:lnTo>
                  <a:pt x="5648" y="818"/>
                </a:lnTo>
                <a:lnTo>
                  <a:pt x="5646" y="817"/>
                </a:lnTo>
                <a:lnTo>
                  <a:pt x="5642" y="817"/>
                </a:lnTo>
                <a:lnTo>
                  <a:pt x="5642" y="811"/>
                </a:lnTo>
                <a:lnTo>
                  <a:pt x="5641" y="811"/>
                </a:lnTo>
                <a:lnTo>
                  <a:pt x="5640" y="811"/>
                </a:lnTo>
                <a:lnTo>
                  <a:pt x="5640" y="812"/>
                </a:lnTo>
                <a:lnTo>
                  <a:pt x="5639" y="813"/>
                </a:lnTo>
                <a:lnTo>
                  <a:pt x="5639" y="814"/>
                </a:lnTo>
                <a:lnTo>
                  <a:pt x="5638" y="814"/>
                </a:lnTo>
                <a:lnTo>
                  <a:pt x="5637" y="814"/>
                </a:lnTo>
                <a:lnTo>
                  <a:pt x="5634" y="811"/>
                </a:lnTo>
                <a:lnTo>
                  <a:pt x="5631" y="808"/>
                </a:lnTo>
                <a:lnTo>
                  <a:pt x="5626" y="800"/>
                </a:lnTo>
                <a:lnTo>
                  <a:pt x="5621" y="793"/>
                </a:lnTo>
                <a:lnTo>
                  <a:pt x="5618" y="790"/>
                </a:lnTo>
                <a:lnTo>
                  <a:pt x="5614" y="788"/>
                </a:lnTo>
                <a:lnTo>
                  <a:pt x="5605" y="786"/>
                </a:lnTo>
                <a:lnTo>
                  <a:pt x="5602" y="785"/>
                </a:lnTo>
                <a:lnTo>
                  <a:pt x="5600" y="785"/>
                </a:lnTo>
                <a:lnTo>
                  <a:pt x="5598" y="786"/>
                </a:lnTo>
                <a:lnTo>
                  <a:pt x="5597" y="787"/>
                </a:lnTo>
                <a:lnTo>
                  <a:pt x="5596" y="788"/>
                </a:lnTo>
                <a:lnTo>
                  <a:pt x="5596" y="790"/>
                </a:lnTo>
                <a:lnTo>
                  <a:pt x="5596" y="793"/>
                </a:lnTo>
                <a:lnTo>
                  <a:pt x="5597" y="796"/>
                </a:lnTo>
                <a:lnTo>
                  <a:pt x="5597" y="798"/>
                </a:lnTo>
                <a:lnTo>
                  <a:pt x="5597" y="800"/>
                </a:lnTo>
                <a:lnTo>
                  <a:pt x="5592" y="800"/>
                </a:lnTo>
                <a:lnTo>
                  <a:pt x="5593" y="798"/>
                </a:lnTo>
                <a:lnTo>
                  <a:pt x="5593" y="797"/>
                </a:lnTo>
                <a:lnTo>
                  <a:pt x="5592" y="797"/>
                </a:lnTo>
                <a:lnTo>
                  <a:pt x="5589" y="797"/>
                </a:lnTo>
                <a:lnTo>
                  <a:pt x="5587" y="800"/>
                </a:lnTo>
                <a:lnTo>
                  <a:pt x="5586" y="803"/>
                </a:lnTo>
                <a:lnTo>
                  <a:pt x="5585" y="805"/>
                </a:lnTo>
                <a:lnTo>
                  <a:pt x="5584" y="806"/>
                </a:lnTo>
                <a:lnTo>
                  <a:pt x="5582" y="807"/>
                </a:lnTo>
                <a:lnTo>
                  <a:pt x="5581" y="808"/>
                </a:lnTo>
                <a:lnTo>
                  <a:pt x="5579" y="808"/>
                </a:lnTo>
                <a:lnTo>
                  <a:pt x="5577" y="808"/>
                </a:lnTo>
                <a:lnTo>
                  <a:pt x="5576" y="807"/>
                </a:lnTo>
                <a:lnTo>
                  <a:pt x="5575" y="806"/>
                </a:lnTo>
                <a:lnTo>
                  <a:pt x="5574" y="805"/>
                </a:lnTo>
                <a:lnTo>
                  <a:pt x="5575" y="804"/>
                </a:lnTo>
                <a:lnTo>
                  <a:pt x="5576" y="803"/>
                </a:lnTo>
                <a:lnTo>
                  <a:pt x="5578" y="802"/>
                </a:lnTo>
                <a:lnTo>
                  <a:pt x="5581" y="794"/>
                </a:lnTo>
                <a:lnTo>
                  <a:pt x="5579" y="794"/>
                </a:lnTo>
                <a:lnTo>
                  <a:pt x="5578" y="794"/>
                </a:lnTo>
                <a:lnTo>
                  <a:pt x="5576" y="791"/>
                </a:lnTo>
                <a:lnTo>
                  <a:pt x="5575" y="789"/>
                </a:lnTo>
                <a:lnTo>
                  <a:pt x="5574" y="788"/>
                </a:lnTo>
                <a:lnTo>
                  <a:pt x="5572" y="788"/>
                </a:lnTo>
                <a:lnTo>
                  <a:pt x="5572" y="794"/>
                </a:lnTo>
                <a:lnTo>
                  <a:pt x="5571" y="794"/>
                </a:lnTo>
                <a:lnTo>
                  <a:pt x="5570" y="794"/>
                </a:lnTo>
                <a:lnTo>
                  <a:pt x="5569" y="794"/>
                </a:lnTo>
                <a:lnTo>
                  <a:pt x="5569" y="795"/>
                </a:lnTo>
                <a:lnTo>
                  <a:pt x="5569" y="800"/>
                </a:lnTo>
                <a:lnTo>
                  <a:pt x="5564" y="800"/>
                </a:lnTo>
                <a:lnTo>
                  <a:pt x="5564" y="772"/>
                </a:lnTo>
                <a:lnTo>
                  <a:pt x="5550" y="772"/>
                </a:lnTo>
                <a:lnTo>
                  <a:pt x="5543" y="772"/>
                </a:lnTo>
                <a:lnTo>
                  <a:pt x="5536" y="772"/>
                </a:lnTo>
                <a:lnTo>
                  <a:pt x="5537" y="768"/>
                </a:lnTo>
                <a:lnTo>
                  <a:pt x="5538" y="764"/>
                </a:lnTo>
                <a:lnTo>
                  <a:pt x="5539" y="761"/>
                </a:lnTo>
                <a:lnTo>
                  <a:pt x="5540" y="759"/>
                </a:lnTo>
                <a:lnTo>
                  <a:pt x="5541" y="757"/>
                </a:lnTo>
                <a:lnTo>
                  <a:pt x="5575" y="726"/>
                </a:lnTo>
                <a:lnTo>
                  <a:pt x="5581" y="726"/>
                </a:lnTo>
                <a:lnTo>
                  <a:pt x="5581" y="725"/>
                </a:lnTo>
                <a:lnTo>
                  <a:pt x="5581" y="722"/>
                </a:lnTo>
                <a:lnTo>
                  <a:pt x="5580" y="720"/>
                </a:lnTo>
                <a:lnTo>
                  <a:pt x="5581" y="718"/>
                </a:lnTo>
                <a:lnTo>
                  <a:pt x="5582" y="717"/>
                </a:lnTo>
                <a:lnTo>
                  <a:pt x="5585" y="717"/>
                </a:lnTo>
                <a:lnTo>
                  <a:pt x="5587" y="716"/>
                </a:lnTo>
                <a:lnTo>
                  <a:pt x="5588" y="716"/>
                </a:lnTo>
                <a:lnTo>
                  <a:pt x="5589" y="715"/>
                </a:lnTo>
                <a:lnTo>
                  <a:pt x="5591" y="712"/>
                </a:lnTo>
                <a:lnTo>
                  <a:pt x="5592" y="709"/>
                </a:lnTo>
                <a:lnTo>
                  <a:pt x="5593" y="706"/>
                </a:lnTo>
                <a:lnTo>
                  <a:pt x="5593" y="703"/>
                </a:lnTo>
                <a:lnTo>
                  <a:pt x="5594" y="697"/>
                </a:lnTo>
                <a:lnTo>
                  <a:pt x="5595" y="693"/>
                </a:lnTo>
                <a:lnTo>
                  <a:pt x="5597" y="695"/>
                </a:lnTo>
                <a:lnTo>
                  <a:pt x="5599" y="696"/>
                </a:lnTo>
                <a:lnTo>
                  <a:pt x="5600" y="696"/>
                </a:lnTo>
                <a:lnTo>
                  <a:pt x="5603" y="693"/>
                </a:lnTo>
                <a:lnTo>
                  <a:pt x="5605" y="690"/>
                </a:lnTo>
                <a:lnTo>
                  <a:pt x="5607" y="687"/>
                </a:lnTo>
                <a:lnTo>
                  <a:pt x="5609" y="684"/>
                </a:lnTo>
                <a:lnTo>
                  <a:pt x="5626" y="676"/>
                </a:lnTo>
                <a:lnTo>
                  <a:pt x="5626" y="671"/>
                </a:lnTo>
                <a:lnTo>
                  <a:pt x="5626" y="667"/>
                </a:lnTo>
                <a:lnTo>
                  <a:pt x="5628" y="667"/>
                </a:lnTo>
                <a:lnTo>
                  <a:pt x="5631" y="668"/>
                </a:lnTo>
                <a:lnTo>
                  <a:pt x="5635" y="668"/>
                </a:lnTo>
                <a:lnTo>
                  <a:pt x="5636" y="668"/>
                </a:lnTo>
                <a:lnTo>
                  <a:pt x="5637" y="667"/>
                </a:lnTo>
                <a:lnTo>
                  <a:pt x="5638" y="664"/>
                </a:lnTo>
                <a:lnTo>
                  <a:pt x="5639" y="659"/>
                </a:lnTo>
                <a:lnTo>
                  <a:pt x="5639" y="655"/>
                </a:lnTo>
                <a:lnTo>
                  <a:pt x="5639" y="653"/>
                </a:lnTo>
                <a:lnTo>
                  <a:pt x="5639" y="652"/>
                </a:lnTo>
                <a:lnTo>
                  <a:pt x="5640" y="651"/>
                </a:lnTo>
                <a:lnTo>
                  <a:pt x="5641" y="648"/>
                </a:lnTo>
                <a:lnTo>
                  <a:pt x="5644" y="644"/>
                </a:lnTo>
                <a:lnTo>
                  <a:pt x="5652" y="635"/>
                </a:lnTo>
                <a:lnTo>
                  <a:pt x="5661" y="627"/>
                </a:lnTo>
                <a:lnTo>
                  <a:pt x="5668" y="622"/>
                </a:lnTo>
                <a:lnTo>
                  <a:pt x="5668" y="620"/>
                </a:lnTo>
                <a:lnTo>
                  <a:pt x="5672" y="620"/>
                </a:lnTo>
                <a:lnTo>
                  <a:pt x="5676" y="620"/>
                </a:lnTo>
                <a:lnTo>
                  <a:pt x="5677" y="619"/>
                </a:lnTo>
                <a:lnTo>
                  <a:pt x="5677" y="618"/>
                </a:lnTo>
                <a:lnTo>
                  <a:pt x="5676" y="615"/>
                </a:lnTo>
                <a:lnTo>
                  <a:pt x="5676" y="613"/>
                </a:lnTo>
                <a:lnTo>
                  <a:pt x="5676" y="612"/>
                </a:lnTo>
                <a:lnTo>
                  <a:pt x="5676" y="611"/>
                </a:lnTo>
                <a:lnTo>
                  <a:pt x="5679" y="611"/>
                </a:lnTo>
                <a:lnTo>
                  <a:pt x="5681" y="612"/>
                </a:lnTo>
                <a:lnTo>
                  <a:pt x="5683" y="613"/>
                </a:lnTo>
                <a:lnTo>
                  <a:pt x="5684" y="615"/>
                </a:lnTo>
                <a:lnTo>
                  <a:pt x="5687" y="618"/>
                </a:lnTo>
                <a:lnTo>
                  <a:pt x="5687" y="620"/>
                </a:lnTo>
                <a:lnTo>
                  <a:pt x="5692" y="620"/>
                </a:lnTo>
                <a:lnTo>
                  <a:pt x="5697" y="620"/>
                </a:lnTo>
                <a:lnTo>
                  <a:pt x="5711" y="620"/>
                </a:lnTo>
                <a:lnTo>
                  <a:pt x="5726" y="619"/>
                </a:lnTo>
                <a:lnTo>
                  <a:pt x="5736" y="620"/>
                </a:lnTo>
                <a:lnTo>
                  <a:pt x="5735" y="621"/>
                </a:lnTo>
                <a:lnTo>
                  <a:pt x="5735" y="622"/>
                </a:lnTo>
                <a:lnTo>
                  <a:pt x="5735" y="625"/>
                </a:lnTo>
                <a:lnTo>
                  <a:pt x="5736" y="631"/>
                </a:lnTo>
                <a:lnTo>
                  <a:pt x="5738" y="630"/>
                </a:lnTo>
                <a:lnTo>
                  <a:pt x="5741" y="629"/>
                </a:lnTo>
                <a:lnTo>
                  <a:pt x="5743" y="629"/>
                </a:lnTo>
                <a:lnTo>
                  <a:pt x="5745" y="628"/>
                </a:lnTo>
                <a:lnTo>
                  <a:pt x="5745" y="627"/>
                </a:lnTo>
                <a:lnTo>
                  <a:pt x="5746" y="626"/>
                </a:lnTo>
                <a:lnTo>
                  <a:pt x="5746" y="624"/>
                </a:lnTo>
                <a:lnTo>
                  <a:pt x="5747" y="621"/>
                </a:lnTo>
                <a:lnTo>
                  <a:pt x="5748" y="620"/>
                </a:lnTo>
                <a:lnTo>
                  <a:pt x="5751" y="622"/>
                </a:lnTo>
                <a:lnTo>
                  <a:pt x="5753" y="624"/>
                </a:lnTo>
                <a:lnTo>
                  <a:pt x="5756" y="627"/>
                </a:lnTo>
                <a:lnTo>
                  <a:pt x="5759" y="628"/>
                </a:lnTo>
                <a:lnTo>
                  <a:pt x="5762" y="629"/>
                </a:lnTo>
                <a:lnTo>
                  <a:pt x="5765" y="628"/>
                </a:lnTo>
                <a:lnTo>
                  <a:pt x="5772" y="627"/>
                </a:lnTo>
                <a:lnTo>
                  <a:pt x="5777" y="626"/>
                </a:lnTo>
                <a:lnTo>
                  <a:pt x="5780" y="625"/>
                </a:lnTo>
                <a:lnTo>
                  <a:pt x="5781" y="625"/>
                </a:lnTo>
                <a:lnTo>
                  <a:pt x="5782" y="626"/>
                </a:lnTo>
                <a:lnTo>
                  <a:pt x="5783" y="627"/>
                </a:lnTo>
                <a:lnTo>
                  <a:pt x="5785" y="629"/>
                </a:lnTo>
                <a:lnTo>
                  <a:pt x="5786" y="630"/>
                </a:lnTo>
                <a:lnTo>
                  <a:pt x="5788" y="631"/>
                </a:lnTo>
                <a:lnTo>
                  <a:pt x="5790" y="631"/>
                </a:lnTo>
                <a:lnTo>
                  <a:pt x="5793" y="631"/>
                </a:lnTo>
                <a:lnTo>
                  <a:pt x="5793" y="611"/>
                </a:lnTo>
                <a:lnTo>
                  <a:pt x="5801" y="613"/>
                </a:lnTo>
                <a:lnTo>
                  <a:pt x="5810" y="613"/>
                </a:lnTo>
                <a:lnTo>
                  <a:pt x="5817" y="613"/>
                </a:lnTo>
                <a:lnTo>
                  <a:pt x="5820" y="613"/>
                </a:lnTo>
                <a:lnTo>
                  <a:pt x="5824" y="614"/>
                </a:lnTo>
                <a:lnTo>
                  <a:pt x="5824" y="615"/>
                </a:lnTo>
                <a:lnTo>
                  <a:pt x="5824" y="618"/>
                </a:lnTo>
                <a:lnTo>
                  <a:pt x="5824" y="619"/>
                </a:lnTo>
                <a:lnTo>
                  <a:pt x="5825" y="620"/>
                </a:lnTo>
                <a:lnTo>
                  <a:pt x="5827" y="620"/>
                </a:lnTo>
                <a:lnTo>
                  <a:pt x="5829" y="620"/>
                </a:lnTo>
                <a:lnTo>
                  <a:pt x="5829" y="614"/>
                </a:lnTo>
                <a:lnTo>
                  <a:pt x="5836" y="613"/>
                </a:lnTo>
                <a:lnTo>
                  <a:pt x="5838" y="612"/>
                </a:lnTo>
                <a:lnTo>
                  <a:pt x="5840" y="611"/>
                </a:lnTo>
                <a:lnTo>
                  <a:pt x="5842" y="614"/>
                </a:lnTo>
                <a:lnTo>
                  <a:pt x="5843" y="618"/>
                </a:lnTo>
                <a:lnTo>
                  <a:pt x="5845" y="622"/>
                </a:lnTo>
                <a:lnTo>
                  <a:pt x="5846" y="625"/>
                </a:lnTo>
                <a:lnTo>
                  <a:pt x="5849" y="625"/>
                </a:lnTo>
                <a:lnTo>
                  <a:pt x="5850" y="625"/>
                </a:lnTo>
                <a:lnTo>
                  <a:pt x="5851" y="626"/>
                </a:lnTo>
                <a:lnTo>
                  <a:pt x="5851" y="627"/>
                </a:lnTo>
                <a:lnTo>
                  <a:pt x="5851" y="629"/>
                </a:lnTo>
                <a:lnTo>
                  <a:pt x="5851" y="630"/>
                </a:lnTo>
                <a:lnTo>
                  <a:pt x="5852" y="631"/>
                </a:lnTo>
                <a:lnTo>
                  <a:pt x="5842" y="630"/>
                </a:lnTo>
                <a:lnTo>
                  <a:pt x="5837" y="630"/>
                </a:lnTo>
                <a:lnTo>
                  <a:pt x="5832" y="631"/>
                </a:lnTo>
                <a:lnTo>
                  <a:pt x="5835" y="645"/>
                </a:lnTo>
                <a:lnTo>
                  <a:pt x="5845" y="644"/>
                </a:lnTo>
                <a:lnTo>
                  <a:pt x="5850" y="644"/>
                </a:lnTo>
                <a:lnTo>
                  <a:pt x="5854" y="645"/>
                </a:lnTo>
                <a:lnTo>
                  <a:pt x="5854" y="644"/>
                </a:lnTo>
                <a:lnTo>
                  <a:pt x="5853" y="644"/>
                </a:lnTo>
                <a:lnTo>
                  <a:pt x="5854" y="642"/>
                </a:lnTo>
                <a:lnTo>
                  <a:pt x="5855" y="641"/>
                </a:lnTo>
                <a:lnTo>
                  <a:pt x="5857" y="636"/>
                </a:lnTo>
                <a:lnTo>
                  <a:pt x="5859" y="638"/>
                </a:lnTo>
                <a:lnTo>
                  <a:pt x="5861" y="640"/>
                </a:lnTo>
                <a:lnTo>
                  <a:pt x="5863" y="641"/>
                </a:lnTo>
                <a:lnTo>
                  <a:pt x="5866" y="642"/>
                </a:lnTo>
                <a:lnTo>
                  <a:pt x="5866" y="641"/>
                </a:lnTo>
                <a:lnTo>
                  <a:pt x="5866" y="640"/>
                </a:lnTo>
                <a:lnTo>
                  <a:pt x="5866" y="638"/>
                </a:lnTo>
                <a:lnTo>
                  <a:pt x="5865" y="636"/>
                </a:lnTo>
                <a:lnTo>
                  <a:pt x="5865" y="635"/>
                </a:lnTo>
                <a:lnTo>
                  <a:pt x="5866" y="634"/>
                </a:lnTo>
                <a:lnTo>
                  <a:pt x="5871" y="634"/>
                </a:lnTo>
                <a:lnTo>
                  <a:pt x="5874" y="625"/>
                </a:lnTo>
                <a:lnTo>
                  <a:pt x="5877" y="626"/>
                </a:lnTo>
                <a:lnTo>
                  <a:pt x="5880" y="626"/>
                </a:lnTo>
                <a:lnTo>
                  <a:pt x="5885" y="625"/>
                </a:lnTo>
                <a:lnTo>
                  <a:pt x="5891" y="625"/>
                </a:lnTo>
                <a:lnTo>
                  <a:pt x="5895" y="625"/>
                </a:lnTo>
                <a:lnTo>
                  <a:pt x="5899" y="625"/>
                </a:lnTo>
                <a:lnTo>
                  <a:pt x="5898" y="624"/>
                </a:lnTo>
                <a:lnTo>
                  <a:pt x="5899" y="623"/>
                </a:lnTo>
                <a:lnTo>
                  <a:pt x="5900" y="623"/>
                </a:lnTo>
                <a:lnTo>
                  <a:pt x="5905" y="622"/>
                </a:lnTo>
                <a:lnTo>
                  <a:pt x="5902" y="614"/>
                </a:lnTo>
                <a:lnTo>
                  <a:pt x="5898" y="614"/>
                </a:lnTo>
                <a:lnTo>
                  <a:pt x="5891" y="614"/>
                </a:lnTo>
                <a:lnTo>
                  <a:pt x="5891" y="617"/>
                </a:lnTo>
                <a:lnTo>
                  <a:pt x="5890" y="617"/>
                </a:lnTo>
                <a:lnTo>
                  <a:pt x="5888" y="617"/>
                </a:lnTo>
                <a:lnTo>
                  <a:pt x="5885" y="617"/>
                </a:lnTo>
                <a:lnTo>
                  <a:pt x="5886" y="607"/>
                </a:lnTo>
                <a:lnTo>
                  <a:pt x="5886" y="602"/>
                </a:lnTo>
                <a:lnTo>
                  <a:pt x="5885" y="597"/>
                </a:lnTo>
                <a:lnTo>
                  <a:pt x="5888" y="599"/>
                </a:lnTo>
                <a:lnTo>
                  <a:pt x="5890" y="600"/>
                </a:lnTo>
                <a:lnTo>
                  <a:pt x="5891" y="600"/>
                </a:lnTo>
                <a:lnTo>
                  <a:pt x="5892" y="598"/>
                </a:lnTo>
                <a:lnTo>
                  <a:pt x="5892" y="596"/>
                </a:lnTo>
                <a:lnTo>
                  <a:pt x="5892" y="592"/>
                </a:lnTo>
                <a:lnTo>
                  <a:pt x="5892" y="589"/>
                </a:lnTo>
                <a:lnTo>
                  <a:pt x="5893" y="587"/>
                </a:lnTo>
                <a:lnTo>
                  <a:pt x="5894" y="586"/>
                </a:lnTo>
                <a:lnTo>
                  <a:pt x="5895" y="585"/>
                </a:lnTo>
                <a:lnTo>
                  <a:pt x="5897" y="583"/>
                </a:lnTo>
                <a:lnTo>
                  <a:pt x="5900" y="582"/>
                </a:lnTo>
                <a:lnTo>
                  <a:pt x="5908" y="579"/>
                </a:lnTo>
                <a:lnTo>
                  <a:pt x="5915" y="576"/>
                </a:lnTo>
                <a:lnTo>
                  <a:pt x="5919" y="574"/>
                </a:lnTo>
                <a:lnTo>
                  <a:pt x="5922" y="572"/>
                </a:lnTo>
                <a:lnTo>
                  <a:pt x="5922" y="570"/>
                </a:lnTo>
                <a:lnTo>
                  <a:pt x="5922" y="568"/>
                </a:lnTo>
                <a:lnTo>
                  <a:pt x="5922" y="565"/>
                </a:lnTo>
                <a:lnTo>
                  <a:pt x="5922" y="563"/>
                </a:lnTo>
                <a:lnTo>
                  <a:pt x="5925" y="563"/>
                </a:lnTo>
                <a:lnTo>
                  <a:pt x="5927" y="561"/>
                </a:lnTo>
                <a:lnTo>
                  <a:pt x="5930" y="557"/>
                </a:lnTo>
                <a:lnTo>
                  <a:pt x="5933" y="552"/>
                </a:lnTo>
                <a:lnTo>
                  <a:pt x="5936" y="550"/>
                </a:lnTo>
                <a:lnTo>
                  <a:pt x="5940" y="549"/>
                </a:lnTo>
                <a:lnTo>
                  <a:pt x="5943" y="548"/>
                </a:lnTo>
                <a:lnTo>
                  <a:pt x="5946" y="548"/>
                </a:lnTo>
                <a:lnTo>
                  <a:pt x="5953" y="547"/>
                </a:lnTo>
                <a:lnTo>
                  <a:pt x="5961" y="546"/>
                </a:lnTo>
                <a:lnTo>
                  <a:pt x="5965" y="545"/>
                </a:lnTo>
                <a:lnTo>
                  <a:pt x="5969" y="543"/>
                </a:lnTo>
                <a:lnTo>
                  <a:pt x="5974" y="541"/>
                </a:lnTo>
                <a:lnTo>
                  <a:pt x="5976" y="541"/>
                </a:lnTo>
                <a:lnTo>
                  <a:pt x="5978" y="541"/>
                </a:lnTo>
                <a:lnTo>
                  <a:pt x="5981" y="549"/>
                </a:lnTo>
                <a:lnTo>
                  <a:pt x="5983" y="550"/>
                </a:lnTo>
                <a:lnTo>
                  <a:pt x="5985" y="551"/>
                </a:lnTo>
                <a:lnTo>
                  <a:pt x="5988" y="551"/>
                </a:lnTo>
                <a:lnTo>
                  <a:pt x="5989" y="552"/>
                </a:lnTo>
                <a:lnTo>
                  <a:pt x="5989" y="549"/>
                </a:lnTo>
                <a:lnTo>
                  <a:pt x="6001" y="544"/>
                </a:lnTo>
                <a:lnTo>
                  <a:pt x="5998" y="550"/>
                </a:lnTo>
                <a:lnTo>
                  <a:pt x="5997" y="557"/>
                </a:lnTo>
                <a:lnTo>
                  <a:pt x="5996" y="559"/>
                </a:lnTo>
                <a:lnTo>
                  <a:pt x="5994" y="562"/>
                </a:lnTo>
                <a:lnTo>
                  <a:pt x="5992" y="564"/>
                </a:lnTo>
                <a:lnTo>
                  <a:pt x="5989" y="566"/>
                </a:lnTo>
                <a:lnTo>
                  <a:pt x="5989" y="567"/>
                </a:lnTo>
                <a:lnTo>
                  <a:pt x="5990" y="568"/>
                </a:lnTo>
                <a:lnTo>
                  <a:pt x="5992" y="570"/>
                </a:lnTo>
                <a:lnTo>
                  <a:pt x="5992" y="571"/>
                </a:lnTo>
                <a:lnTo>
                  <a:pt x="5992" y="572"/>
                </a:lnTo>
                <a:lnTo>
                  <a:pt x="5997" y="570"/>
                </a:lnTo>
                <a:lnTo>
                  <a:pt x="6001" y="569"/>
                </a:lnTo>
                <a:lnTo>
                  <a:pt x="6000" y="570"/>
                </a:lnTo>
                <a:lnTo>
                  <a:pt x="6000" y="571"/>
                </a:lnTo>
                <a:lnTo>
                  <a:pt x="5999" y="575"/>
                </a:lnTo>
                <a:lnTo>
                  <a:pt x="5998" y="583"/>
                </a:lnTo>
                <a:lnTo>
                  <a:pt x="6002" y="579"/>
                </a:lnTo>
                <a:lnTo>
                  <a:pt x="6004" y="576"/>
                </a:lnTo>
                <a:lnTo>
                  <a:pt x="6006" y="575"/>
                </a:lnTo>
                <a:lnTo>
                  <a:pt x="6010" y="572"/>
                </a:lnTo>
                <a:lnTo>
                  <a:pt x="6013" y="568"/>
                </a:lnTo>
                <a:lnTo>
                  <a:pt x="6020" y="561"/>
                </a:lnTo>
                <a:lnTo>
                  <a:pt x="6026" y="553"/>
                </a:lnTo>
                <a:lnTo>
                  <a:pt x="6029" y="551"/>
                </a:lnTo>
                <a:lnTo>
                  <a:pt x="6032" y="549"/>
                </a:lnTo>
                <a:lnTo>
                  <a:pt x="6036" y="548"/>
                </a:lnTo>
                <a:lnTo>
                  <a:pt x="6040" y="547"/>
                </a:lnTo>
                <a:lnTo>
                  <a:pt x="6044" y="548"/>
                </a:lnTo>
                <a:lnTo>
                  <a:pt x="6046" y="548"/>
                </a:lnTo>
                <a:lnTo>
                  <a:pt x="6048" y="550"/>
                </a:lnTo>
                <a:lnTo>
                  <a:pt x="6049" y="551"/>
                </a:lnTo>
                <a:lnTo>
                  <a:pt x="6049" y="552"/>
                </a:lnTo>
                <a:lnTo>
                  <a:pt x="6050" y="551"/>
                </a:lnTo>
                <a:lnTo>
                  <a:pt x="6052" y="550"/>
                </a:lnTo>
                <a:lnTo>
                  <a:pt x="6053" y="549"/>
                </a:lnTo>
                <a:lnTo>
                  <a:pt x="6054" y="549"/>
                </a:lnTo>
                <a:lnTo>
                  <a:pt x="6057" y="549"/>
                </a:lnTo>
                <a:lnTo>
                  <a:pt x="6054" y="542"/>
                </a:lnTo>
                <a:lnTo>
                  <a:pt x="6054" y="540"/>
                </a:lnTo>
                <a:lnTo>
                  <a:pt x="6053" y="538"/>
                </a:lnTo>
                <a:lnTo>
                  <a:pt x="6053" y="536"/>
                </a:lnTo>
                <a:lnTo>
                  <a:pt x="6054" y="535"/>
                </a:lnTo>
                <a:lnTo>
                  <a:pt x="6053" y="536"/>
                </a:lnTo>
                <a:lnTo>
                  <a:pt x="6052" y="537"/>
                </a:lnTo>
                <a:lnTo>
                  <a:pt x="6052" y="536"/>
                </a:lnTo>
                <a:lnTo>
                  <a:pt x="6052" y="534"/>
                </a:lnTo>
                <a:lnTo>
                  <a:pt x="6051" y="530"/>
                </a:lnTo>
                <a:lnTo>
                  <a:pt x="6063" y="520"/>
                </a:lnTo>
                <a:lnTo>
                  <a:pt x="6067" y="518"/>
                </a:lnTo>
                <a:lnTo>
                  <a:pt x="6070" y="517"/>
                </a:lnTo>
                <a:lnTo>
                  <a:pt x="6073" y="518"/>
                </a:lnTo>
                <a:lnTo>
                  <a:pt x="6076" y="519"/>
                </a:lnTo>
                <a:lnTo>
                  <a:pt x="6082" y="521"/>
                </a:lnTo>
                <a:lnTo>
                  <a:pt x="6091" y="524"/>
                </a:lnTo>
                <a:lnTo>
                  <a:pt x="6091" y="527"/>
                </a:lnTo>
                <a:lnTo>
                  <a:pt x="6082" y="527"/>
                </a:lnTo>
                <a:lnTo>
                  <a:pt x="6083" y="526"/>
                </a:lnTo>
                <a:lnTo>
                  <a:pt x="6083" y="525"/>
                </a:lnTo>
                <a:lnTo>
                  <a:pt x="6082" y="525"/>
                </a:lnTo>
                <a:lnTo>
                  <a:pt x="6080" y="524"/>
                </a:lnTo>
                <a:lnTo>
                  <a:pt x="6076" y="524"/>
                </a:lnTo>
                <a:lnTo>
                  <a:pt x="6074" y="524"/>
                </a:lnTo>
                <a:lnTo>
                  <a:pt x="6071" y="530"/>
                </a:lnTo>
                <a:lnTo>
                  <a:pt x="6068" y="530"/>
                </a:lnTo>
                <a:lnTo>
                  <a:pt x="6067" y="545"/>
                </a:lnTo>
                <a:lnTo>
                  <a:pt x="6065" y="558"/>
                </a:lnTo>
                <a:lnTo>
                  <a:pt x="6064" y="562"/>
                </a:lnTo>
                <a:lnTo>
                  <a:pt x="6063" y="566"/>
                </a:lnTo>
                <a:lnTo>
                  <a:pt x="6062" y="569"/>
                </a:lnTo>
                <a:lnTo>
                  <a:pt x="6061" y="572"/>
                </a:lnTo>
                <a:lnTo>
                  <a:pt x="6059" y="573"/>
                </a:lnTo>
                <a:lnTo>
                  <a:pt x="6058" y="575"/>
                </a:lnTo>
                <a:lnTo>
                  <a:pt x="6056" y="576"/>
                </a:lnTo>
                <a:lnTo>
                  <a:pt x="6054" y="576"/>
                </a:lnTo>
                <a:lnTo>
                  <a:pt x="6049" y="577"/>
                </a:lnTo>
                <a:lnTo>
                  <a:pt x="6042" y="577"/>
                </a:lnTo>
                <a:lnTo>
                  <a:pt x="6035" y="578"/>
                </a:lnTo>
                <a:lnTo>
                  <a:pt x="6026" y="580"/>
                </a:lnTo>
                <a:lnTo>
                  <a:pt x="6026" y="583"/>
                </a:lnTo>
                <a:lnTo>
                  <a:pt x="6027" y="586"/>
                </a:lnTo>
                <a:lnTo>
                  <a:pt x="6027" y="590"/>
                </a:lnTo>
                <a:lnTo>
                  <a:pt x="6027" y="592"/>
                </a:lnTo>
                <a:lnTo>
                  <a:pt x="6026" y="594"/>
                </a:lnTo>
                <a:lnTo>
                  <a:pt x="6025" y="595"/>
                </a:lnTo>
                <a:lnTo>
                  <a:pt x="6022" y="596"/>
                </a:lnTo>
                <a:lnTo>
                  <a:pt x="6019" y="596"/>
                </a:lnTo>
                <a:lnTo>
                  <a:pt x="6018" y="597"/>
                </a:lnTo>
                <a:lnTo>
                  <a:pt x="6017" y="599"/>
                </a:lnTo>
                <a:lnTo>
                  <a:pt x="6017" y="601"/>
                </a:lnTo>
                <a:lnTo>
                  <a:pt x="6018" y="604"/>
                </a:lnTo>
                <a:lnTo>
                  <a:pt x="6018" y="606"/>
                </a:lnTo>
                <a:lnTo>
                  <a:pt x="6016" y="607"/>
                </a:lnTo>
                <a:lnTo>
                  <a:pt x="6014" y="609"/>
                </a:lnTo>
                <a:lnTo>
                  <a:pt x="6006" y="615"/>
                </a:lnTo>
                <a:lnTo>
                  <a:pt x="5997" y="621"/>
                </a:lnTo>
                <a:lnTo>
                  <a:pt x="5994" y="623"/>
                </a:lnTo>
                <a:lnTo>
                  <a:pt x="5992" y="625"/>
                </a:lnTo>
                <a:lnTo>
                  <a:pt x="5986" y="635"/>
                </a:lnTo>
                <a:lnTo>
                  <a:pt x="5980" y="644"/>
                </a:lnTo>
                <a:lnTo>
                  <a:pt x="5977" y="648"/>
                </a:lnTo>
                <a:lnTo>
                  <a:pt x="5973" y="652"/>
                </a:lnTo>
                <a:lnTo>
                  <a:pt x="5969" y="656"/>
                </a:lnTo>
                <a:lnTo>
                  <a:pt x="5967" y="657"/>
                </a:lnTo>
                <a:lnTo>
                  <a:pt x="5964" y="659"/>
                </a:lnTo>
                <a:lnTo>
                  <a:pt x="5964" y="662"/>
                </a:lnTo>
                <a:lnTo>
                  <a:pt x="5962" y="663"/>
                </a:lnTo>
                <a:lnTo>
                  <a:pt x="5961" y="663"/>
                </a:lnTo>
                <a:lnTo>
                  <a:pt x="5959" y="661"/>
                </a:lnTo>
                <a:lnTo>
                  <a:pt x="5958" y="660"/>
                </a:lnTo>
                <a:lnTo>
                  <a:pt x="5957" y="659"/>
                </a:lnTo>
                <a:lnTo>
                  <a:pt x="5956" y="659"/>
                </a:lnTo>
                <a:lnTo>
                  <a:pt x="5955" y="659"/>
                </a:lnTo>
                <a:lnTo>
                  <a:pt x="5954" y="660"/>
                </a:lnTo>
                <a:lnTo>
                  <a:pt x="5953" y="663"/>
                </a:lnTo>
                <a:lnTo>
                  <a:pt x="5951" y="666"/>
                </a:lnTo>
                <a:lnTo>
                  <a:pt x="5951" y="667"/>
                </a:lnTo>
                <a:lnTo>
                  <a:pt x="5950" y="667"/>
                </a:lnTo>
                <a:lnTo>
                  <a:pt x="5948" y="668"/>
                </a:lnTo>
                <a:lnTo>
                  <a:pt x="5946" y="668"/>
                </a:lnTo>
                <a:lnTo>
                  <a:pt x="5942" y="668"/>
                </a:lnTo>
                <a:lnTo>
                  <a:pt x="5937" y="667"/>
                </a:lnTo>
                <a:lnTo>
                  <a:pt x="5933" y="667"/>
                </a:lnTo>
                <a:lnTo>
                  <a:pt x="5934" y="671"/>
                </a:lnTo>
                <a:lnTo>
                  <a:pt x="5934" y="672"/>
                </a:lnTo>
                <a:lnTo>
                  <a:pt x="5936" y="672"/>
                </a:lnTo>
                <a:lnTo>
                  <a:pt x="5939" y="673"/>
                </a:lnTo>
                <a:lnTo>
                  <a:pt x="5937" y="681"/>
                </a:lnTo>
                <a:lnTo>
                  <a:pt x="5936" y="687"/>
                </a:lnTo>
                <a:lnTo>
                  <a:pt x="5935" y="690"/>
                </a:lnTo>
                <a:lnTo>
                  <a:pt x="5933" y="692"/>
                </a:lnTo>
                <a:lnTo>
                  <a:pt x="5931" y="694"/>
                </a:lnTo>
                <a:lnTo>
                  <a:pt x="5928" y="696"/>
                </a:lnTo>
                <a:lnTo>
                  <a:pt x="5925" y="696"/>
                </a:lnTo>
                <a:lnTo>
                  <a:pt x="5923" y="696"/>
                </a:lnTo>
                <a:lnTo>
                  <a:pt x="5921" y="697"/>
                </a:lnTo>
                <a:lnTo>
                  <a:pt x="5919" y="698"/>
                </a:lnTo>
                <a:lnTo>
                  <a:pt x="5917" y="701"/>
                </a:lnTo>
                <a:lnTo>
                  <a:pt x="5916" y="705"/>
                </a:lnTo>
                <a:lnTo>
                  <a:pt x="5914" y="713"/>
                </a:lnTo>
                <a:lnTo>
                  <a:pt x="5913" y="722"/>
                </a:lnTo>
                <a:lnTo>
                  <a:pt x="5912" y="732"/>
                </a:lnTo>
                <a:lnTo>
                  <a:pt x="5913" y="743"/>
                </a:lnTo>
                <a:lnTo>
                  <a:pt x="5914" y="755"/>
                </a:lnTo>
                <a:lnTo>
                  <a:pt x="5915" y="767"/>
                </a:lnTo>
                <a:lnTo>
                  <a:pt x="5917" y="780"/>
                </a:lnTo>
                <a:lnTo>
                  <a:pt x="5921" y="805"/>
                </a:lnTo>
                <a:lnTo>
                  <a:pt x="5926" y="828"/>
                </a:lnTo>
                <a:lnTo>
                  <a:pt x="5930" y="850"/>
                </a:lnTo>
                <a:lnTo>
                  <a:pt x="5933" y="868"/>
                </a:lnTo>
                <a:lnTo>
                  <a:pt x="5950" y="855"/>
                </a:lnTo>
                <a:lnTo>
                  <a:pt x="5959" y="847"/>
                </a:lnTo>
                <a:lnTo>
                  <a:pt x="5963" y="844"/>
                </a:lnTo>
                <a:lnTo>
                  <a:pt x="5964" y="842"/>
                </a:lnTo>
                <a:lnTo>
                  <a:pt x="5967" y="833"/>
                </a:lnTo>
                <a:lnTo>
                  <a:pt x="5967" y="829"/>
                </a:lnTo>
                <a:lnTo>
                  <a:pt x="5967" y="826"/>
                </a:lnTo>
                <a:lnTo>
                  <a:pt x="5966" y="819"/>
                </a:lnTo>
                <a:lnTo>
                  <a:pt x="5966" y="818"/>
                </a:lnTo>
                <a:lnTo>
                  <a:pt x="5967" y="817"/>
                </a:lnTo>
                <a:lnTo>
                  <a:pt x="5970" y="816"/>
                </a:lnTo>
                <a:lnTo>
                  <a:pt x="5987" y="811"/>
                </a:lnTo>
                <a:lnTo>
                  <a:pt x="5986" y="801"/>
                </a:lnTo>
                <a:lnTo>
                  <a:pt x="5985" y="797"/>
                </a:lnTo>
                <a:lnTo>
                  <a:pt x="5985" y="793"/>
                </a:lnTo>
                <a:lnTo>
                  <a:pt x="5986" y="790"/>
                </a:lnTo>
                <a:lnTo>
                  <a:pt x="5987" y="786"/>
                </a:lnTo>
                <a:lnTo>
                  <a:pt x="5989" y="783"/>
                </a:lnTo>
                <a:lnTo>
                  <a:pt x="5992" y="780"/>
                </a:lnTo>
                <a:lnTo>
                  <a:pt x="5998" y="777"/>
                </a:lnTo>
                <a:lnTo>
                  <a:pt x="5998" y="772"/>
                </a:lnTo>
                <a:lnTo>
                  <a:pt x="6003" y="769"/>
                </a:lnTo>
                <a:lnTo>
                  <a:pt x="6006" y="768"/>
                </a:lnTo>
                <a:lnTo>
                  <a:pt x="6009" y="768"/>
                </a:lnTo>
                <a:lnTo>
                  <a:pt x="6012" y="768"/>
                </a:lnTo>
                <a:lnTo>
                  <a:pt x="6016" y="771"/>
                </a:lnTo>
                <a:lnTo>
                  <a:pt x="6018" y="771"/>
                </a:lnTo>
                <a:lnTo>
                  <a:pt x="6020" y="772"/>
                </a:lnTo>
                <a:lnTo>
                  <a:pt x="6026" y="766"/>
                </a:lnTo>
                <a:lnTo>
                  <a:pt x="6032" y="760"/>
                </a:lnTo>
                <a:lnTo>
                  <a:pt x="6025" y="751"/>
                </a:lnTo>
                <a:lnTo>
                  <a:pt x="6023" y="747"/>
                </a:lnTo>
                <a:lnTo>
                  <a:pt x="6022" y="743"/>
                </a:lnTo>
                <a:lnTo>
                  <a:pt x="6021" y="739"/>
                </a:lnTo>
                <a:lnTo>
                  <a:pt x="6021" y="735"/>
                </a:lnTo>
                <a:lnTo>
                  <a:pt x="6021" y="732"/>
                </a:lnTo>
                <a:lnTo>
                  <a:pt x="6022" y="728"/>
                </a:lnTo>
                <a:lnTo>
                  <a:pt x="6024" y="726"/>
                </a:lnTo>
                <a:lnTo>
                  <a:pt x="6026" y="723"/>
                </a:lnTo>
                <a:lnTo>
                  <a:pt x="6029" y="721"/>
                </a:lnTo>
                <a:lnTo>
                  <a:pt x="6032" y="719"/>
                </a:lnTo>
                <a:lnTo>
                  <a:pt x="6036" y="718"/>
                </a:lnTo>
                <a:lnTo>
                  <a:pt x="6040" y="716"/>
                </a:lnTo>
                <a:lnTo>
                  <a:pt x="6046" y="716"/>
                </a:lnTo>
                <a:lnTo>
                  <a:pt x="6051" y="715"/>
                </a:lnTo>
                <a:lnTo>
                  <a:pt x="6051" y="710"/>
                </a:lnTo>
                <a:lnTo>
                  <a:pt x="6051" y="704"/>
                </a:lnTo>
                <a:lnTo>
                  <a:pt x="6050" y="704"/>
                </a:lnTo>
                <a:lnTo>
                  <a:pt x="6049" y="704"/>
                </a:lnTo>
                <a:lnTo>
                  <a:pt x="6046" y="704"/>
                </a:lnTo>
                <a:lnTo>
                  <a:pt x="6040" y="707"/>
                </a:lnTo>
                <a:lnTo>
                  <a:pt x="6038" y="702"/>
                </a:lnTo>
                <a:lnTo>
                  <a:pt x="6036" y="697"/>
                </a:lnTo>
                <a:lnTo>
                  <a:pt x="6034" y="693"/>
                </a:lnTo>
                <a:lnTo>
                  <a:pt x="6034" y="687"/>
                </a:lnTo>
                <a:lnTo>
                  <a:pt x="6037" y="687"/>
                </a:lnTo>
                <a:lnTo>
                  <a:pt x="6040" y="679"/>
                </a:lnTo>
                <a:lnTo>
                  <a:pt x="6046" y="679"/>
                </a:lnTo>
                <a:lnTo>
                  <a:pt x="6046" y="678"/>
                </a:lnTo>
                <a:lnTo>
                  <a:pt x="6046" y="676"/>
                </a:lnTo>
                <a:lnTo>
                  <a:pt x="6045" y="674"/>
                </a:lnTo>
                <a:lnTo>
                  <a:pt x="6045" y="672"/>
                </a:lnTo>
                <a:lnTo>
                  <a:pt x="6046" y="670"/>
                </a:lnTo>
                <a:lnTo>
                  <a:pt x="6047" y="671"/>
                </a:lnTo>
                <a:lnTo>
                  <a:pt x="6048" y="670"/>
                </a:lnTo>
                <a:lnTo>
                  <a:pt x="6049" y="669"/>
                </a:lnTo>
                <a:lnTo>
                  <a:pt x="6048" y="667"/>
                </a:lnTo>
                <a:lnTo>
                  <a:pt x="6049" y="665"/>
                </a:lnTo>
                <a:lnTo>
                  <a:pt x="6044" y="665"/>
                </a:lnTo>
                <a:lnTo>
                  <a:pt x="6040" y="665"/>
                </a:lnTo>
                <a:lnTo>
                  <a:pt x="6035" y="663"/>
                </a:lnTo>
                <a:lnTo>
                  <a:pt x="6029" y="662"/>
                </a:lnTo>
                <a:lnTo>
                  <a:pt x="6028" y="652"/>
                </a:lnTo>
                <a:lnTo>
                  <a:pt x="6028" y="647"/>
                </a:lnTo>
                <a:lnTo>
                  <a:pt x="6028" y="644"/>
                </a:lnTo>
                <a:lnTo>
                  <a:pt x="6029" y="642"/>
                </a:lnTo>
                <a:lnTo>
                  <a:pt x="6039" y="633"/>
                </a:lnTo>
                <a:lnTo>
                  <a:pt x="6049" y="625"/>
                </a:lnTo>
                <a:lnTo>
                  <a:pt x="6049" y="624"/>
                </a:lnTo>
                <a:lnTo>
                  <a:pt x="6049" y="623"/>
                </a:lnTo>
                <a:lnTo>
                  <a:pt x="6049" y="621"/>
                </a:lnTo>
                <a:lnTo>
                  <a:pt x="6048" y="619"/>
                </a:lnTo>
                <a:lnTo>
                  <a:pt x="6048" y="618"/>
                </a:lnTo>
                <a:lnTo>
                  <a:pt x="6049" y="617"/>
                </a:lnTo>
                <a:lnTo>
                  <a:pt x="6054" y="617"/>
                </a:lnTo>
                <a:lnTo>
                  <a:pt x="6054" y="613"/>
                </a:lnTo>
                <a:lnTo>
                  <a:pt x="6054" y="612"/>
                </a:lnTo>
                <a:lnTo>
                  <a:pt x="6053" y="612"/>
                </a:lnTo>
                <a:lnTo>
                  <a:pt x="6052" y="611"/>
                </a:lnTo>
                <a:lnTo>
                  <a:pt x="6051" y="610"/>
                </a:lnTo>
                <a:lnTo>
                  <a:pt x="6051" y="608"/>
                </a:lnTo>
                <a:lnTo>
                  <a:pt x="6052" y="607"/>
                </a:lnTo>
                <a:lnTo>
                  <a:pt x="6054" y="605"/>
                </a:lnTo>
                <a:lnTo>
                  <a:pt x="6056" y="603"/>
                </a:lnTo>
                <a:lnTo>
                  <a:pt x="6057" y="600"/>
                </a:lnTo>
                <a:lnTo>
                  <a:pt x="6085" y="603"/>
                </a:lnTo>
                <a:lnTo>
                  <a:pt x="6085" y="601"/>
                </a:lnTo>
                <a:lnTo>
                  <a:pt x="6085" y="599"/>
                </a:lnTo>
                <a:lnTo>
                  <a:pt x="6085" y="596"/>
                </a:lnTo>
                <a:lnTo>
                  <a:pt x="6085" y="594"/>
                </a:lnTo>
                <a:lnTo>
                  <a:pt x="6105" y="583"/>
                </a:lnTo>
                <a:lnTo>
                  <a:pt x="6103" y="589"/>
                </a:lnTo>
                <a:lnTo>
                  <a:pt x="6102" y="597"/>
                </a:lnTo>
                <a:lnTo>
                  <a:pt x="6102" y="601"/>
                </a:lnTo>
                <a:lnTo>
                  <a:pt x="6102" y="602"/>
                </a:lnTo>
                <a:lnTo>
                  <a:pt x="6102" y="603"/>
                </a:lnTo>
                <a:lnTo>
                  <a:pt x="6103" y="605"/>
                </a:lnTo>
                <a:lnTo>
                  <a:pt x="6104" y="605"/>
                </a:lnTo>
                <a:lnTo>
                  <a:pt x="6106" y="606"/>
                </a:lnTo>
                <a:lnTo>
                  <a:pt x="6108" y="606"/>
                </a:lnTo>
                <a:lnTo>
                  <a:pt x="6109" y="603"/>
                </a:lnTo>
                <a:lnTo>
                  <a:pt x="6110" y="603"/>
                </a:lnTo>
                <a:lnTo>
                  <a:pt x="6111" y="602"/>
                </a:lnTo>
                <a:lnTo>
                  <a:pt x="6112" y="602"/>
                </a:lnTo>
                <a:lnTo>
                  <a:pt x="6113" y="603"/>
                </a:lnTo>
                <a:lnTo>
                  <a:pt x="6115" y="600"/>
                </a:lnTo>
                <a:lnTo>
                  <a:pt x="6116" y="598"/>
                </a:lnTo>
                <a:lnTo>
                  <a:pt x="6119" y="592"/>
                </a:lnTo>
                <a:lnTo>
                  <a:pt x="6121" y="587"/>
                </a:lnTo>
                <a:lnTo>
                  <a:pt x="6123" y="585"/>
                </a:lnTo>
                <a:lnTo>
                  <a:pt x="6124" y="583"/>
                </a:lnTo>
                <a:lnTo>
                  <a:pt x="6130" y="579"/>
                </a:lnTo>
                <a:lnTo>
                  <a:pt x="6135" y="577"/>
                </a:lnTo>
                <a:lnTo>
                  <a:pt x="6139" y="576"/>
                </a:lnTo>
                <a:lnTo>
                  <a:pt x="6144" y="577"/>
                </a:lnTo>
                <a:lnTo>
                  <a:pt x="6149" y="578"/>
                </a:lnTo>
                <a:lnTo>
                  <a:pt x="6153" y="580"/>
                </a:lnTo>
                <a:lnTo>
                  <a:pt x="6164" y="586"/>
                </a:lnTo>
                <a:lnTo>
                  <a:pt x="6164" y="590"/>
                </a:lnTo>
                <a:lnTo>
                  <a:pt x="6164" y="594"/>
                </a:lnTo>
                <a:lnTo>
                  <a:pt x="6168" y="597"/>
                </a:lnTo>
                <a:lnTo>
                  <a:pt x="6172" y="599"/>
                </a:lnTo>
                <a:lnTo>
                  <a:pt x="6177" y="600"/>
                </a:lnTo>
                <a:lnTo>
                  <a:pt x="6181" y="603"/>
                </a:lnTo>
                <a:lnTo>
                  <a:pt x="6184" y="595"/>
                </a:lnTo>
                <a:lnTo>
                  <a:pt x="6187" y="588"/>
                </a:lnTo>
                <a:lnTo>
                  <a:pt x="6191" y="582"/>
                </a:lnTo>
                <a:lnTo>
                  <a:pt x="6193" y="580"/>
                </a:lnTo>
                <a:lnTo>
                  <a:pt x="6195" y="578"/>
                </a:lnTo>
                <a:lnTo>
                  <a:pt x="6200" y="574"/>
                </a:lnTo>
                <a:lnTo>
                  <a:pt x="6206" y="570"/>
                </a:lnTo>
                <a:lnTo>
                  <a:pt x="6212" y="567"/>
                </a:lnTo>
                <a:lnTo>
                  <a:pt x="6220" y="563"/>
                </a:lnTo>
                <a:lnTo>
                  <a:pt x="6220" y="559"/>
                </a:lnTo>
                <a:lnTo>
                  <a:pt x="6220" y="557"/>
                </a:lnTo>
                <a:lnTo>
                  <a:pt x="6219" y="557"/>
                </a:lnTo>
                <a:lnTo>
                  <a:pt x="6217" y="558"/>
                </a:lnTo>
                <a:lnTo>
                  <a:pt x="6217" y="555"/>
                </a:lnTo>
                <a:lnTo>
                  <a:pt x="6220" y="554"/>
                </a:lnTo>
                <a:lnTo>
                  <a:pt x="6222" y="555"/>
                </a:lnTo>
                <a:lnTo>
                  <a:pt x="6225" y="556"/>
                </a:lnTo>
                <a:lnTo>
                  <a:pt x="6228" y="558"/>
                </a:lnTo>
                <a:lnTo>
                  <a:pt x="6229" y="558"/>
                </a:lnTo>
                <a:lnTo>
                  <a:pt x="6231" y="558"/>
                </a:lnTo>
                <a:lnTo>
                  <a:pt x="6232" y="557"/>
                </a:lnTo>
                <a:lnTo>
                  <a:pt x="6233" y="555"/>
                </a:lnTo>
                <a:lnTo>
                  <a:pt x="6234" y="552"/>
                </a:lnTo>
                <a:lnTo>
                  <a:pt x="6233" y="548"/>
                </a:lnTo>
                <a:lnTo>
                  <a:pt x="6232" y="547"/>
                </a:lnTo>
                <a:lnTo>
                  <a:pt x="6231" y="546"/>
                </a:lnTo>
                <a:lnTo>
                  <a:pt x="6233" y="546"/>
                </a:lnTo>
                <a:lnTo>
                  <a:pt x="6235" y="546"/>
                </a:lnTo>
                <a:lnTo>
                  <a:pt x="6237" y="548"/>
                </a:lnTo>
                <a:lnTo>
                  <a:pt x="6239" y="549"/>
                </a:lnTo>
                <a:lnTo>
                  <a:pt x="6240" y="550"/>
                </a:lnTo>
                <a:lnTo>
                  <a:pt x="6243" y="549"/>
                </a:lnTo>
                <a:lnTo>
                  <a:pt x="6245" y="545"/>
                </a:lnTo>
                <a:lnTo>
                  <a:pt x="6247" y="542"/>
                </a:lnTo>
                <a:lnTo>
                  <a:pt x="6248" y="541"/>
                </a:lnTo>
                <a:lnTo>
                  <a:pt x="6252" y="539"/>
                </a:lnTo>
                <a:lnTo>
                  <a:pt x="6256" y="539"/>
                </a:lnTo>
                <a:lnTo>
                  <a:pt x="6261" y="539"/>
                </a:lnTo>
                <a:lnTo>
                  <a:pt x="6263" y="539"/>
                </a:lnTo>
                <a:lnTo>
                  <a:pt x="6265" y="538"/>
                </a:lnTo>
                <a:lnTo>
                  <a:pt x="6268" y="537"/>
                </a:lnTo>
                <a:lnTo>
                  <a:pt x="6271" y="535"/>
                </a:lnTo>
                <a:lnTo>
                  <a:pt x="6277" y="530"/>
                </a:lnTo>
                <a:lnTo>
                  <a:pt x="6284" y="526"/>
                </a:lnTo>
                <a:lnTo>
                  <a:pt x="6287" y="525"/>
                </a:lnTo>
                <a:lnTo>
                  <a:pt x="6290" y="524"/>
                </a:lnTo>
                <a:lnTo>
                  <a:pt x="6294" y="523"/>
                </a:lnTo>
                <a:lnTo>
                  <a:pt x="6297" y="523"/>
                </a:lnTo>
                <a:lnTo>
                  <a:pt x="6303" y="524"/>
                </a:lnTo>
                <a:lnTo>
                  <a:pt x="6308" y="525"/>
                </a:lnTo>
                <a:lnTo>
                  <a:pt x="6314" y="526"/>
                </a:lnTo>
                <a:lnTo>
                  <a:pt x="6324" y="529"/>
                </a:lnTo>
                <a:lnTo>
                  <a:pt x="6329" y="530"/>
                </a:lnTo>
                <a:lnTo>
                  <a:pt x="6333" y="530"/>
                </a:lnTo>
                <a:lnTo>
                  <a:pt x="6338" y="524"/>
                </a:lnTo>
                <a:lnTo>
                  <a:pt x="6341" y="521"/>
                </a:lnTo>
                <a:lnTo>
                  <a:pt x="6339" y="516"/>
                </a:lnTo>
                <a:lnTo>
                  <a:pt x="6339" y="512"/>
                </a:lnTo>
                <a:lnTo>
                  <a:pt x="6340" y="511"/>
                </a:lnTo>
                <a:lnTo>
                  <a:pt x="6341" y="510"/>
                </a:lnTo>
                <a:lnTo>
                  <a:pt x="6340" y="509"/>
                </a:lnTo>
                <a:lnTo>
                  <a:pt x="6339" y="509"/>
                </a:lnTo>
                <a:lnTo>
                  <a:pt x="6337" y="508"/>
                </a:lnTo>
                <a:lnTo>
                  <a:pt x="6335" y="508"/>
                </a:lnTo>
                <a:lnTo>
                  <a:pt x="6333" y="507"/>
                </a:lnTo>
                <a:lnTo>
                  <a:pt x="6331" y="502"/>
                </a:lnTo>
                <a:lnTo>
                  <a:pt x="6327" y="492"/>
                </a:lnTo>
                <a:lnTo>
                  <a:pt x="6321" y="476"/>
                </a:lnTo>
                <a:lnTo>
                  <a:pt x="6319" y="476"/>
                </a:lnTo>
                <a:lnTo>
                  <a:pt x="6318" y="475"/>
                </a:lnTo>
                <a:lnTo>
                  <a:pt x="6319" y="473"/>
                </a:lnTo>
                <a:lnTo>
                  <a:pt x="6319" y="470"/>
                </a:lnTo>
                <a:lnTo>
                  <a:pt x="6315" y="471"/>
                </a:lnTo>
                <a:lnTo>
                  <a:pt x="6310" y="473"/>
                </a:lnTo>
                <a:lnTo>
                  <a:pt x="6311" y="474"/>
                </a:lnTo>
                <a:lnTo>
                  <a:pt x="6309" y="475"/>
                </a:lnTo>
                <a:lnTo>
                  <a:pt x="6304" y="476"/>
                </a:lnTo>
                <a:lnTo>
                  <a:pt x="6304" y="470"/>
                </a:lnTo>
                <a:lnTo>
                  <a:pt x="6307" y="468"/>
                </a:lnTo>
                <a:lnTo>
                  <a:pt x="6310" y="462"/>
                </a:lnTo>
                <a:lnTo>
                  <a:pt x="6304" y="462"/>
                </a:lnTo>
                <a:lnTo>
                  <a:pt x="6297" y="462"/>
                </a:lnTo>
                <a:lnTo>
                  <a:pt x="6291" y="462"/>
                </a:lnTo>
                <a:lnTo>
                  <a:pt x="6285" y="462"/>
                </a:lnTo>
                <a:lnTo>
                  <a:pt x="6285" y="456"/>
                </a:lnTo>
                <a:lnTo>
                  <a:pt x="6298" y="455"/>
                </a:lnTo>
                <a:lnTo>
                  <a:pt x="6304" y="454"/>
                </a:lnTo>
                <a:lnTo>
                  <a:pt x="6307" y="454"/>
                </a:lnTo>
                <a:lnTo>
                  <a:pt x="6313" y="459"/>
                </a:lnTo>
                <a:lnTo>
                  <a:pt x="6316" y="460"/>
                </a:lnTo>
                <a:lnTo>
                  <a:pt x="6321" y="461"/>
                </a:lnTo>
                <a:lnTo>
                  <a:pt x="6332" y="461"/>
                </a:lnTo>
                <a:lnTo>
                  <a:pt x="6347" y="462"/>
                </a:lnTo>
                <a:lnTo>
                  <a:pt x="6358" y="454"/>
                </a:lnTo>
                <a:lnTo>
                  <a:pt x="6360" y="451"/>
                </a:lnTo>
                <a:lnTo>
                  <a:pt x="6361" y="448"/>
                </a:lnTo>
                <a:lnTo>
                  <a:pt x="6362" y="442"/>
                </a:lnTo>
                <a:lnTo>
                  <a:pt x="6363" y="436"/>
                </a:lnTo>
                <a:lnTo>
                  <a:pt x="6364" y="431"/>
                </a:lnTo>
                <a:lnTo>
                  <a:pt x="6355" y="428"/>
                </a:lnTo>
                <a:lnTo>
                  <a:pt x="6355" y="427"/>
                </a:lnTo>
                <a:lnTo>
                  <a:pt x="6355" y="426"/>
                </a:lnTo>
                <a:lnTo>
                  <a:pt x="6355" y="422"/>
                </a:lnTo>
                <a:lnTo>
                  <a:pt x="6356" y="421"/>
                </a:lnTo>
                <a:lnTo>
                  <a:pt x="6356" y="419"/>
                </a:lnTo>
                <a:lnTo>
                  <a:pt x="6357" y="419"/>
                </a:lnTo>
                <a:lnTo>
                  <a:pt x="6358" y="420"/>
                </a:lnTo>
                <a:lnTo>
                  <a:pt x="6358" y="418"/>
                </a:lnTo>
                <a:lnTo>
                  <a:pt x="6358" y="414"/>
                </a:lnTo>
                <a:lnTo>
                  <a:pt x="6358" y="409"/>
                </a:lnTo>
                <a:lnTo>
                  <a:pt x="6363" y="407"/>
                </a:lnTo>
                <a:lnTo>
                  <a:pt x="6367" y="407"/>
                </a:lnTo>
                <a:lnTo>
                  <a:pt x="6369" y="406"/>
                </a:lnTo>
                <a:lnTo>
                  <a:pt x="6366" y="414"/>
                </a:lnTo>
                <a:lnTo>
                  <a:pt x="6367" y="413"/>
                </a:lnTo>
                <a:lnTo>
                  <a:pt x="6368" y="413"/>
                </a:lnTo>
                <a:lnTo>
                  <a:pt x="6369" y="414"/>
                </a:lnTo>
                <a:lnTo>
                  <a:pt x="6372" y="417"/>
                </a:lnTo>
                <a:lnTo>
                  <a:pt x="6369" y="418"/>
                </a:lnTo>
                <a:lnTo>
                  <a:pt x="6367" y="420"/>
                </a:lnTo>
                <a:lnTo>
                  <a:pt x="6366" y="421"/>
                </a:lnTo>
                <a:lnTo>
                  <a:pt x="6366" y="423"/>
                </a:lnTo>
                <a:lnTo>
                  <a:pt x="6366" y="425"/>
                </a:lnTo>
                <a:lnTo>
                  <a:pt x="6367" y="427"/>
                </a:lnTo>
                <a:lnTo>
                  <a:pt x="6368" y="429"/>
                </a:lnTo>
                <a:lnTo>
                  <a:pt x="6370" y="431"/>
                </a:lnTo>
                <a:lnTo>
                  <a:pt x="6373" y="435"/>
                </a:lnTo>
                <a:lnTo>
                  <a:pt x="6377" y="438"/>
                </a:lnTo>
                <a:lnTo>
                  <a:pt x="6383" y="442"/>
                </a:lnTo>
                <a:lnTo>
                  <a:pt x="6385" y="441"/>
                </a:lnTo>
                <a:lnTo>
                  <a:pt x="6385" y="440"/>
                </a:lnTo>
                <a:lnTo>
                  <a:pt x="6385" y="439"/>
                </a:lnTo>
                <a:lnTo>
                  <a:pt x="6385" y="438"/>
                </a:lnTo>
                <a:lnTo>
                  <a:pt x="6383" y="437"/>
                </a:lnTo>
                <a:lnTo>
                  <a:pt x="6395" y="431"/>
                </a:lnTo>
                <a:lnTo>
                  <a:pt x="6400" y="430"/>
                </a:lnTo>
                <a:lnTo>
                  <a:pt x="6404" y="429"/>
                </a:lnTo>
                <a:lnTo>
                  <a:pt x="6408" y="430"/>
                </a:lnTo>
                <a:lnTo>
                  <a:pt x="6412" y="431"/>
                </a:lnTo>
                <a:lnTo>
                  <a:pt x="6416" y="435"/>
                </a:lnTo>
                <a:lnTo>
                  <a:pt x="6420" y="440"/>
                </a:lnTo>
                <a:lnTo>
                  <a:pt x="6424" y="442"/>
                </a:lnTo>
                <a:lnTo>
                  <a:pt x="6427" y="444"/>
                </a:lnTo>
                <a:lnTo>
                  <a:pt x="6428" y="445"/>
                </a:lnTo>
                <a:lnTo>
                  <a:pt x="6428" y="449"/>
                </a:lnTo>
                <a:lnTo>
                  <a:pt x="6427" y="452"/>
                </a:lnTo>
                <a:lnTo>
                  <a:pt x="6426" y="455"/>
                </a:lnTo>
                <a:lnTo>
                  <a:pt x="6425" y="456"/>
                </a:lnTo>
                <a:lnTo>
                  <a:pt x="6426" y="457"/>
                </a:lnTo>
                <a:lnTo>
                  <a:pt x="6428" y="458"/>
                </a:lnTo>
                <a:lnTo>
                  <a:pt x="6432" y="460"/>
                </a:lnTo>
                <a:lnTo>
                  <a:pt x="6437" y="462"/>
                </a:lnTo>
                <a:lnTo>
                  <a:pt x="6443" y="464"/>
                </a:lnTo>
                <a:lnTo>
                  <a:pt x="6455" y="467"/>
                </a:lnTo>
                <a:lnTo>
                  <a:pt x="6465" y="470"/>
                </a:lnTo>
                <a:lnTo>
                  <a:pt x="6465" y="476"/>
                </a:lnTo>
                <a:lnTo>
                  <a:pt x="6472" y="473"/>
                </a:lnTo>
                <a:lnTo>
                  <a:pt x="6479" y="470"/>
                </a:lnTo>
                <a:lnTo>
                  <a:pt x="6479" y="476"/>
                </a:lnTo>
                <a:lnTo>
                  <a:pt x="6486" y="476"/>
                </a:lnTo>
                <a:lnTo>
                  <a:pt x="6491" y="476"/>
                </a:lnTo>
                <a:lnTo>
                  <a:pt x="6494" y="476"/>
                </a:lnTo>
                <a:lnTo>
                  <a:pt x="6496" y="476"/>
                </a:lnTo>
                <a:lnTo>
                  <a:pt x="6496" y="475"/>
                </a:lnTo>
                <a:lnTo>
                  <a:pt x="6495" y="472"/>
                </a:lnTo>
                <a:lnTo>
                  <a:pt x="6492" y="468"/>
                </a:lnTo>
                <a:lnTo>
                  <a:pt x="6487" y="462"/>
                </a:lnTo>
                <a:lnTo>
                  <a:pt x="6487" y="456"/>
                </a:lnTo>
                <a:lnTo>
                  <a:pt x="6493" y="457"/>
                </a:lnTo>
                <a:lnTo>
                  <a:pt x="6499" y="456"/>
                </a:lnTo>
                <a:lnTo>
                  <a:pt x="6498" y="451"/>
                </a:lnTo>
                <a:lnTo>
                  <a:pt x="6499" y="445"/>
                </a:lnTo>
                <a:lnTo>
                  <a:pt x="6494" y="447"/>
                </a:lnTo>
                <a:lnTo>
                  <a:pt x="6492" y="448"/>
                </a:lnTo>
                <a:lnTo>
                  <a:pt x="6490" y="448"/>
                </a:lnTo>
                <a:lnTo>
                  <a:pt x="6490" y="440"/>
                </a:lnTo>
                <a:lnTo>
                  <a:pt x="6487" y="437"/>
                </a:lnTo>
                <a:lnTo>
                  <a:pt x="6499" y="437"/>
                </a:lnTo>
                <a:lnTo>
                  <a:pt x="6499" y="440"/>
                </a:lnTo>
                <a:lnTo>
                  <a:pt x="6501" y="440"/>
                </a:lnTo>
                <a:lnTo>
                  <a:pt x="6505" y="439"/>
                </a:lnTo>
                <a:lnTo>
                  <a:pt x="6510" y="440"/>
                </a:lnTo>
                <a:lnTo>
                  <a:pt x="6518" y="442"/>
                </a:lnTo>
                <a:lnTo>
                  <a:pt x="6517" y="443"/>
                </a:lnTo>
                <a:lnTo>
                  <a:pt x="6518" y="445"/>
                </a:lnTo>
                <a:lnTo>
                  <a:pt x="6519" y="445"/>
                </a:lnTo>
                <a:lnTo>
                  <a:pt x="6520" y="445"/>
                </a:lnTo>
                <a:lnTo>
                  <a:pt x="6521" y="445"/>
                </a:lnTo>
                <a:lnTo>
                  <a:pt x="6521" y="443"/>
                </a:lnTo>
                <a:lnTo>
                  <a:pt x="6520" y="440"/>
                </a:lnTo>
                <a:lnTo>
                  <a:pt x="6518" y="434"/>
                </a:lnTo>
                <a:lnTo>
                  <a:pt x="6524" y="434"/>
                </a:lnTo>
                <a:lnTo>
                  <a:pt x="6525" y="431"/>
                </a:lnTo>
                <a:lnTo>
                  <a:pt x="6525" y="428"/>
                </a:lnTo>
                <a:lnTo>
                  <a:pt x="6527" y="423"/>
                </a:lnTo>
                <a:lnTo>
                  <a:pt x="6532" y="423"/>
                </a:lnTo>
                <a:lnTo>
                  <a:pt x="6521" y="417"/>
                </a:lnTo>
                <a:lnTo>
                  <a:pt x="6515" y="415"/>
                </a:lnTo>
                <a:lnTo>
                  <a:pt x="6510" y="411"/>
                </a:lnTo>
                <a:lnTo>
                  <a:pt x="6507" y="409"/>
                </a:lnTo>
                <a:lnTo>
                  <a:pt x="6504" y="405"/>
                </a:lnTo>
                <a:lnTo>
                  <a:pt x="6498" y="398"/>
                </a:lnTo>
                <a:lnTo>
                  <a:pt x="6492" y="390"/>
                </a:lnTo>
                <a:lnTo>
                  <a:pt x="6488" y="388"/>
                </a:lnTo>
                <a:lnTo>
                  <a:pt x="6484" y="386"/>
                </a:lnTo>
                <a:lnTo>
                  <a:pt x="6477" y="385"/>
                </a:lnTo>
                <a:lnTo>
                  <a:pt x="6469" y="385"/>
                </a:lnTo>
                <a:lnTo>
                  <a:pt x="6454" y="386"/>
                </a:lnTo>
                <a:lnTo>
                  <a:pt x="6454" y="387"/>
                </a:lnTo>
                <a:lnTo>
                  <a:pt x="6453" y="387"/>
                </a:lnTo>
                <a:lnTo>
                  <a:pt x="6451" y="389"/>
                </a:lnTo>
                <a:lnTo>
                  <a:pt x="6448" y="392"/>
                </a:lnTo>
                <a:lnTo>
                  <a:pt x="6450" y="393"/>
                </a:lnTo>
                <a:lnTo>
                  <a:pt x="6451" y="394"/>
                </a:lnTo>
                <a:lnTo>
                  <a:pt x="6451" y="397"/>
                </a:lnTo>
                <a:lnTo>
                  <a:pt x="6451" y="400"/>
                </a:lnTo>
                <a:lnTo>
                  <a:pt x="6453" y="401"/>
                </a:lnTo>
                <a:lnTo>
                  <a:pt x="6451" y="400"/>
                </a:lnTo>
                <a:lnTo>
                  <a:pt x="6446" y="400"/>
                </a:lnTo>
                <a:lnTo>
                  <a:pt x="6442" y="400"/>
                </a:lnTo>
                <a:lnTo>
                  <a:pt x="6444" y="400"/>
                </a:lnTo>
                <a:lnTo>
                  <a:pt x="6446" y="399"/>
                </a:lnTo>
                <a:lnTo>
                  <a:pt x="6447" y="397"/>
                </a:lnTo>
                <a:lnTo>
                  <a:pt x="6447" y="395"/>
                </a:lnTo>
                <a:lnTo>
                  <a:pt x="6446" y="389"/>
                </a:lnTo>
                <a:lnTo>
                  <a:pt x="6443" y="383"/>
                </a:lnTo>
                <a:lnTo>
                  <a:pt x="6440" y="377"/>
                </a:lnTo>
                <a:lnTo>
                  <a:pt x="6437" y="372"/>
                </a:lnTo>
                <a:lnTo>
                  <a:pt x="6434" y="366"/>
                </a:lnTo>
                <a:lnTo>
                  <a:pt x="6431" y="368"/>
                </a:lnTo>
                <a:lnTo>
                  <a:pt x="6430" y="369"/>
                </a:lnTo>
                <a:lnTo>
                  <a:pt x="6428" y="369"/>
                </a:lnTo>
                <a:lnTo>
                  <a:pt x="6425" y="365"/>
                </a:lnTo>
                <a:lnTo>
                  <a:pt x="6423" y="361"/>
                </a:lnTo>
                <a:lnTo>
                  <a:pt x="6421" y="360"/>
                </a:lnTo>
                <a:lnTo>
                  <a:pt x="6419" y="360"/>
                </a:lnTo>
                <a:lnTo>
                  <a:pt x="6414" y="361"/>
                </a:lnTo>
                <a:lnTo>
                  <a:pt x="6409" y="362"/>
                </a:lnTo>
                <a:lnTo>
                  <a:pt x="6407" y="361"/>
                </a:lnTo>
                <a:lnTo>
                  <a:pt x="6406" y="361"/>
                </a:lnTo>
                <a:lnTo>
                  <a:pt x="6405" y="359"/>
                </a:lnTo>
                <a:lnTo>
                  <a:pt x="6405" y="357"/>
                </a:lnTo>
                <a:lnTo>
                  <a:pt x="6406" y="354"/>
                </a:lnTo>
                <a:lnTo>
                  <a:pt x="6406" y="352"/>
                </a:lnTo>
                <a:lnTo>
                  <a:pt x="6405" y="351"/>
                </a:lnTo>
                <a:lnTo>
                  <a:pt x="6404" y="351"/>
                </a:lnTo>
                <a:lnTo>
                  <a:pt x="6402" y="350"/>
                </a:lnTo>
                <a:lnTo>
                  <a:pt x="6397" y="349"/>
                </a:lnTo>
                <a:lnTo>
                  <a:pt x="6397" y="344"/>
                </a:lnTo>
                <a:lnTo>
                  <a:pt x="6394" y="343"/>
                </a:lnTo>
                <a:lnTo>
                  <a:pt x="6390" y="343"/>
                </a:lnTo>
                <a:lnTo>
                  <a:pt x="6387" y="343"/>
                </a:lnTo>
                <a:lnTo>
                  <a:pt x="6385" y="342"/>
                </a:lnTo>
                <a:lnTo>
                  <a:pt x="6383" y="341"/>
                </a:lnTo>
                <a:lnTo>
                  <a:pt x="6380" y="337"/>
                </a:lnTo>
                <a:lnTo>
                  <a:pt x="6377" y="332"/>
                </a:lnTo>
                <a:lnTo>
                  <a:pt x="6375" y="330"/>
                </a:lnTo>
                <a:lnTo>
                  <a:pt x="6373" y="327"/>
                </a:lnTo>
                <a:lnTo>
                  <a:pt x="6371" y="325"/>
                </a:lnTo>
                <a:lnTo>
                  <a:pt x="6369" y="324"/>
                </a:lnTo>
                <a:lnTo>
                  <a:pt x="6367" y="324"/>
                </a:lnTo>
                <a:lnTo>
                  <a:pt x="6363" y="324"/>
                </a:lnTo>
                <a:lnTo>
                  <a:pt x="6360" y="325"/>
                </a:lnTo>
                <a:lnTo>
                  <a:pt x="6359" y="325"/>
                </a:lnTo>
                <a:lnTo>
                  <a:pt x="6358" y="324"/>
                </a:lnTo>
                <a:lnTo>
                  <a:pt x="6348" y="316"/>
                </a:lnTo>
                <a:lnTo>
                  <a:pt x="6338" y="307"/>
                </a:lnTo>
                <a:lnTo>
                  <a:pt x="6337" y="305"/>
                </a:lnTo>
                <a:lnTo>
                  <a:pt x="6337" y="303"/>
                </a:lnTo>
                <a:lnTo>
                  <a:pt x="6337" y="301"/>
                </a:lnTo>
                <a:lnTo>
                  <a:pt x="6336" y="300"/>
                </a:lnTo>
                <a:lnTo>
                  <a:pt x="6335" y="299"/>
                </a:lnTo>
                <a:lnTo>
                  <a:pt x="6330" y="296"/>
                </a:lnTo>
                <a:lnTo>
                  <a:pt x="6325" y="295"/>
                </a:lnTo>
                <a:lnTo>
                  <a:pt x="6321" y="295"/>
                </a:lnTo>
                <a:lnTo>
                  <a:pt x="6317" y="296"/>
                </a:lnTo>
                <a:lnTo>
                  <a:pt x="6311" y="298"/>
                </a:lnTo>
                <a:lnTo>
                  <a:pt x="6309" y="299"/>
                </a:lnTo>
                <a:lnTo>
                  <a:pt x="6307" y="299"/>
                </a:lnTo>
                <a:lnTo>
                  <a:pt x="6304" y="298"/>
                </a:lnTo>
                <a:lnTo>
                  <a:pt x="6302" y="296"/>
                </a:lnTo>
                <a:lnTo>
                  <a:pt x="6299" y="292"/>
                </a:lnTo>
                <a:lnTo>
                  <a:pt x="6296" y="288"/>
                </a:lnTo>
                <a:lnTo>
                  <a:pt x="6295" y="286"/>
                </a:lnTo>
                <a:lnTo>
                  <a:pt x="6293" y="285"/>
                </a:lnTo>
                <a:lnTo>
                  <a:pt x="6289" y="283"/>
                </a:lnTo>
                <a:lnTo>
                  <a:pt x="6285" y="283"/>
                </a:lnTo>
                <a:lnTo>
                  <a:pt x="6281" y="283"/>
                </a:lnTo>
                <a:lnTo>
                  <a:pt x="6276" y="282"/>
                </a:lnTo>
                <a:lnTo>
                  <a:pt x="6275" y="280"/>
                </a:lnTo>
                <a:lnTo>
                  <a:pt x="6273" y="278"/>
                </a:lnTo>
                <a:lnTo>
                  <a:pt x="6272" y="275"/>
                </a:lnTo>
                <a:lnTo>
                  <a:pt x="6271" y="274"/>
                </a:lnTo>
                <a:lnTo>
                  <a:pt x="6265" y="273"/>
                </a:lnTo>
                <a:lnTo>
                  <a:pt x="6259" y="273"/>
                </a:lnTo>
                <a:lnTo>
                  <a:pt x="6246" y="274"/>
                </a:lnTo>
                <a:lnTo>
                  <a:pt x="6234" y="276"/>
                </a:lnTo>
                <a:lnTo>
                  <a:pt x="6228" y="276"/>
                </a:lnTo>
                <a:lnTo>
                  <a:pt x="6223" y="276"/>
                </a:lnTo>
                <a:lnTo>
                  <a:pt x="6220" y="271"/>
                </a:lnTo>
                <a:lnTo>
                  <a:pt x="6215" y="272"/>
                </a:lnTo>
                <a:lnTo>
                  <a:pt x="6209" y="273"/>
                </a:lnTo>
                <a:lnTo>
                  <a:pt x="6202" y="274"/>
                </a:lnTo>
                <a:lnTo>
                  <a:pt x="6198" y="274"/>
                </a:lnTo>
                <a:lnTo>
                  <a:pt x="6195" y="274"/>
                </a:lnTo>
                <a:lnTo>
                  <a:pt x="6191" y="270"/>
                </a:lnTo>
                <a:lnTo>
                  <a:pt x="6189" y="268"/>
                </a:lnTo>
                <a:lnTo>
                  <a:pt x="6187" y="268"/>
                </a:lnTo>
                <a:lnTo>
                  <a:pt x="6186" y="268"/>
                </a:lnTo>
                <a:lnTo>
                  <a:pt x="6184" y="285"/>
                </a:lnTo>
                <a:lnTo>
                  <a:pt x="6184" y="286"/>
                </a:lnTo>
                <a:lnTo>
                  <a:pt x="6185" y="287"/>
                </a:lnTo>
                <a:lnTo>
                  <a:pt x="6188" y="290"/>
                </a:lnTo>
                <a:lnTo>
                  <a:pt x="6195" y="293"/>
                </a:lnTo>
                <a:lnTo>
                  <a:pt x="6193" y="296"/>
                </a:lnTo>
                <a:lnTo>
                  <a:pt x="6192" y="298"/>
                </a:lnTo>
                <a:lnTo>
                  <a:pt x="6192" y="299"/>
                </a:lnTo>
                <a:lnTo>
                  <a:pt x="6195" y="307"/>
                </a:lnTo>
                <a:lnTo>
                  <a:pt x="6192" y="308"/>
                </a:lnTo>
                <a:lnTo>
                  <a:pt x="6191" y="308"/>
                </a:lnTo>
                <a:lnTo>
                  <a:pt x="6189" y="310"/>
                </a:lnTo>
                <a:lnTo>
                  <a:pt x="6185" y="315"/>
                </a:lnTo>
                <a:lnTo>
                  <a:pt x="6181" y="321"/>
                </a:lnTo>
                <a:lnTo>
                  <a:pt x="6176" y="319"/>
                </a:lnTo>
                <a:lnTo>
                  <a:pt x="6172" y="319"/>
                </a:lnTo>
                <a:lnTo>
                  <a:pt x="6169" y="324"/>
                </a:lnTo>
                <a:lnTo>
                  <a:pt x="6162" y="324"/>
                </a:lnTo>
                <a:lnTo>
                  <a:pt x="6159" y="324"/>
                </a:lnTo>
                <a:lnTo>
                  <a:pt x="6155" y="324"/>
                </a:lnTo>
                <a:lnTo>
                  <a:pt x="6155" y="321"/>
                </a:lnTo>
                <a:lnTo>
                  <a:pt x="6154" y="319"/>
                </a:lnTo>
                <a:lnTo>
                  <a:pt x="6154" y="314"/>
                </a:lnTo>
                <a:lnTo>
                  <a:pt x="6154" y="309"/>
                </a:lnTo>
                <a:lnTo>
                  <a:pt x="6153" y="307"/>
                </a:lnTo>
                <a:lnTo>
                  <a:pt x="6153" y="304"/>
                </a:lnTo>
                <a:lnTo>
                  <a:pt x="6144" y="302"/>
                </a:lnTo>
                <a:lnTo>
                  <a:pt x="6145" y="301"/>
                </a:lnTo>
                <a:lnTo>
                  <a:pt x="6145" y="300"/>
                </a:lnTo>
                <a:lnTo>
                  <a:pt x="6145" y="296"/>
                </a:lnTo>
                <a:lnTo>
                  <a:pt x="6144" y="288"/>
                </a:lnTo>
                <a:lnTo>
                  <a:pt x="6133" y="294"/>
                </a:lnTo>
                <a:lnTo>
                  <a:pt x="6127" y="297"/>
                </a:lnTo>
                <a:lnTo>
                  <a:pt x="6124" y="298"/>
                </a:lnTo>
                <a:lnTo>
                  <a:pt x="6122" y="299"/>
                </a:lnTo>
                <a:lnTo>
                  <a:pt x="6119" y="299"/>
                </a:lnTo>
                <a:lnTo>
                  <a:pt x="6116" y="298"/>
                </a:lnTo>
                <a:lnTo>
                  <a:pt x="6115" y="298"/>
                </a:lnTo>
                <a:lnTo>
                  <a:pt x="6114" y="296"/>
                </a:lnTo>
                <a:lnTo>
                  <a:pt x="6114" y="294"/>
                </a:lnTo>
                <a:lnTo>
                  <a:pt x="6115" y="294"/>
                </a:lnTo>
                <a:lnTo>
                  <a:pt x="6116" y="293"/>
                </a:lnTo>
                <a:lnTo>
                  <a:pt x="6109" y="292"/>
                </a:lnTo>
                <a:lnTo>
                  <a:pt x="6102" y="290"/>
                </a:lnTo>
                <a:lnTo>
                  <a:pt x="6095" y="290"/>
                </a:lnTo>
                <a:lnTo>
                  <a:pt x="6092" y="290"/>
                </a:lnTo>
                <a:lnTo>
                  <a:pt x="6088" y="290"/>
                </a:lnTo>
                <a:lnTo>
                  <a:pt x="6086" y="291"/>
                </a:lnTo>
                <a:lnTo>
                  <a:pt x="6084" y="293"/>
                </a:lnTo>
                <a:lnTo>
                  <a:pt x="6082" y="295"/>
                </a:lnTo>
                <a:lnTo>
                  <a:pt x="6079" y="296"/>
                </a:lnTo>
                <a:lnTo>
                  <a:pt x="6078" y="295"/>
                </a:lnTo>
                <a:lnTo>
                  <a:pt x="6078" y="293"/>
                </a:lnTo>
                <a:lnTo>
                  <a:pt x="6077" y="288"/>
                </a:lnTo>
                <a:lnTo>
                  <a:pt x="6051" y="288"/>
                </a:lnTo>
                <a:lnTo>
                  <a:pt x="6046" y="288"/>
                </a:lnTo>
                <a:lnTo>
                  <a:pt x="6041" y="288"/>
                </a:lnTo>
                <a:lnTo>
                  <a:pt x="6036" y="289"/>
                </a:lnTo>
                <a:lnTo>
                  <a:pt x="6032" y="290"/>
                </a:lnTo>
                <a:lnTo>
                  <a:pt x="6028" y="292"/>
                </a:lnTo>
                <a:lnTo>
                  <a:pt x="6025" y="294"/>
                </a:lnTo>
                <a:lnTo>
                  <a:pt x="6022" y="296"/>
                </a:lnTo>
                <a:lnTo>
                  <a:pt x="6019" y="299"/>
                </a:lnTo>
                <a:lnTo>
                  <a:pt x="6017" y="303"/>
                </a:lnTo>
                <a:lnTo>
                  <a:pt x="6015" y="307"/>
                </a:lnTo>
                <a:lnTo>
                  <a:pt x="6013" y="313"/>
                </a:lnTo>
                <a:lnTo>
                  <a:pt x="6012" y="319"/>
                </a:lnTo>
                <a:lnTo>
                  <a:pt x="6008" y="306"/>
                </a:lnTo>
                <a:lnTo>
                  <a:pt x="6004" y="293"/>
                </a:lnTo>
                <a:lnTo>
                  <a:pt x="5999" y="293"/>
                </a:lnTo>
                <a:lnTo>
                  <a:pt x="5997" y="292"/>
                </a:lnTo>
                <a:lnTo>
                  <a:pt x="5996" y="292"/>
                </a:lnTo>
                <a:lnTo>
                  <a:pt x="5995" y="292"/>
                </a:lnTo>
                <a:lnTo>
                  <a:pt x="5992" y="290"/>
                </a:lnTo>
                <a:lnTo>
                  <a:pt x="5993" y="288"/>
                </a:lnTo>
                <a:lnTo>
                  <a:pt x="5994" y="284"/>
                </a:lnTo>
                <a:lnTo>
                  <a:pt x="5995" y="281"/>
                </a:lnTo>
                <a:lnTo>
                  <a:pt x="5994" y="279"/>
                </a:lnTo>
                <a:lnTo>
                  <a:pt x="5994" y="278"/>
                </a:lnTo>
                <a:lnTo>
                  <a:pt x="5992" y="276"/>
                </a:lnTo>
                <a:lnTo>
                  <a:pt x="5995" y="276"/>
                </a:lnTo>
                <a:lnTo>
                  <a:pt x="5996" y="276"/>
                </a:lnTo>
                <a:lnTo>
                  <a:pt x="5997" y="276"/>
                </a:lnTo>
                <a:lnTo>
                  <a:pt x="5998" y="274"/>
                </a:lnTo>
                <a:lnTo>
                  <a:pt x="5990" y="268"/>
                </a:lnTo>
                <a:lnTo>
                  <a:pt x="5986" y="265"/>
                </a:lnTo>
                <a:lnTo>
                  <a:pt x="5981" y="262"/>
                </a:lnTo>
                <a:lnTo>
                  <a:pt x="5980" y="261"/>
                </a:lnTo>
                <a:lnTo>
                  <a:pt x="5979" y="258"/>
                </a:lnTo>
                <a:lnTo>
                  <a:pt x="5979" y="255"/>
                </a:lnTo>
                <a:lnTo>
                  <a:pt x="5978" y="254"/>
                </a:lnTo>
                <a:lnTo>
                  <a:pt x="5974" y="252"/>
                </a:lnTo>
                <a:lnTo>
                  <a:pt x="5970" y="252"/>
                </a:lnTo>
                <a:lnTo>
                  <a:pt x="5966" y="252"/>
                </a:lnTo>
                <a:lnTo>
                  <a:pt x="5964" y="252"/>
                </a:lnTo>
                <a:lnTo>
                  <a:pt x="5961" y="251"/>
                </a:lnTo>
                <a:lnTo>
                  <a:pt x="5956" y="245"/>
                </a:lnTo>
                <a:lnTo>
                  <a:pt x="5943" y="249"/>
                </a:lnTo>
                <a:lnTo>
                  <a:pt x="5934" y="252"/>
                </a:lnTo>
                <a:lnTo>
                  <a:pt x="5930" y="253"/>
                </a:lnTo>
                <a:lnTo>
                  <a:pt x="5928" y="254"/>
                </a:lnTo>
                <a:lnTo>
                  <a:pt x="5926" y="254"/>
                </a:lnTo>
                <a:lnTo>
                  <a:pt x="5925" y="253"/>
                </a:lnTo>
                <a:lnTo>
                  <a:pt x="5924" y="251"/>
                </a:lnTo>
                <a:lnTo>
                  <a:pt x="5923" y="249"/>
                </a:lnTo>
                <a:lnTo>
                  <a:pt x="5922" y="249"/>
                </a:lnTo>
                <a:lnTo>
                  <a:pt x="5922" y="248"/>
                </a:lnTo>
                <a:lnTo>
                  <a:pt x="5917" y="248"/>
                </a:lnTo>
                <a:lnTo>
                  <a:pt x="5911" y="248"/>
                </a:lnTo>
                <a:lnTo>
                  <a:pt x="5897" y="248"/>
                </a:lnTo>
                <a:lnTo>
                  <a:pt x="5888" y="254"/>
                </a:lnTo>
                <a:lnTo>
                  <a:pt x="5884" y="254"/>
                </a:lnTo>
                <a:lnTo>
                  <a:pt x="5881" y="254"/>
                </a:lnTo>
                <a:lnTo>
                  <a:pt x="5875" y="253"/>
                </a:lnTo>
                <a:lnTo>
                  <a:pt x="5873" y="252"/>
                </a:lnTo>
                <a:lnTo>
                  <a:pt x="5870" y="251"/>
                </a:lnTo>
                <a:lnTo>
                  <a:pt x="5866" y="251"/>
                </a:lnTo>
                <a:lnTo>
                  <a:pt x="5863" y="251"/>
                </a:lnTo>
                <a:lnTo>
                  <a:pt x="5857" y="257"/>
                </a:lnTo>
                <a:lnTo>
                  <a:pt x="5848" y="259"/>
                </a:lnTo>
                <a:lnTo>
                  <a:pt x="5837" y="260"/>
                </a:lnTo>
                <a:lnTo>
                  <a:pt x="5816" y="259"/>
                </a:lnTo>
                <a:lnTo>
                  <a:pt x="5807" y="259"/>
                </a:lnTo>
                <a:lnTo>
                  <a:pt x="5798" y="258"/>
                </a:lnTo>
                <a:lnTo>
                  <a:pt x="5784" y="257"/>
                </a:lnTo>
                <a:lnTo>
                  <a:pt x="5785" y="256"/>
                </a:lnTo>
                <a:lnTo>
                  <a:pt x="5786" y="256"/>
                </a:lnTo>
                <a:lnTo>
                  <a:pt x="5788" y="254"/>
                </a:lnTo>
                <a:lnTo>
                  <a:pt x="5790" y="251"/>
                </a:lnTo>
                <a:lnTo>
                  <a:pt x="5791" y="251"/>
                </a:lnTo>
                <a:lnTo>
                  <a:pt x="5792" y="251"/>
                </a:lnTo>
                <a:lnTo>
                  <a:pt x="5794" y="253"/>
                </a:lnTo>
                <a:lnTo>
                  <a:pt x="5797" y="254"/>
                </a:lnTo>
                <a:lnTo>
                  <a:pt x="5799" y="254"/>
                </a:lnTo>
                <a:lnTo>
                  <a:pt x="5801" y="254"/>
                </a:lnTo>
                <a:lnTo>
                  <a:pt x="5805" y="251"/>
                </a:lnTo>
                <a:lnTo>
                  <a:pt x="5811" y="245"/>
                </a:lnTo>
                <a:lnTo>
                  <a:pt x="5817" y="238"/>
                </a:lnTo>
                <a:lnTo>
                  <a:pt x="5821" y="234"/>
                </a:lnTo>
                <a:lnTo>
                  <a:pt x="5823" y="231"/>
                </a:lnTo>
                <a:lnTo>
                  <a:pt x="5824" y="228"/>
                </a:lnTo>
                <a:lnTo>
                  <a:pt x="5824" y="226"/>
                </a:lnTo>
                <a:lnTo>
                  <a:pt x="5824" y="225"/>
                </a:lnTo>
                <a:lnTo>
                  <a:pt x="5823" y="225"/>
                </a:lnTo>
                <a:lnTo>
                  <a:pt x="5820" y="227"/>
                </a:lnTo>
                <a:lnTo>
                  <a:pt x="5813" y="233"/>
                </a:lnTo>
                <a:lnTo>
                  <a:pt x="5809" y="237"/>
                </a:lnTo>
                <a:lnTo>
                  <a:pt x="5809" y="240"/>
                </a:lnTo>
                <a:lnTo>
                  <a:pt x="5807" y="240"/>
                </a:lnTo>
                <a:lnTo>
                  <a:pt x="5805" y="240"/>
                </a:lnTo>
                <a:lnTo>
                  <a:pt x="5803" y="239"/>
                </a:lnTo>
                <a:lnTo>
                  <a:pt x="5801" y="240"/>
                </a:lnTo>
                <a:lnTo>
                  <a:pt x="5796" y="237"/>
                </a:lnTo>
                <a:lnTo>
                  <a:pt x="5790" y="234"/>
                </a:lnTo>
                <a:lnTo>
                  <a:pt x="5790" y="232"/>
                </a:lnTo>
                <a:lnTo>
                  <a:pt x="5789" y="230"/>
                </a:lnTo>
                <a:lnTo>
                  <a:pt x="5790" y="229"/>
                </a:lnTo>
                <a:lnTo>
                  <a:pt x="5790" y="228"/>
                </a:lnTo>
                <a:lnTo>
                  <a:pt x="5791" y="228"/>
                </a:lnTo>
                <a:lnTo>
                  <a:pt x="5793" y="229"/>
                </a:lnTo>
                <a:lnTo>
                  <a:pt x="5795" y="229"/>
                </a:lnTo>
                <a:lnTo>
                  <a:pt x="5798" y="229"/>
                </a:lnTo>
                <a:lnTo>
                  <a:pt x="5804" y="231"/>
                </a:lnTo>
                <a:lnTo>
                  <a:pt x="5806" y="224"/>
                </a:lnTo>
                <a:lnTo>
                  <a:pt x="5809" y="217"/>
                </a:lnTo>
                <a:lnTo>
                  <a:pt x="5793" y="209"/>
                </a:lnTo>
                <a:lnTo>
                  <a:pt x="5784" y="205"/>
                </a:lnTo>
                <a:lnTo>
                  <a:pt x="5780" y="204"/>
                </a:lnTo>
                <a:lnTo>
                  <a:pt x="5776" y="203"/>
                </a:lnTo>
                <a:lnTo>
                  <a:pt x="5771" y="204"/>
                </a:lnTo>
                <a:lnTo>
                  <a:pt x="5769" y="205"/>
                </a:lnTo>
                <a:lnTo>
                  <a:pt x="5769" y="206"/>
                </a:lnTo>
                <a:lnTo>
                  <a:pt x="5770" y="206"/>
                </a:lnTo>
                <a:lnTo>
                  <a:pt x="5764" y="206"/>
                </a:lnTo>
                <a:lnTo>
                  <a:pt x="5759" y="205"/>
                </a:lnTo>
                <a:lnTo>
                  <a:pt x="5756" y="205"/>
                </a:lnTo>
                <a:lnTo>
                  <a:pt x="5753" y="206"/>
                </a:lnTo>
                <a:lnTo>
                  <a:pt x="5750" y="207"/>
                </a:lnTo>
                <a:lnTo>
                  <a:pt x="5748" y="209"/>
                </a:lnTo>
                <a:lnTo>
                  <a:pt x="5747" y="210"/>
                </a:lnTo>
                <a:lnTo>
                  <a:pt x="5747" y="213"/>
                </a:lnTo>
                <a:lnTo>
                  <a:pt x="5748" y="217"/>
                </a:lnTo>
                <a:lnTo>
                  <a:pt x="5746" y="221"/>
                </a:lnTo>
                <a:lnTo>
                  <a:pt x="5745" y="224"/>
                </a:lnTo>
                <a:lnTo>
                  <a:pt x="5743" y="228"/>
                </a:lnTo>
                <a:lnTo>
                  <a:pt x="5740" y="231"/>
                </a:lnTo>
                <a:lnTo>
                  <a:pt x="5738" y="234"/>
                </a:lnTo>
                <a:lnTo>
                  <a:pt x="5735" y="237"/>
                </a:lnTo>
                <a:lnTo>
                  <a:pt x="5731" y="239"/>
                </a:lnTo>
                <a:lnTo>
                  <a:pt x="5728" y="240"/>
                </a:lnTo>
                <a:lnTo>
                  <a:pt x="5721" y="241"/>
                </a:lnTo>
                <a:lnTo>
                  <a:pt x="5718" y="241"/>
                </a:lnTo>
                <a:lnTo>
                  <a:pt x="5717" y="241"/>
                </a:lnTo>
                <a:lnTo>
                  <a:pt x="5716" y="240"/>
                </a:lnTo>
                <a:lnTo>
                  <a:pt x="5716" y="239"/>
                </a:lnTo>
                <a:lnTo>
                  <a:pt x="5717" y="238"/>
                </a:lnTo>
                <a:lnTo>
                  <a:pt x="5719" y="237"/>
                </a:lnTo>
                <a:lnTo>
                  <a:pt x="5721" y="235"/>
                </a:lnTo>
                <a:lnTo>
                  <a:pt x="5725" y="231"/>
                </a:lnTo>
                <a:lnTo>
                  <a:pt x="5725" y="230"/>
                </a:lnTo>
                <a:lnTo>
                  <a:pt x="5723" y="228"/>
                </a:lnTo>
                <a:lnTo>
                  <a:pt x="5719" y="226"/>
                </a:lnTo>
                <a:lnTo>
                  <a:pt x="5727" y="220"/>
                </a:lnTo>
                <a:lnTo>
                  <a:pt x="5730" y="216"/>
                </a:lnTo>
                <a:lnTo>
                  <a:pt x="5734" y="214"/>
                </a:lnTo>
                <a:lnTo>
                  <a:pt x="5734" y="212"/>
                </a:lnTo>
                <a:lnTo>
                  <a:pt x="5735" y="214"/>
                </a:lnTo>
                <a:lnTo>
                  <a:pt x="5736" y="217"/>
                </a:lnTo>
                <a:lnTo>
                  <a:pt x="5738" y="219"/>
                </a:lnTo>
                <a:lnTo>
                  <a:pt x="5742" y="220"/>
                </a:lnTo>
                <a:lnTo>
                  <a:pt x="5741" y="219"/>
                </a:lnTo>
                <a:lnTo>
                  <a:pt x="5741" y="218"/>
                </a:lnTo>
                <a:lnTo>
                  <a:pt x="5742" y="214"/>
                </a:lnTo>
                <a:lnTo>
                  <a:pt x="5745" y="209"/>
                </a:lnTo>
                <a:lnTo>
                  <a:pt x="5734" y="209"/>
                </a:lnTo>
                <a:lnTo>
                  <a:pt x="5724" y="210"/>
                </a:lnTo>
                <a:lnTo>
                  <a:pt x="5704" y="212"/>
                </a:lnTo>
                <a:lnTo>
                  <a:pt x="5702" y="200"/>
                </a:lnTo>
                <a:lnTo>
                  <a:pt x="5711" y="200"/>
                </a:lnTo>
                <a:lnTo>
                  <a:pt x="5721" y="200"/>
                </a:lnTo>
                <a:lnTo>
                  <a:pt x="5724" y="200"/>
                </a:lnTo>
                <a:lnTo>
                  <a:pt x="5724" y="199"/>
                </a:lnTo>
                <a:lnTo>
                  <a:pt x="5721" y="197"/>
                </a:lnTo>
                <a:lnTo>
                  <a:pt x="5713" y="195"/>
                </a:lnTo>
                <a:lnTo>
                  <a:pt x="5705" y="193"/>
                </a:lnTo>
                <a:lnTo>
                  <a:pt x="5697" y="192"/>
                </a:lnTo>
                <a:lnTo>
                  <a:pt x="5680" y="191"/>
                </a:lnTo>
                <a:lnTo>
                  <a:pt x="5663" y="190"/>
                </a:lnTo>
                <a:lnTo>
                  <a:pt x="5659" y="190"/>
                </a:lnTo>
                <a:lnTo>
                  <a:pt x="5655" y="189"/>
                </a:lnTo>
                <a:lnTo>
                  <a:pt x="5648" y="186"/>
                </a:lnTo>
                <a:lnTo>
                  <a:pt x="5645" y="182"/>
                </a:lnTo>
                <a:lnTo>
                  <a:pt x="5644" y="179"/>
                </a:lnTo>
                <a:lnTo>
                  <a:pt x="5642" y="178"/>
                </a:lnTo>
                <a:lnTo>
                  <a:pt x="5640" y="178"/>
                </a:lnTo>
                <a:lnTo>
                  <a:pt x="5637" y="178"/>
                </a:lnTo>
                <a:lnTo>
                  <a:pt x="5634" y="178"/>
                </a:lnTo>
                <a:lnTo>
                  <a:pt x="5632" y="178"/>
                </a:lnTo>
                <a:lnTo>
                  <a:pt x="5631" y="178"/>
                </a:lnTo>
                <a:lnTo>
                  <a:pt x="5631" y="184"/>
                </a:lnTo>
                <a:lnTo>
                  <a:pt x="5634" y="183"/>
                </a:lnTo>
                <a:lnTo>
                  <a:pt x="5636" y="184"/>
                </a:lnTo>
                <a:lnTo>
                  <a:pt x="5637" y="185"/>
                </a:lnTo>
                <a:lnTo>
                  <a:pt x="5638" y="186"/>
                </a:lnTo>
                <a:lnTo>
                  <a:pt x="5638" y="189"/>
                </a:lnTo>
                <a:lnTo>
                  <a:pt x="5639" y="191"/>
                </a:lnTo>
                <a:lnTo>
                  <a:pt x="5640" y="192"/>
                </a:lnTo>
                <a:lnTo>
                  <a:pt x="5633" y="192"/>
                </a:lnTo>
                <a:lnTo>
                  <a:pt x="5629" y="192"/>
                </a:lnTo>
                <a:lnTo>
                  <a:pt x="5625" y="192"/>
                </a:lnTo>
                <a:lnTo>
                  <a:pt x="5620" y="192"/>
                </a:lnTo>
                <a:lnTo>
                  <a:pt x="5617" y="200"/>
                </a:lnTo>
                <a:lnTo>
                  <a:pt x="5618" y="200"/>
                </a:lnTo>
                <a:lnTo>
                  <a:pt x="5620" y="200"/>
                </a:lnTo>
                <a:lnTo>
                  <a:pt x="5622" y="201"/>
                </a:lnTo>
                <a:lnTo>
                  <a:pt x="5624" y="202"/>
                </a:lnTo>
                <a:lnTo>
                  <a:pt x="5625" y="203"/>
                </a:lnTo>
                <a:lnTo>
                  <a:pt x="5625" y="204"/>
                </a:lnTo>
                <a:lnTo>
                  <a:pt x="5624" y="206"/>
                </a:lnTo>
                <a:lnTo>
                  <a:pt x="5621" y="206"/>
                </a:lnTo>
                <a:lnTo>
                  <a:pt x="5617" y="206"/>
                </a:lnTo>
                <a:lnTo>
                  <a:pt x="5616" y="213"/>
                </a:lnTo>
                <a:lnTo>
                  <a:pt x="5615" y="217"/>
                </a:lnTo>
                <a:lnTo>
                  <a:pt x="5616" y="218"/>
                </a:lnTo>
                <a:lnTo>
                  <a:pt x="5617" y="217"/>
                </a:lnTo>
                <a:lnTo>
                  <a:pt x="5619" y="221"/>
                </a:lnTo>
                <a:lnTo>
                  <a:pt x="5620" y="224"/>
                </a:lnTo>
                <a:lnTo>
                  <a:pt x="5622" y="226"/>
                </a:lnTo>
                <a:lnTo>
                  <a:pt x="5623" y="229"/>
                </a:lnTo>
                <a:lnTo>
                  <a:pt x="5623" y="230"/>
                </a:lnTo>
                <a:lnTo>
                  <a:pt x="5623" y="231"/>
                </a:lnTo>
                <a:lnTo>
                  <a:pt x="5622" y="232"/>
                </a:lnTo>
                <a:lnTo>
                  <a:pt x="5621" y="234"/>
                </a:lnTo>
                <a:lnTo>
                  <a:pt x="5619" y="235"/>
                </a:lnTo>
                <a:lnTo>
                  <a:pt x="5616" y="236"/>
                </a:lnTo>
                <a:lnTo>
                  <a:pt x="5612" y="237"/>
                </a:lnTo>
                <a:lnTo>
                  <a:pt x="5609" y="234"/>
                </a:lnTo>
                <a:lnTo>
                  <a:pt x="5610" y="235"/>
                </a:lnTo>
                <a:lnTo>
                  <a:pt x="5610" y="236"/>
                </a:lnTo>
                <a:lnTo>
                  <a:pt x="5609" y="237"/>
                </a:lnTo>
                <a:lnTo>
                  <a:pt x="5608" y="237"/>
                </a:lnTo>
                <a:lnTo>
                  <a:pt x="5603" y="237"/>
                </a:lnTo>
                <a:lnTo>
                  <a:pt x="5603" y="226"/>
                </a:lnTo>
                <a:lnTo>
                  <a:pt x="5599" y="225"/>
                </a:lnTo>
                <a:lnTo>
                  <a:pt x="5596" y="225"/>
                </a:lnTo>
                <a:lnTo>
                  <a:pt x="5594" y="226"/>
                </a:lnTo>
                <a:lnTo>
                  <a:pt x="5593" y="227"/>
                </a:lnTo>
                <a:lnTo>
                  <a:pt x="5592" y="229"/>
                </a:lnTo>
                <a:lnTo>
                  <a:pt x="5592" y="231"/>
                </a:lnTo>
                <a:lnTo>
                  <a:pt x="5592" y="235"/>
                </a:lnTo>
                <a:lnTo>
                  <a:pt x="5592" y="239"/>
                </a:lnTo>
                <a:lnTo>
                  <a:pt x="5591" y="241"/>
                </a:lnTo>
                <a:lnTo>
                  <a:pt x="5590" y="243"/>
                </a:lnTo>
                <a:lnTo>
                  <a:pt x="5588" y="244"/>
                </a:lnTo>
                <a:lnTo>
                  <a:pt x="5586" y="245"/>
                </a:lnTo>
                <a:lnTo>
                  <a:pt x="5582" y="245"/>
                </a:lnTo>
                <a:lnTo>
                  <a:pt x="5578" y="245"/>
                </a:lnTo>
                <a:lnTo>
                  <a:pt x="5575" y="245"/>
                </a:lnTo>
                <a:lnTo>
                  <a:pt x="5573" y="243"/>
                </a:lnTo>
                <a:lnTo>
                  <a:pt x="5567" y="239"/>
                </a:lnTo>
                <a:lnTo>
                  <a:pt x="5562" y="234"/>
                </a:lnTo>
                <a:lnTo>
                  <a:pt x="5558" y="231"/>
                </a:lnTo>
                <a:lnTo>
                  <a:pt x="5553" y="229"/>
                </a:lnTo>
                <a:lnTo>
                  <a:pt x="5548" y="228"/>
                </a:lnTo>
                <a:lnTo>
                  <a:pt x="5544" y="227"/>
                </a:lnTo>
                <a:lnTo>
                  <a:pt x="5538" y="226"/>
                </a:lnTo>
                <a:lnTo>
                  <a:pt x="5538" y="225"/>
                </a:lnTo>
                <a:lnTo>
                  <a:pt x="5537" y="223"/>
                </a:lnTo>
                <a:lnTo>
                  <a:pt x="5536" y="221"/>
                </a:lnTo>
                <a:lnTo>
                  <a:pt x="5536" y="220"/>
                </a:lnTo>
                <a:lnTo>
                  <a:pt x="5534" y="220"/>
                </a:lnTo>
                <a:lnTo>
                  <a:pt x="5531" y="220"/>
                </a:lnTo>
                <a:lnTo>
                  <a:pt x="5527" y="220"/>
                </a:lnTo>
                <a:lnTo>
                  <a:pt x="5526" y="221"/>
                </a:lnTo>
                <a:lnTo>
                  <a:pt x="5525" y="222"/>
                </a:lnTo>
                <a:lnTo>
                  <a:pt x="5522" y="225"/>
                </a:lnTo>
                <a:lnTo>
                  <a:pt x="5518" y="229"/>
                </a:lnTo>
                <a:lnTo>
                  <a:pt x="5516" y="231"/>
                </a:lnTo>
                <a:lnTo>
                  <a:pt x="5514" y="232"/>
                </a:lnTo>
                <a:lnTo>
                  <a:pt x="5511" y="233"/>
                </a:lnTo>
                <a:lnTo>
                  <a:pt x="5506" y="234"/>
                </a:lnTo>
                <a:lnTo>
                  <a:pt x="5501" y="235"/>
                </a:lnTo>
                <a:lnTo>
                  <a:pt x="5496" y="237"/>
                </a:lnTo>
                <a:lnTo>
                  <a:pt x="5496" y="234"/>
                </a:lnTo>
                <a:lnTo>
                  <a:pt x="5497" y="233"/>
                </a:lnTo>
                <a:lnTo>
                  <a:pt x="5498" y="230"/>
                </a:lnTo>
                <a:lnTo>
                  <a:pt x="5499" y="229"/>
                </a:lnTo>
                <a:lnTo>
                  <a:pt x="5499" y="228"/>
                </a:lnTo>
                <a:lnTo>
                  <a:pt x="5500" y="226"/>
                </a:lnTo>
                <a:lnTo>
                  <a:pt x="5499" y="223"/>
                </a:lnTo>
                <a:lnTo>
                  <a:pt x="5493" y="223"/>
                </a:lnTo>
                <a:lnTo>
                  <a:pt x="5491" y="217"/>
                </a:lnTo>
                <a:lnTo>
                  <a:pt x="5488" y="212"/>
                </a:lnTo>
                <a:lnTo>
                  <a:pt x="5485" y="225"/>
                </a:lnTo>
                <a:lnTo>
                  <a:pt x="5481" y="241"/>
                </a:lnTo>
                <a:lnTo>
                  <a:pt x="5479" y="249"/>
                </a:lnTo>
                <a:lnTo>
                  <a:pt x="5477" y="253"/>
                </a:lnTo>
                <a:lnTo>
                  <a:pt x="5476" y="256"/>
                </a:lnTo>
                <a:lnTo>
                  <a:pt x="5474" y="259"/>
                </a:lnTo>
                <a:lnTo>
                  <a:pt x="5472" y="262"/>
                </a:lnTo>
                <a:lnTo>
                  <a:pt x="5470" y="264"/>
                </a:lnTo>
                <a:lnTo>
                  <a:pt x="5468" y="265"/>
                </a:lnTo>
                <a:lnTo>
                  <a:pt x="5464" y="266"/>
                </a:lnTo>
                <a:lnTo>
                  <a:pt x="5462" y="266"/>
                </a:lnTo>
                <a:lnTo>
                  <a:pt x="5461" y="264"/>
                </a:lnTo>
                <a:lnTo>
                  <a:pt x="5461" y="262"/>
                </a:lnTo>
                <a:lnTo>
                  <a:pt x="5462" y="257"/>
                </a:lnTo>
                <a:lnTo>
                  <a:pt x="5463" y="255"/>
                </a:lnTo>
                <a:lnTo>
                  <a:pt x="5462" y="254"/>
                </a:lnTo>
                <a:lnTo>
                  <a:pt x="5465" y="254"/>
                </a:lnTo>
                <a:lnTo>
                  <a:pt x="5465" y="253"/>
                </a:lnTo>
                <a:lnTo>
                  <a:pt x="5466" y="253"/>
                </a:lnTo>
                <a:lnTo>
                  <a:pt x="5465" y="250"/>
                </a:lnTo>
                <a:lnTo>
                  <a:pt x="5465" y="248"/>
                </a:lnTo>
                <a:lnTo>
                  <a:pt x="5463" y="248"/>
                </a:lnTo>
                <a:lnTo>
                  <a:pt x="5462" y="250"/>
                </a:lnTo>
                <a:lnTo>
                  <a:pt x="5460" y="251"/>
                </a:lnTo>
                <a:lnTo>
                  <a:pt x="5459" y="251"/>
                </a:lnTo>
                <a:lnTo>
                  <a:pt x="5457" y="251"/>
                </a:lnTo>
                <a:lnTo>
                  <a:pt x="5456" y="251"/>
                </a:lnTo>
                <a:lnTo>
                  <a:pt x="5455" y="250"/>
                </a:lnTo>
                <a:lnTo>
                  <a:pt x="5452" y="247"/>
                </a:lnTo>
                <a:lnTo>
                  <a:pt x="5448" y="243"/>
                </a:lnTo>
                <a:lnTo>
                  <a:pt x="5446" y="242"/>
                </a:lnTo>
                <a:lnTo>
                  <a:pt x="5443" y="243"/>
                </a:lnTo>
                <a:lnTo>
                  <a:pt x="5440" y="243"/>
                </a:lnTo>
                <a:lnTo>
                  <a:pt x="5437" y="243"/>
                </a:lnTo>
                <a:lnTo>
                  <a:pt x="5438" y="244"/>
                </a:lnTo>
                <a:lnTo>
                  <a:pt x="5437" y="243"/>
                </a:lnTo>
                <a:lnTo>
                  <a:pt x="5434" y="240"/>
                </a:lnTo>
                <a:lnTo>
                  <a:pt x="5426" y="231"/>
                </a:lnTo>
                <a:lnTo>
                  <a:pt x="5424" y="232"/>
                </a:lnTo>
                <a:lnTo>
                  <a:pt x="5422" y="234"/>
                </a:lnTo>
                <a:lnTo>
                  <a:pt x="5420" y="235"/>
                </a:lnTo>
                <a:lnTo>
                  <a:pt x="5419" y="235"/>
                </a:lnTo>
                <a:lnTo>
                  <a:pt x="5417" y="234"/>
                </a:lnTo>
                <a:lnTo>
                  <a:pt x="5417" y="226"/>
                </a:lnTo>
                <a:lnTo>
                  <a:pt x="5419" y="226"/>
                </a:lnTo>
                <a:lnTo>
                  <a:pt x="5422" y="226"/>
                </a:lnTo>
                <a:lnTo>
                  <a:pt x="5424" y="226"/>
                </a:lnTo>
                <a:lnTo>
                  <a:pt x="5426" y="226"/>
                </a:lnTo>
                <a:lnTo>
                  <a:pt x="5427" y="225"/>
                </a:lnTo>
                <a:lnTo>
                  <a:pt x="5427" y="224"/>
                </a:lnTo>
                <a:lnTo>
                  <a:pt x="5427" y="223"/>
                </a:lnTo>
                <a:lnTo>
                  <a:pt x="5426" y="222"/>
                </a:lnTo>
                <a:lnTo>
                  <a:pt x="5423" y="220"/>
                </a:lnTo>
                <a:lnTo>
                  <a:pt x="5424" y="219"/>
                </a:lnTo>
                <a:lnTo>
                  <a:pt x="5421" y="221"/>
                </a:lnTo>
                <a:lnTo>
                  <a:pt x="5415" y="222"/>
                </a:lnTo>
                <a:lnTo>
                  <a:pt x="5413" y="223"/>
                </a:lnTo>
                <a:lnTo>
                  <a:pt x="5412" y="223"/>
                </a:lnTo>
                <a:lnTo>
                  <a:pt x="5411" y="222"/>
                </a:lnTo>
                <a:lnTo>
                  <a:pt x="5411" y="221"/>
                </a:lnTo>
                <a:lnTo>
                  <a:pt x="5410" y="217"/>
                </a:lnTo>
                <a:lnTo>
                  <a:pt x="5410" y="214"/>
                </a:lnTo>
                <a:lnTo>
                  <a:pt x="5409" y="212"/>
                </a:lnTo>
                <a:lnTo>
                  <a:pt x="5404" y="208"/>
                </a:lnTo>
                <a:lnTo>
                  <a:pt x="5398" y="206"/>
                </a:lnTo>
                <a:lnTo>
                  <a:pt x="5392" y="203"/>
                </a:lnTo>
                <a:lnTo>
                  <a:pt x="5389" y="202"/>
                </a:lnTo>
                <a:lnTo>
                  <a:pt x="5387" y="200"/>
                </a:lnTo>
                <a:lnTo>
                  <a:pt x="5384" y="214"/>
                </a:lnTo>
                <a:lnTo>
                  <a:pt x="5381" y="213"/>
                </a:lnTo>
                <a:lnTo>
                  <a:pt x="5380" y="211"/>
                </a:lnTo>
                <a:lnTo>
                  <a:pt x="5380" y="210"/>
                </a:lnTo>
                <a:lnTo>
                  <a:pt x="5380" y="208"/>
                </a:lnTo>
                <a:lnTo>
                  <a:pt x="5380" y="205"/>
                </a:lnTo>
                <a:lnTo>
                  <a:pt x="5381" y="200"/>
                </a:lnTo>
                <a:lnTo>
                  <a:pt x="5381" y="195"/>
                </a:lnTo>
                <a:lnTo>
                  <a:pt x="5379" y="195"/>
                </a:lnTo>
                <a:lnTo>
                  <a:pt x="5378" y="195"/>
                </a:lnTo>
                <a:lnTo>
                  <a:pt x="5377" y="196"/>
                </a:lnTo>
                <a:lnTo>
                  <a:pt x="5377" y="197"/>
                </a:lnTo>
                <a:lnTo>
                  <a:pt x="5376" y="200"/>
                </a:lnTo>
                <a:lnTo>
                  <a:pt x="5375" y="203"/>
                </a:lnTo>
                <a:lnTo>
                  <a:pt x="5370" y="203"/>
                </a:lnTo>
                <a:lnTo>
                  <a:pt x="5366" y="203"/>
                </a:lnTo>
                <a:lnTo>
                  <a:pt x="5364" y="203"/>
                </a:lnTo>
                <a:lnTo>
                  <a:pt x="5366" y="203"/>
                </a:lnTo>
                <a:lnTo>
                  <a:pt x="5368" y="201"/>
                </a:lnTo>
                <a:lnTo>
                  <a:pt x="5369" y="199"/>
                </a:lnTo>
                <a:lnTo>
                  <a:pt x="5370" y="197"/>
                </a:lnTo>
                <a:lnTo>
                  <a:pt x="5370" y="195"/>
                </a:lnTo>
                <a:lnTo>
                  <a:pt x="5370" y="194"/>
                </a:lnTo>
                <a:lnTo>
                  <a:pt x="5369" y="193"/>
                </a:lnTo>
                <a:lnTo>
                  <a:pt x="5368" y="193"/>
                </a:lnTo>
                <a:lnTo>
                  <a:pt x="5367" y="192"/>
                </a:lnTo>
                <a:lnTo>
                  <a:pt x="5364" y="192"/>
                </a:lnTo>
                <a:lnTo>
                  <a:pt x="5359" y="193"/>
                </a:lnTo>
                <a:lnTo>
                  <a:pt x="5356" y="194"/>
                </a:lnTo>
                <a:lnTo>
                  <a:pt x="5354" y="195"/>
                </a:lnTo>
                <a:lnTo>
                  <a:pt x="5350" y="198"/>
                </a:lnTo>
                <a:lnTo>
                  <a:pt x="5346" y="192"/>
                </a:lnTo>
                <a:lnTo>
                  <a:pt x="5345" y="189"/>
                </a:lnTo>
                <a:lnTo>
                  <a:pt x="5347" y="189"/>
                </a:lnTo>
                <a:lnTo>
                  <a:pt x="5345" y="188"/>
                </a:lnTo>
                <a:lnTo>
                  <a:pt x="5345" y="187"/>
                </a:lnTo>
                <a:lnTo>
                  <a:pt x="5346" y="187"/>
                </a:lnTo>
                <a:lnTo>
                  <a:pt x="5350" y="186"/>
                </a:lnTo>
                <a:lnTo>
                  <a:pt x="5342" y="185"/>
                </a:lnTo>
                <a:lnTo>
                  <a:pt x="5341" y="184"/>
                </a:lnTo>
                <a:lnTo>
                  <a:pt x="5341" y="183"/>
                </a:lnTo>
                <a:lnTo>
                  <a:pt x="5342" y="182"/>
                </a:lnTo>
                <a:lnTo>
                  <a:pt x="5344" y="181"/>
                </a:lnTo>
                <a:lnTo>
                  <a:pt x="5344" y="175"/>
                </a:lnTo>
                <a:lnTo>
                  <a:pt x="5349" y="174"/>
                </a:lnTo>
                <a:lnTo>
                  <a:pt x="5354" y="173"/>
                </a:lnTo>
                <a:lnTo>
                  <a:pt x="5359" y="172"/>
                </a:lnTo>
                <a:lnTo>
                  <a:pt x="5362" y="171"/>
                </a:lnTo>
                <a:lnTo>
                  <a:pt x="5364" y="169"/>
                </a:lnTo>
                <a:lnTo>
                  <a:pt x="5366" y="168"/>
                </a:lnTo>
                <a:lnTo>
                  <a:pt x="5367" y="166"/>
                </a:lnTo>
                <a:lnTo>
                  <a:pt x="5370" y="162"/>
                </a:lnTo>
                <a:lnTo>
                  <a:pt x="5373" y="157"/>
                </a:lnTo>
                <a:lnTo>
                  <a:pt x="5375" y="153"/>
                </a:lnTo>
                <a:lnTo>
                  <a:pt x="5369" y="151"/>
                </a:lnTo>
                <a:lnTo>
                  <a:pt x="5364" y="150"/>
                </a:lnTo>
                <a:lnTo>
                  <a:pt x="5360" y="149"/>
                </a:lnTo>
                <a:lnTo>
                  <a:pt x="5358" y="148"/>
                </a:lnTo>
                <a:lnTo>
                  <a:pt x="5356" y="147"/>
                </a:lnTo>
                <a:lnTo>
                  <a:pt x="5353" y="144"/>
                </a:lnTo>
                <a:lnTo>
                  <a:pt x="5349" y="141"/>
                </a:lnTo>
                <a:lnTo>
                  <a:pt x="5345" y="137"/>
                </a:lnTo>
                <a:lnTo>
                  <a:pt x="5343" y="136"/>
                </a:lnTo>
                <a:lnTo>
                  <a:pt x="5342" y="136"/>
                </a:lnTo>
                <a:lnTo>
                  <a:pt x="5338" y="135"/>
                </a:lnTo>
                <a:lnTo>
                  <a:pt x="5334" y="135"/>
                </a:lnTo>
                <a:lnTo>
                  <a:pt x="5331" y="136"/>
                </a:lnTo>
                <a:lnTo>
                  <a:pt x="5328" y="137"/>
                </a:lnTo>
                <a:lnTo>
                  <a:pt x="5323" y="139"/>
                </a:lnTo>
                <a:lnTo>
                  <a:pt x="5319" y="141"/>
                </a:lnTo>
                <a:lnTo>
                  <a:pt x="5317" y="142"/>
                </a:lnTo>
                <a:lnTo>
                  <a:pt x="5315" y="141"/>
                </a:lnTo>
                <a:lnTo>
                  <a:pt x="5313" y="141"/>
                </a:lnTo>
                <a:lnTo>
                  <a:pt x="5311" y="141"/>
                </a:lnTo>
                <a:lnTo>
                  <a:pt x="5310" y="143"/>
                </a:lnTo>
                <a:lnTo>
                  <a:pt x="5309" y="147"/>
                </a:lnTo>
                <a:lnTo>
                  <a:pt x="5308" y="151"/>
                </a:lnTo>
                <a:lnTo>
                  <a:pt x="5308" y="153"/>
                </a:lnTo>
                <a:lnTo>
                  <a:pt x="5310" y="156"/>
                </a:lnTo>
                <a:lnTo>
                  <a:pt x="5313" y="159"/>
                </a:lnTo>
                <a:lnTo>
                  <a:pt x="5316" y="161"/>
                </a:lnTo>
                <a:lnTo>
                  <a:pt x="5316" y="167"/>
                </a:lnTo>
                <a:lnTo>
                  <a:pt x="5319" y="167"/>
                </a:lnTo>
                <a:lnTo>
                  <a:pt x="5321" y="168"/>
                </a:lnTo>
                <a:lnTo>
                  <a:pt x="5326" y="169"/>
                </a:lnTo>
                <a:lnTo>
                  <a:pt x="5332" y="169"/>
                </a:lnTo>
                <a:lnTo>
                  <a:pt x="5336" y="169"/>
                </a:lnTo>
                <a:lnTo>
                  <a:pt x="5335" y="170"/>
                </a:lnTo>
                <a:lnTo>
                  <a:pt x="5335" y="171"/>
                </a:lnTo>
                <a:lnTo>
                  <a:pt x="5335" y="174"/>
                </a:lnTo>
                <a:lnTo>
                  <a:pt x="5335" y="175"/>
                </a:lnTo>
                <a:lnTo>
                  <a:pt x="5334" y="176"/>
                </a:lnTo>
                <a:lnTo>
                  <a:pt x="5333" y="176"/>
                </a:lnTo>
                <a:lnTo>
                  <a:pt x="5330" y="175"/>
                </a:lnTo>
                <a:lnTo>
                  <a:pt x="5333" y="181"/>
                </a:lnTo>
                <a:lnTo>
                  <a:pt x="5334" y="182"/>
                </a:lnTo>
                <a:lnTo>
                  <a:pt x="5334" y="183"/>
                </a:lnTo>
                <a:lnTo>
                  <a:pt x="5332" y="183"/>
                </a:lnTo>
                <a:lnTo>
                  <a:pt x="5328" y="182"/>
                </a:lnTo>
                <a:lnTo>
                  <a:pt x="5325" y="181"/>
                </a:lnTo>
                <a:lnTo>
                  <a:pt x="5322" y="181"/>
                </a:lnTo>
                <a:lnTo>
                  <a:pt x="5325" y="189"/>
                </a:lnTo>
                <a:lnTo>
                  <a:pt x="5318" y="189"/>
                </a:lnTo>
                <a:lnTo>
                  <a:pt x="5313" y="189"/>
                </a:lnTo>
                <a:lnTo>
                  <a:pt x="5308" y="187"/>
                </a:lnTo>
                <a:lnTo>
                  <a:pt x="5303" y="185"/>
                </a:lnTo>
                <a:lnTo>
                  <a:pt x="5295" y="181"/>
                </a:lnTo>
                <a:lnTo>
                  <a:pt x="5290" y="179"/>
                </a:lnTo>
                <a:lnTo>
                  <a:pt x="5285" y="178"/>
                </a:lnTo>
                <a:lnTo>
                  <a:pt x="5280" y="177"/>
                </a:lnTo>
                <a:lnTo>
                  <a:pt x="5276" y="178"/>
                </a:lnTo>
                <a:lnTo>
                  <a:pt x="5272" y="178"/>
                </a:lnTo>
                <a:lnTo>
                  <a:pt x="5268" y="179"/>
                </a:lnTo>
                <a:lnTo>
                  <a:pt x="5261" y="181"/>
                </a:lnTo>
                <a:lnTo>
                  <a:pt x="5257" y="181"/>
                </a:lnTo>
                <a:lnTo>
                  <a:pt x="5252" y="181"/>
                </a:lnTo>
                <a:lnTo>
                  <a:pt x="5249" y="175"/>
                </a:lnTo>
                <a:lnTo>
                  <a:pt x="5241" y="174"/>
                </a:lnTo>
                <a:lnTo>
                  <a:pt x="5235" y="174"/>
                </a:lnTo>
                <a:lnTo>
                  <a:pt x="5229" y="172"/>
                </a:lnTo>
                <a:lnTo>
                  <a:pt x="5230" y="172"/>
                </a:lnTo>
                <a:lnTo>
                  <a:pt x="5229" y="171"/>
                </a:lnTo>
                <a:lnTo>
                  <a:pt x="5227" y="169"/>
                </a:lnTo>
                <a:lnTo>
                  <a:pt x="5223" y="167"/>
                </a:lnTo>
                <a:lnTo>
                  <a:pt x="5224" y="165"/>
                </a:lnTo>
                <a:lnTo>
                  <a:pt x="5226" y="163"/>
                </a:lnTo>
                <a:lnTo>
                  <a:pt x="5226" y="161"/>
                </a:lnTo>
                <a:lnTo>
                  <a:pt x="5226" y="158"/>
                </a:lnTo>
                <a:lnTo>
                  <a:pt x="5228" y="159"/>
                </a:lnTo>
                <a:lnTo>
                  <a:pt x="5228" y="158"/>
                </a:lnTo>
                <a:lnTo>
                  <a:pt x="5227" y="154"/>
                </a:lnTo>
                <a:lnTo>
                  <a:pt x="5223" y="147"/>
                </a:lnTo>
                <a:lnTo>
                  <a:pt x="5218" y="147"/>
                </a:lnTo>
                <a:lnTo>
                  <a:pt x="5211" y="149"/>
                </a:lnTo>
                <a:lnTo>
                  <a:pt x="5203" y="150"/>
                </a:lnTo>
                <a:lnTo>
                  <a:pt x="5195" y="150"/>
                </a:lnTo>
                <a:lnTo>
                  <a:pt x="5192" y="144"/>
                </a:lnTo>
                <a:lnTo>
                  <a:pt x="5191" y="144"/>
                </a:lnTo>
                <a:lnTo>
                  <a:pt x="5190" y="144"/>
                </a:lnTo>
                <a:lnTo>
                  <a:pt x="5188" y="146"/>
                </a:lnTo>
                <a:lnTo>
                  <a:pt x="5185" y="147"/>
                </a:lnTo>
                <a:lnTo>
                  <a:pt x="5183" y="147"/>
                </a:lnTo>
                <a:lnTo>
                  <a:pt x="5181" y="147"/>
                </a:lnTo>
                <a:lnTo>
                  <a:pt x="5173" y="141"/>
                </a:lnTo>
                <a:lnTo>
                  <a:pt x="5168" y="142"/>
                </a:lnTo>
                <a:lnTo>
                  <a:pt x="5162" y="144"/>
                </a:lnTo>
                <a:lnTo>
                  <a:pt x="5156" y="147"/>
                </a:lnTo>
                <a:lnTo>
                  <a:pt x="5150" y="150"/>
                </a:lnTo>
                <a:lnTo>
                  <a:pt x="5144" y="154"/>
                </a:lnTo>
                <a:lnTo>
                  <a:pt x="5139" y="158"/>
                </a:lnTo>
                <a:lnTo>
                  <a:pt x="5135" y="161"/>
                </a:lnTo>
                <a:lnTo>
                  <a:pt x="5133" y="164"/>
                </a:lnTo>
                <a:lnTo>
                  <a:pt x="5133" y="166"/>
                </a:lnTo>
                <a:lnTo>
                  <a:pt x="5134" y="168"/>
                </a:lnTo>
                <a:lnTo>
                  <a:pt x="5134" y="171"/>
                </a:lnTo>
                <a:lnTo>
                  <a:pt x="5134" y="172"/>
                </a:lnTo>
                <a:lnTo>
                  <a:pt x="5133" y="172"/>
                </a:lnTo>
                <a:lnTo>
                  <a:pt x="5133" y="173"/>
                </a:lnTo>
                <a:lnTo>
                  <a:pt x="5132" y="173"/>
                </a:lnTo>
                <a:lnTo>
                  <a:pt x="5131" y="172"/>
                </a:lnTo>
                <a:lnTo>
                  <a:pt x="5131" y="171"/>
                </a:lnTo>
                <a:lnTo>
                  <a:pt x="5130" y="168"/>
                </a:lnTo>
                <a:lnTo>
                  <a:pt x="5130" y="164"/>
                </a:lnTo>
                <a:lnTo>
                  <a:pt x="5130" y="155"/>
                </a:lnTo>
                <a:lnTo>
                  <a:pt x="5131" y="150"/>
                </a:lnTo>
                <a:lnTo>
                  <a:pt x="5129" y="151"/>
                </a:lnTo>
                <a:lnTo>
                  <a:pt x="5127" y="151"/>
                </a:lnTo>
                <a:lnTo>
                  <a:pt x="5126" y="150"/>
                </a:lnTo>
                <a:lnTo>
                  <a:pt x="5126" y="149"/>
                </a:lnTo>
                <a:lnTo>
                  <a:pt x="5125" y="147"/>
                </a:lnTo>
                <a:lnTo>
                  <a:pt x="5124" y="147"/>
                </a:lnTo>
                <a:lnTo>
                  <a:pt x="5122" y="147"/>
                </a:lnTo>
                <a:lnTo>
                  <a:pt x="5122" y="152"/>
                </a:lnTo>
                <a:lnTo>
                  <a:pt x="5122" y="158"/>
                </a:lnTo>
                <a:lnTo>
                  <a:pt x="5108" y="157"/>
                </a:lnTo>
                <a:lnTo>
                  <a:pt x="5104" y="156"/>
                </a:lnTo>
                <a:lnTo>
                  <a:pt x="5101" y="155"/>
                </a:lnTo>
                <a:lnTo>
                  <a:pt x="5099" y="154"/>
                </a:lnTo>
                <a:lnTo>
                  <a:pt x="5096" y="151"/>
                </a:lnTo>
                <a:lnTo>
                  <a:pt x="5091" y="141"/>
                </a:lnTo>
                <a:lnTo>
                  <a:pt x="5092" y="142"/>
                </a:lnTo>
                <a:lnTo>
                  <a:pt x="5092" y="143"/>
                </a:lnTo>
                <a:lnTo>
                  <a:pt x="5091" y="146"/>
                </a:lnTo>
                <a:lnTo>
                  <a:pt x="5088" y="150"/>
                </a:lnTo>
                <a:lnTo>
                  <a:pt x="5083" y="147"/>
                </a:lnTo>
                <a:lnTo>
                  <a:pt x="5077" y="144"/>
                </a:lnTo>
                <a:lnTo>
                  <a:pt x="5073" y="151"/>
                </a:lnTo>
                <a:lnTo>
                  <a:pt x="5071" y="154"/>
                </a:lnTo>
                <a:lnTo>
                  <a:pt x="5069" y="157"/>
                </a:lnTo>
                <a:lnTo>
                  <a:pt x="5069" y="160"/>
                </a:lnTo>
                <a:lnTo>
                  <a:pt x="5069" y="161"/>
                </a:lnTo>
                <a:lnTo>
                  <a:pt x="5069" y="163"/>
                </a:lnTo>
                <a:lnTo>
                  <a:pt x="5072" y="165"/>
                </a:lnTo>
                <a:lnTo>
                  <a:pt x="5074" y="166"/>
                </a:lnTo>
                <a:lnTo>
                  <a:pt x="5077" y="167"/>
                </a:lnTo>
                <a:lnTo>
                  <a:pt x="5075" y="169"/>
                </a:lnTo>
                <a:lnTo>
                  <a:pt x="5074" y="171"/>
                </a:lnTo>
                <a:lnTo>
                  <a:pt x="5074" y="172"/>
                </a:lnTo>
                <a:lnTo>
                  <a:pt x="5066" y="169"/>
                </a:lnTo>
                <a:lnTo>
                  <a:pt x="5060" y="167"/>
                </a:lnTo>
                <a:lnTo>
                  <a:pt x="5061" y="169"/>
                </a:lnTo>
                <a:lnTo>
                  <a:pt x="5062" y="172"/>
                </a:lnTo>
                <a:lnTo>
                  <a:pt x="5062" y="173"/>
                </a:lnTo>
                <a:lnTo>
                  <a:pt x="5062" y="175"/>
                </a:lnTo>
                <a:lnTo>
                  <a:pt x="5062" y="176"/>
                </a:lnTo>
                <a:lnTo>
                  <a:pt x="5060" y="178"/>
                </a:lnTo>
                <a:lnTo>
                  <a:pt x="5056" y="180"/>
                </a:lnTo>
                <a:lnTo>
                  <a:pt x="5051" y="182"/>
                </a:lnTo>
                <a:lnTo>
                  <a:pt x="5046" y="182"/>
                </a:lnTo>
                <a:lnTo>
                  <a:pt x="5041" y="182"/>
                </a:lnTo>
                <a:lnTo>
                  <a:pt x="5030" y="182"/>
                </a:lnTo>
                <a:lnTo>
                  <a:pt x="5024" y="182"/>
                </a:lnTo>
                <a:lnTo>
                  <a:pt x="5018" y="184"/>
                </a:lnTo>
                <a:lnTo>
                  <a:pt x="5015" y="192"/>
                </a:lnTo>
                <a:lnTo>
                  <a:pt x="4999" y="194"/>
                </a:lnTo>
                <a:lnTo>
                  <a:pt x="4982" y="195"/>
                </a:lnTo>
                <a:lnTo>
                  <a:pt x="4997" y="192"/>
                </a:lnTo>
                <a:lnTo>
                  <a:pt x="5006" y="189"/>
                </a:lnTo>
                <a:lnTo>
                  <a:pt x="5010" y="188"/>
                </a:lnTo>
                <a:lnTo>
                  <a:pt x="5012" y="186"/>
                </a:lnTo>
                <a:lnTo>
                  <a:pt x="5013" y="184"/>
                </a:lnTo>
                <a:lnTo>
                  <a:pt x="5014" y="181"/>
                </a:lnTo>
                <a:lnTo>
                  <a:pt x="5014" y="177"/>
                </a:lnTo>
                <a:lnTo>
                  <a:pt x="5015" y="175"/>
                </a:lnTo>
                <a:lnTo>
                  <a:pt x="5019" y="173"/>
                </a:lnTo>
                <a:lnTo>
                  <a:pt x="5023" y="173"/>
                </a:lnTo>
                <a:lnTo>
                  <a:pt x="5028" y="173"/>
                </a:lnTo>
                <a:lnTo>
                  <a:pt x="5032" y="172"/>
                </a:lnTo>
                <a:lnTo>
                  <a:pt x="5039" y="169"/>
                </a:lnTo>
                <a:lnTo>
                  <a:pt x="5042" y="168"/>
                </a:lnTo>
                <a:lnTo>
                  <a:pt x="5045" y="166"/>
                </a:lnTo>
                <a:lnTo>
                  <a:pt x="5047" y="164"/>
                </a:lnTo>
                <a:lnTo>
                  <a:pt x="5050" y="161"/>
                </a:lnTo>
                <a:lnTo>
                  <a:pt x="5052" y="159"/>
                </a:lnTo>
                <a:lnTo>
                  <a:pt x="5054" y="156"/>
                </a:lnTo>
                <a:lnTo>
                  <a:pt x="5058" y="150"/>
                </a:lnTo>
                <a:lnTo>
                  <a:pt x="5061" y="144"/>
                </a:lnTo>
                <a:lnTo>
                  <a:pt x="5064" y="137"/>
                </a:lnTo>
                <a:lnTo>
                  <a:pt x="5066" y="130"/>
                </a:lnTo>
                <a:lnTo>
                  <a:pt x="5087" y="125"/>
                </a:lnTo>
                <a:lnTo>
                  <a:pt x="5108" y="120"/>
                </a:lnTo>
                <a:lnTo>
                  <a:pt x="5118" y="117"/>
                </a:lnTo>
                <a:lnTo>
                  <a:pt x="5128" y="114"/>
                </a:lnTo>
                <a:lnTo>
                  <a:pt x="5147" y="108"/>
                </a:lnTo>
                <a:lnTo>
                  <a:pt x="5147" y="106"/>
                </a:lnTo>
                <a:lnTo>
                  <a:pt x="5146" y="104"/>
                </a:lnTo>
                <a:lnTo>
                  <a:pt x="5146" y="100"/>
                </a:lnTo>
                <a:lnTo>
                  <a:pt x="5146" y="96"/>
                </a:lnTo>
                <a:lnTo>
                  <a:pt x="5145" y="93"/>
                </a:lnTo>
                <a:lnTo>
                  <a:pt x="5142" y="93"/>
                </a:lnTo>
                <a:lnTo>
                  <a:pt x="5138" y="91"/>
                </a:lnTo>
                <a:lnTo>
                  <a:pt x="5135" y="88"/>
                </a:lnTo>
                <a:lnTo>
                  <a:pt x="5134" y="86"/>
                </a:lnTo>
                <a:lnTo>
                  <a:pt x="5133" y="84"/>
                </a:lnTo>
                <a:lnTo>
                  <a:pt x="5133" y="83"/>
                </a:lnTo>
                <a:lnTo>
                  <a:pt x="5136" y="83"/>
                </a:lnTo>
                <a:lnTo>
                  <a:pt x="5142" y="85"/>
                </a:lnTo>
                <a:lnTo>
                  <a:pt x="5141" y="86"/>
                </a:lnTo>
                <a:lnTo>
                  <a:pt x="5143" y="85"/>
                </a:lnTo>
                <a:lnTo>
                  <a:pt x="5147" y="82"/>
                </a:lnTo>
                <a:lnTo>
                  <a:pt x="5147" y="78"/>
                </a:lnTo>
                <a:lnTo>
                  <a:pt x="5147" y="74"/>
                </a:lnTo>
                <a:lnTo>
                  <a:pt x="5145" y="72"/>
                </a:lnTo>
                <a:lnTo>
                  <a:pt x="5141" y="69"/>
                </a:lnTo>
                <a:lnTo>
                  <a:pt x="5138" y="67"/>
                </a:lnTo>
                <a:lnTo>
                  <a:pt x="5136" y="65"/>
                </a:lnTo>
                <a:lnTo>
                  <a:pt x="5136" y="63"/>
                </a:lnTo>
                <a:lnTo>
                  <a:pt x="5136" y="59"/>
                </a:lnTo>
                <a:lnTo>
                  <a:pt x="5137" y="56"/>
                </a:lnTo>
                <a:lnTo>
                  <a:pt x="5137" y="55"/>
                </a:lnTo>
                <a:lnTo>
                  <a:pt x="5136" y="54"/>
                </a:lnTo>
                <a:lnTo>
                  <a:pt x="5135" y="53"/>
                </a:lnTo>
                <a:lnTo>
                  <a:pt x="5132" y="53"/>
                </a:lnTo>
                <a:lnTo>
                  <a:pt x="5128" y="53"/>
                </a:lnTo>
                <a:lnTo>
                  <a:pt x="5123" y="53"/>
                </a:lnTo>
                <a:lnTo>
                  <a:pt x="5121" y="52"/>
                </a:lnTo>
                <a:lnTo>
                  <a:pt x="5119" y="51"/>
                </a:lnTo>
                <a:lnTo>
                  <a:pt x="5118" y="50"/>
                </a:lnTo>
                <a:lnTo>
                  <a:pt x="5116" y="47"/>
                </a:lnTo>
                <a:lnTo>
                  <a:pt x="5114" y="42"/>
                </a:lnTo>
                <a:lnTo>
                  <a:pt x="5111" y="32"/>
                </a:lnTo>
                <a:lnTo>
                  <a:pt x="5109" y="32"/>
                </a:lnTo>
                <a:lnTo>
                  <a:pt x="5107" y="31"/>
                </a:lnTo>
                <a:lnTo>
                  <a:pt x="5106" y="30"/>
                </a:lnTo>
                <a:lnTo>
                  <a:pt x="5105" y="29"/>
                </a:lnTo>
                <a:lnTo>
                  <a:pt x="5102" y="29"/>
                </a:lnTo>
                <a:lnTo>
                  <a:pt x="5098" y="30"/>
                </a:lnTo>
                <a:lnTo>
                  <a:pt x="5092" y="33"/>
                </a:lnTo>
                <a:lnTo>
                  <a:pt x="5087" y="36"/>
                </a:lnTo>
                <a:lnTo>
                  <a:pt x="5083" y="37"/>
                </a:lnTo>
                <a:lnTo>
                  <a:pt x="5080" y="32"/>
                </a:lnTo>
                <a:lnTo>
                  <a:pt x="5074" y="32"/>
                </a:lnTo>
                <a:lnTo>
                  <a:pt x="5069" y="33"/>
                </a:lnTo>
                <a:lnTo>
                  <a:pt x="5063" y="33"/>
                </a:lnTo>
                <a:lnTo>
                  <a:pt x="5057" y="34"/>
                </a:lnTo>
                <a:lnTo>
                  <a:pt x="5054" y="36"/>
                </a:lnTo>
                <a:lnTo>
                  <a:pt x="5050" y="38"/>
                </a:lnTo>
                <a:lnTo>
                  <a:pt x="5047" y="41"/>
                </a:lnTo>
                <a:lnTo>
                  <a:pt x="5045" y="44"/>
                </a:lnTo>
                <a:lnTo>
                  <a:pt x="5040" y="49"/>
                </a:lnTo>
                <a:lnTo>
                  <a:pt x="5038" y="51"/>
                </a:lnTo>
                <a:lnTo>
                  <a:pt x="5034" y="52"/>
                </a:lnTo>
                <a:lnTo>
                  <a:pt x="5031" y="51"/>
                </a:lnTo>
                <a:lnTo>
                  <a:pt x="5027" y="51"/>
                </a:lnTo>
                <a:lnTo>
                  <a:pt x="5025" y="51"/>
                </a:lnTo>
                <a:lnTo>
                  <a:pt x="5024" y="51"/>
                </a:lnTo>
                <a:lnTo>
                  <a:pt x="5032" y="32"/>
                </a:lnTo>
                <a:lnTo>
                  <a:pt x="5022" y="29"/>
                </a:lnTo>
                <a:lnTo>
                  <a:pt x="5014" y="27"/>
                </a:lnTo>
                <a:lnTo>
                  <a:pt x="5005" y="27"/>
                </a:lnTo>
                <a:lnTo>
                  <a:pt x="4996" y="26"/>
                </a:lnTo>
                <a:lnTo>
                  <a:pt x="4999" y="18"/>
                </a:lnTo>
                <a:lnTo>
                  <a:pt x="5001" y="15"/>
                </a:lnTo>
                <a:lnTo>
                  <a:pt x="5004" y="12"/>
                </a:lnTo>
                <a:lnTo>
                  <a:pt x="4996" y="8"/>
                </a:lnTo>
                <a:lnTo>
                  <a:pt x="4987" y="4"/>
                </a:lnTo>
                <a:lnTo>
                  <a:pt x="4977" y="1"/>
                </a:lnTo>
                <a:lnTo>
                  <a:pt x="4972" y="0"/>
                </a:lnTo>
                <a:lnTo>
                  <a:pt x="4967" y="1"/>
                </a:lnTo>
                <a:lnTo>
                  <a:pt x="4965" y="9"/>
                </a:lnTo>
                <a:lnTo>
                  <a:pt x="4954" y="9"/>
                </a:lnTo>
                <a:lnTo>
                  <a:pt x="4947" y="9"/>
                </a:lnTo>
                <a:lnTo>
                  <a:pt x="4942" y="9"/>
                </a:lnTo>
                <a:lnTo>
                  <a:pt x="4939" y="11"/>
                </a:lnTo>
                <a:lnTo>
                  <a:pt x="4933" y="16"/>
                </a:lnTo>
                <a:lnTo>
                  <a:pt x="4929" y="19"/>
                </a:lnTo>
                <a:lnTo>
                  <a:pt x="4922" y="23"/>
                </a:lnTo>
                <a:lnTo>
                  <a:pt x="4922" y="29"/>
                </a:lnTo>
                <a:lnTo>
                  <a:pt x="4920" y="30"/>
                </a:lnTo>
                <a:lnTo>
                  <a:pt x="4918" y="30"/>
                </a:lnTo>
                <a:lnTo>
                  <a:pt x="4915" y="30"/>
                </a:lnTo>
                <a:lnTo>
                  <a:pt x="4914" y="32"/>
                </a:lnTo>
                <a:lnTo>
                  <a:pt x="4914" y="34"/>
                </a:lnTo>
                <a:lnTo>
                  <a:pt x="4914" y="36"/>
                </a:lnTo>
                <a:lnTo>
                  <a:pt x="4915" y="38"/>
                </a:lnTo>
                <a:lnTo>
                  <a:pt x="4914" y="40"/>
                </a:lnTo>
                <a:lnTo>
                  <a:pt x="4920" y="45"/>
                </a:lnTo>
                <a:lnTo>
                  <a:pt x="4925" y="51"/>
                </a:lnTo>
                <a:lnTo>
                  <a:pt x="4919" y="50"/>
                </a:lnTo>
                <a:lnTo>
                  <a:pt x="4913" y="48"/>
                </a:lnTo>
                <a:lnTo>
                  <a:pt x="4903" y="47"/>
                </a:lnTo>
                <a:lnTo>
                  <a:pt x="4893" y="46"/>
                </a:lnTo>
                <a:lnTo>
                  <a:pt x="4880" y="46"/>
                </a:lnTo>
                <a:lnTo>
                  <a:pt x="4883" y="54"/>
                </a:lnTo>
                <a:lnTo>
                  <a:pt x="4886" y="57"/>
                </a:lnTo>
                <a:lnTo>
                  <a:pt x="4881" y="57"/>
                </a:lnTo>
                <a:lnTo>
                  <a:pt x="4876" y="57"/>
                </a:lnTo>
                <a:lnTo>
                  <a:pt x="4873" y="58"/>
                </a:lnTo>
                <a:lnTo>
                  <a:pt x="4871" y="59"/>
                </a:lnTo>
                <a:lnTo>
                  <a:pt x="4869" y="60"/>
                </a:lnTo>
                <a:lnTo>
                  <a:pt x="4869" y="64"/>
                </a:lnTo>
                <a:lnTo>
                  <a:pt x="4869" y="68"/>
                </a:lnTo>
                <a:lnTo>
                  <a:pt x="4860" y="73"/>
                </a:lnTo>
                <a:lnTo>
                  <a:pt x="4856" y="75"/>
                </a:lnTo>
                <a:lnTo>
                  <a:pt x="4852" y="77"/>
                </a:lnTo>
                <a:lnTo>
                  <a:pt x="4850" y="77"/>
                </a:lnTo>
                <a:lnTo>
                  <a:pt x="4849" y="76"/>
                </a:lnTo>
                <a:lnTo>
                  <a:pt x="4849" y="75"/>
                </a:lnTo>
                <a:lnTo>
                  <a:pt x="4849" y="73"/>
                </a:lnTo>
                <a:lnTo>
                  <a:pt x="4849" y="71"/>
                </a:lnTo>
                <a:lnTo>
                  <a:pt x="4843" y="74"/>
                </a:lnTo>
                <a:lnTo>
                  <a:pt x="4840" y="75"/>
                </a:lnTo>
                <a:lnTo>
                  <a:pt x="4835" y="77"/>
                </a:lnTo>
                <a:lnTo>
                  <a:pt x="4830" y="82"/>
                </a:lnTo>
                <a:lnTo>
                  <a:pt x="4828" y="82"/>
                </a:lnTo>
                <a:lnTo>
                  <a:pt x="4827" y="81"/>
                </a:lnTo>
                <a:lnTo>
                  <a:pt x="4826" y="80"/>
                </a:lnTo>
                <a:lnTo>
                  <a:pt x="4827" y="79"/>
                </a:lnTo>
                <a:lnTo>
                  <a:pt x="4828" y="75"/>
                </a:lnTo>
                <a:lnTo>
                  <a:pt x="4830" y="74"/>
                </a:lnTo>
                <a:lnTo>
                  <a:pt x="4833" y="71"/>
                </a:lnTo>
                <a:lnTo>
                  <a:pt x="4836" y="69"/>
                </a:lnTo>
                <a:lnTo>
                  <a:pt x="4841" y="66"/>
                </a:lnTo>
                <a:lnTo>
                  <a:pt x="4842" y="64"/>
                </a:lnTo>
                <a:lnTo>
                  <a:pt x="4842" y="63"/>
                </a:lnTo>
                <a:lnTo>
                  <a:pt x="4842" y="62"/>
                </a:lnTo>
                <a:lnTo>
                  <a:pt x="4840" y="60"/>
                </a:lnTo>
                <a:lnTo>
                  <a:pt x="4835" y="57"/>
                </a:lnTo>
                <a:lnTo>
                  <a:pt x="4837" y="57"/>
                </a:lnTo>
                <a:lnTo>
                  <a:pt x="4839" y="57"/>
                </a:lnTo>
                <a:lnTo>
                  <a:pt x="4844" y="57"/>
                </a:lnTo>
                <a:lnTo>
                  <a:pt x="4847" y="48"/>
                </a:lnTo>
                <a:lnTo>
                  <a:pt x="4824" y="48"/>
                </a:lnTo>
                <a:lnTo>
                  <a:pt x="4824" y="53"/>
                </a:lnTo>
                <a:lnTo>
                  <a:pt x="4824" y="57"/>
                </a:lnTo>
                <a:lnTo>
                  <a:pt x="4828" y="57"/>
                </a:lnTo>
                <a:lnTo>
                  <a:pt x="4832" y="57"/>
                </a:lnTo>
                <a:lnTo>
                  <a:pt x="4830" y="60"/>
                </a:lnTo>
                <a:lnTo>
                  <a:pt x="4829" y="61"/>
                </a:lnTo>
                <a:lnTo>
                  <a:pt x="4829" y="62"/>
                </a:lnTo>
                <a:lnTo>
                  <a:pt x="4830" y="63"/>
                </a:lnTo>
                <a:lnTo>
                  <a:pt x="4820" y="62"/>
                </a:lnTo>
                <a:lnTo>
                  <a:pt x="4810" y="63"/>
                </a:lnTo>
                <a:lnTo>
                  <a:pt x="4801" y="63"/>
                </a:lnTo>
                <a:lnTo>
                  <a:pt x="4796" y="63"/>
                </a:lnTo>
                <a:lnTo>
                  <a:pt x="4790" y="63"/>
                </a:lnTo>
                <a:lnTo>
                  <a:pt x="4789" y="62"/>
                </a:lnTo>
                <a:lnTo>
                  <a:pt x="4788" y="60"/>
                </a:lnTo>
                <a:lnTo>
                  <a:pt x="4785" y="59"/>
                </a:lnTo>
                <a:lnTo>
                  <a:pt x="4784" y="59"/>
                </a:lnTo>
                <a:lnTo>
                  <a:pt x="4782" y="60"/>
                </a:lnTo>
                <a:lnTo>
                  <a:pt x="4782" y="64"/>
                </a:lnTo>
                <a:lnTo>
                  <a:pt x="4782" y="68"/>
                </a:lnTo>
                <a:lnTo>
                  <a:pt x="4769" y="70"/>
                </a:lnTo>
                <a:lnTo>
                  <a:pt x="4759" y="72"/>
                </a:lnTo>
                <a:lnTo>
                  <a:pt x="4749" y="75"/>
                </a:lnTo>
                <a:lnTo>
                  <a:pt x="4743" y="76"/>
                </a:lnTo>
                <a:lnTo>
                  <a:pt x="4737" y="77"/>
                </a:lnTo>
                <a:lnTo>
                  <a:pt x="4729" y="77"/>
                </a:lnTo>
                <a:lnTo>
                  <a:pt x="4723" y="75"/>
                </a:lnTo>
                <a:lnTo>
                  <a:pt x="4718" y="74"/>
                </a:lnTo>
                <a:lnTo>
                  <a:pt x="4716" y="74"/>
                </a:lnTo>
                <a:lnTo>
                  <a:pt x="4714" y="74"/>
                </a:lnTo>
                <a:lnTo>
                  <a:pt x="4713" y="74"/>
                </a:lnTo>
                <a:lnTo>
                  <a:pt x="4712" y="75"/>
                </a:lnTo>
                <a:lnTo>
                  <a:pt x="4708" y="78"/>
                </a:lnTo>
                <a:lnTo>
                  <a:pt x="4703" y="82"/>
                </a:lnTo>
                <a:lnTo>
                  <a:pt x="4700" y="83"/>
                </a:lnTo>
                <a:lnTo>
                  <a:pt x="4696" y="83"/>
                </a:lnTo>
                <a:lnTo>
                  <a:pt x="4689" y="83"/>
                </a:lnTo>
                <a:lnTo>
                  <a:pt x="4675" y="82"/>
                </a:lnTo>
                <a:lnTo>
                  <a:pt x="4677" y="84"/>
                </a:lnTo>
                <a:lnTo>
                  <a:pt x="4680" y="86"/>
                </a:lnTo>
                <a:lnTo>
                  <a:pt x="4681" y="88"/>
                </a:lnTo>
                <a:lnTo>
                  <a:pt x="4682" y="90"/>
                </a:lnTo>
                <a:lnTo>
                  <a:pt x="4682" y="92"/>
                </a:lnTo>
                <a:lnTo>
                  <a:pt x="4681" y="94"/>
                </a:lnTo>
                <a:lnTo>
                  <a:pt x="4679" y="95"/>
                </a:lnTo>
                <a:lnTo>
                  <a:pt x="4675" y="96"/>
                </a:lnTo>
                <a:lnTo>
                  <a:pt x="4674" y="105"/>
                </a:lnTo>
                <a:lnTo>
                  <a:pt x="4672" y="110"/>
                </a:lnTo>
                <a:lnTo>
                  <a:pt x="4669" y="106"/>
                </a:lnTo>
                <a:lnTo>
                  <a:pt x="4667" y="102"/>
                </a:lnTo>
                <a:lnTo>
                  <a:pt x="4665" y="102"/>
                </a:lnTo>
                <a:lnTo>
                  <a:pt x="4662" y="102"/>
                </a:lnTo>
                <a:lnTo>
                  <a:pt x="4660" y="102"/>
                </a:lnTo>
                <a:lnTo>
                  <a:pt x="4657" y="103"/>
                </a:lnTo>
                <a:lnTo>
                  <a:pt x="4655" y="104"/>
                </a:lnTo>
                <a:lnTo>
                  <a:pt x="4654" y="106"/>
                </a:lnTo>
                <a:lnTo>
                  <a:pt x="4654" y="107"/>
                </a:lnTo>
                <a:lnTo>
                  <a:pt x="4655" y="108"/>
                </a:lnTo>
                <a:lnTo>
                  <a:pt x="4662" y="111"/>
                </a:lnTo>
                <a:lnTo>
                  <a:pt x="4664" y="112"/>
                </a:lnTo>
                <a:lnTo>
                  <a:pt x="4664" y="113"/>
                </a:lnTo>
                <a:lnTo>
                  <a:pt x="4665" y="114"/>
                </a:lnTo>
                <a:lnTo>
                  <a:pt x="4667" y="116"/>
                </a:lnTo>
                <a:lnTo>
                  <a:pt x="4663" y="117"/>
                </a:lnTo>
                <a:lnTo>
                  <a:pt x="4660" y="118"/>
                </a:lnTo>
                <a:lnTo>
                  <a:pt x="4655" y="119"/>
                </a:lnTo>
                <a:lnTo>
                  <a:pt x="4661" y="127"/>
                </a:lnTo>
                <a:lnTo>
                  <a:pt x="4666" y="135"/>
                </a:lnTo>
                <a:lnTo>
                  <a:pt x="4670" y="143"/>
                </a:lnTo>
                <a:lnTo>
                  <a:pt x="4675" y="153"/>
                </a:lnTo>
                <a:lnTo>
                  <a:pt x="4668" y="153"/>
                </a:lnTo>
                <a:lnTo>
                  <a:pt x="4661" y="153"/>
                </a:lnTo>
                <a:lnTo>
                  <a:pt x="4662" y="151"/>
                </a:lnTo>
                <a:lnTo>
                  <a:pt x="4664" y="147"/>
                </a:lnTo>
                <a:lnTo>
                  <a:pt x="4664" y="145"/>
                </a:lnTo>
                <a:lnTo>
                  <a:pt x="4664" y="144"/>
                </a:lnTo>
                <a:lnTo>
                  <a:pt x="4662" y="142"/>
                </a:lnTo>
                <a:lnTo>
                  <a:pt x="4660" y="142"/>
                </a:lnTo>
                <a:lnTo>
                  <a:pt x="4658" y="141"/>
                </a:lnTo>
                <a:lnTo>
                  <a:pt x="4658" y="138"/>
                </a:lnTo>
                <a:lnTo>
                  <a:pt x="4655" y="138"/>
                </a:lnTo>
                <a:lnTo>
                  <a:pt x="4652" y="139"/>
                </a:lnTo>
                <a:lnTo>
                  <a:pt x="4645" y="141"/>
                </a:lnTo>
                <a:lnTo>
                  <a:pt x="4638" y="143"/>
                </a:lnTo>
                <a:lnTo>
                  <a:pt x="4635" y="144"/>
                </a:lnTo>
                <a:lnTo>
                  <a:pt x="4633" y="144"/>
                </a:lnTo>
                <a:lnTo>
                  <a:pt x="4628" y="143"/>
                </a:lnTo>
                <a:lnTo>
                  <a:pt x="4624" y="141"/>
                </a:lnTo>
                <a:lnTo>
                  <a:pt x="4621" y="139"/>
                </a:lnTo>
                <a:lnTo>
                  <a:pt x="4619" y="138"/>
                </a:lnTo>
                <a:lnTo>
                  <a:pt x="4568" y="147"/>
                </a:lnTo>
                <a:lnTo>
                  <a:pt x="4564" y="150"/>
                </a:lnTo>
                <a:lnTo>
                  <a:pt x="4560" y="153"/>
                </a:lnTo>
                <a:lnTo>
                  <a:pt x="4558" y="156"/>
                </a:lnTo>
                <a:lnTo>
                  <a:pt x="4556" y="159"/>
                </a:lnTo>
                <a:lnTo>
                  <a:pt x="4554" y="167"/>
                </a:lnTo>
                <a:lnTo>
                  <a:pt x="4554" y="172"/>
                </a:lnTo>
                <a:lnTo>
                  <a:pt x="4554" y="176"/>
                </a:lnTo>
                <a:lnTo>
                  <a:pt x="4554" y="180"/>
                </a:lnTo>
                <a:lnTo>
                  <a:pt x="4555" y="184"/>
                </a:lnTo>
                <a:lnTo>
                  <a:pt x="4555" y="188"/>
                </a:lnTo>
                <a:lnTo>
                  <a:pt x="4557" y="192"/>
                </a:lnTo>
                <a:lnTo>
                  <a:pt x="4558" y="195"/>
                </a:lnTo>
                <a:lnTo>
                  <a:pt x="4560" y="199"/>
                </a:lnTo>
                <a:lnTo>
                  <a:pt x="4562" y="201"/>
                </a:lnTo>
                <a:lnTo>
                  <a:pt x="4565" y="203"/>
                </a:lnTo>
                <a:lnTo>
                  <a:pt x="4568" y="205"/>
                </a:lnTo>
                <a:lnTo>
                  <a:pt x="4571" y="206"/>
                </a:lnTo>
                <a:lnTo>
                  <a:pt x="4573" y="206"/>
                </a:lnTo>
                <a:lnTo>
                  <a:pt x="4575" y="206"/>
                </a:lnTo>
                <a:lnTo>
                  <a:pt x="4578" y="205"/>
                </a:lnTo>
                <a:lnTo>
                  <a:pt x="4580" y="203"/>
                </a:lnTo>
                <a:lnTo>
                  <a:pt x="4581" y="203"/>
                </a:lnTo>
                <a:lnTo>
                  <a:pt x="4582" y="203"/>
                </a:lnTo>
                <a:lnTo>
                  <a:pt x="4583" y="204"/>
                </a:lnTo>
                <a:lnTo>
                  <a:pt x="4584" y="205"/>
                </a:lnTo>
                <a:lnTo>
                  <a:pt x="4586" y="209"/>
                </a:lnTo>
                <a:lnTo>
                  <a:pt x="4588" y="212"/>
                </a:lnTo>
                <a:lnTo>
                  <a:pt x="4591" y="214"/>
                </a:lnTo>
                <a:lnTo>
                  <a:pt x="4594" y="216"/>
                </a:lnTo>
                <a:lnTo>
                  <a:pt x="4598" y="217"/>
                </a:lnTo>
                <a:lnTo>
                  <a:pt x="4605" y="220"/>
                </a:lnTo>
                <a:lnTo>
                  <a:pt x="4602" y="228"/>
                </a:lnTo>
                <a:lnTo>
                  <a:pt x="4601" y="236"/>
                </a:lnTo>
                <a:lnTo>
                  <a:pt x="4599" y="254"/>
                </a:lnTo>
                <a:lnTo>
                  <a:pt x="4601" y="255"/>
                </a:lnTo>
                <a:lnTo>
                  <a:pt x="4602" y="256"/>
                </a:lnTo>
                <a:lnTo>
                  <a:pt x="4602" y="257"/>
                </a:lnTo>
                <a:lnTo>
                  <a:pt x="4602" y="259"/>
                </a:lnTo>
                <a:lnTo>
                  <a:pt x="4602" y="262"/>
                </a:lnTo>
                <a:lnTo>
                  <a:pt x="4604" y="262"/>
                </a:lnTo>
                <a:lnTo>
                  <a:pt x="4605" y="264"/>
                </a:lnTo>
                <a:lnTo>
                  <a:pt x="4604" y="265"/>
                </a:lnTo>
                <a:lnTo>
                  <a:pt x="4603" y="269"/>
                </a:lnTo>
                <a:lnTo>
                  <a:pt x="4602" y="271"/>
                </a:lnTo>
                <a:lnTo>
                  <a:pt x="4599" y="271"/>
                </a:lnTo>
                <a:lnTo>
                  <a:pt x="4596" y="271"/>
                </a:lnTo>
                <a:lnTo>
                  <a:pt x="4593" y="270"/>
                </a:lnTo>
                <a:lnTo>
                  <a:pt x="4592" y="270"/>
                </a:lnTo>
                <a:lnTo>
                  <a:pt x="4591" y="271"/>
                </a:lnTo>
                <a:lnTo>
                  <a:pt x="4591" y="279"/>
                </a:lnTo>
                <a:lnTo>
                  <a:pt x="4600" y="285"/>
                </a:lnTo>
                <a:lnTo>
                  <a:pt x="4607" y="290"/>
                </a:lnTo>
                <a:lnTo>
                  <a:pt x="4610" y="291"/>
                </a:lnTo>
                <a:lnTo>
                  <a:pt x="4612" y="290"/>
                </a:lnTo>
                <a:lnTo>
                  <a:pt x="4615" y="288"/>
                </a:lnTo>
                <a:lnTo>
                  <a:pt x="4617" y="286"/>
                </a:lnTo>
                <a:lnTo>
                  <a:pt x="4618" y="285"/>
                </a:lnTo>
                <a:lnTo>
                  <a:pt x="4619" y="285"/>
                </a:lnTo>
                <a:lnTo>
                  <a:pt x="4622" y="284"/>
                </a:lnTo>
                <a:lnTo>
                  <a:pt x="4625" y="285"/>
                </a:lnTo>
                <a:lnTo>
                  <a:pt x="4627" y="285"/>
                </a:lnTo>
                <a:lnTo>
                  <a:pt x="4629" y="286"/>
                </a:lnTo>
                <a:lnTo>
                  <a:pt x="4633" y="288"/>
                </a:lnTo>
                <a:lnTo>
                  <a:pt x="4638" y="290"/>
                </a:lnTo>
                <a:lnTo>
                  <a:pt x="4641" y="304"/>
                </a:lnTo>
                <a:lnTo>
                  <a:pt x="4636" y="304"/>
                </a:lnTo>
                <a:lnTo>
                  <a:pt x="4633" y="293"/>
                </a:lnTo>
                <a:lnTo>
                  <a:pt x="4624" y="293"/>
                </a:lnTo>
                <a:lnTo>
                  <a:pt x="4615" y="293"/>
                </a:lnTo>
                <a:lnTo>
                  <a:pt x="4605" y="293"/>
                </a:lnTo>
                <a:lnTo>
                  <a:pt x="4593" y="293"/>
                </a:lnTo>
                <a:lnTo>
                  <a:pt x="4593" y="291"/>
                </a:lnTo>
                <a:lnTo>
                  <a:pt x="4592" y="288"/>
                </a:lnTo>
                <a:lnTo>
                  <a:pt x="4592" y="285"/>
                </a:lnTo>
                <a:lnTo>
                  <a:pt x="4591" y="282"/>
                </a:lnTo>
                <a:lnTo>
                  <a:pt x="4582" y="277"/>
                </a:lnTo>
                <a:lnTo>
                  <a:pt x="4578" y="275"/>
                </a:lnTo>
                <a:lnTo>
                  <a:pt x="4579" y="276"/>
                </a:lnTo>
                <a:lnTo>
                  <a:pt x="4575" y="277"/>
                </a:lnTo>
                <a:lnTo>
                  <a:pt x="4574" y="277"/>
                </a:lnTo>
                <a:lnTo>
                  <a:pt x="4575" y="278"/>
                </a:lnTo>
                <a:lnTo>
                  <a:pt x="4577" y="279"/>
                </a:lnTo>
                <a:lnTo>
                  <a:pt x="4574" y="282"/>
                </a:lnTo>
                <a:lnTo>
                  <a:pt x="4568" y="282"/>
                </a:lnTo>
                <a:lnTo>
                  <a:pt x="4572" y="265"/>
                </a:lnTo>
                <a:lnTo>
                  <a:pt x="4574" y="257"/>
                </a:lnTo>
                <a:lnTo>
                  <a:pt x="4576" y="250"/>
                </a:lnTo>
                <a:lnTo>
                  <a:pt x="4579" y="243"/>
                </a:lnTo>
                <a:lnTo>
                  <a:pt x="4582" y="236"/>
                </a:lnTo>
                <a:lnTo>
                  <a:pt x="4586" y="230"/>
                </a:lnTo>
                <a:lnTo>
                  <a:pt x="4591" y="223"/>
                </a:lnTo>
                <a:lnTo>
                  <a:pt x="4584" y="222"/>
                </a:lnTo>
                <a:lnTo>
                  <a:pt x="4575" y="220"/>
                </a:lnTo>
                <a:lnTo>
                  <a:pt x="4566" y="218"/>
                </a:lnTo>
                <a:lnTo>
                  <a:pt x="4560" y="217"/>
                </a:lnTo>
                <a:lnTo>
                  <a:pt x="4562" y="223"/>
                </a:lnTo>
                <a:lnTo>
                  <a:pt x="4557" y="223"/>
                </a:lnTo>
                <a:lnTo>
                  <a:pt x="4552" y="214"/>
                </a:lnTo>
                <a:lnTo>
                  <a:pt x="4548" y="206"/>
                </a:lnTo>
                <a:lnTo>
                  <a:pt x="4547" y="205"/>
                </a:lnTo>
                <a:lnTo>
                  <a:pt x="4546" y="207"/>
                </a:lnTo>
                <a:lnTo>
                  <a:pt x="4545" y="208"/>
                </a:lnTo>
                <a:lnTo>
                  <a:pt x="4544" y="209"/>
                </a:lnTo>
                <a:lnTo>
                  <a:pt x="4543" y="209"/>
                </a:lnTo>
                <a:lnTo>
                  <a:pt x="4537" y="203"/>
                </a:lnTo>
                <a:lnTo>
                  <a:pt x="4528" y="200"/>
                </a:lnTo>
                <a:lnTo>
                  <a:pt x="4524" y="199"/>
                </a:lnTo>
                <a:lnTo>
                  <a:pt x="4520" y="199"/>
                </a:lnTo>
                <a:lnTo>
                  <a:pt x="4516" y="199"/>
                </a:lnTo>
                <a:lnTo>
                  <a:pt x="4512" y="200"/>
                </a:lnTo>
                <a:lnTo>
                  <a:pt x="4503" y="203"/>
                </a:lnTo>
                <a:lnTo>
                  <a:pt x="4501" y="205"/>
                </a:lnTo>
                <a:lnTo>
                  <a:pt x="4499" y="206"/>
                </a:lnTo>
                <a:lnTo>
                  <a:pt x="4497" y="208"/>
                </a:lnTo>
                <a:lnTo>
                  <a:pt x="4496" y="209"/>
                </a:lnTo>
                <a:lnTo>
                  <a:pt x="4497" y="211"/>
                </a:lnTo>
                <a:lnTo>
                  <a:pt x="4498" y="211"/>
                </a:lnTo>
                <a:lnTo>
                  <a:pt x="4501" y="212"/>
                </a:lnTo>
                <a:lnTo>
                  <a:pt x="4506" y="212"/>
                </a:lnTo>
                <a:lnTo>
                  <a:pt x="4507" y="215"/>
                </a:lnTo>
                <a:lnTo>
                  <a:pt x="4509" y="217"/>
                </a:lnTo>
                <a:lnTo>
                  <a:pt x="4506" y="219"/>
                </a:lnTo>
                <a:lnTo>
                  <a:pt x="4505" y="220"/>
                </a:lnTo>
                <a:lnTo>
                  <a:pt x="4505" y="222"/>
                </a:lnTo>
                <a:lnTo>
                  <a:pt x="4504" y="224"/>
                </a:lnTo>
                <a:lnTo>
                  <a:pt x="4503" y="226"/>
                </a:lnTo>
                <a:lnTo>
                  <a:pt x="4501" y="226"/>
                </a:lnTo>
                <a:lnTo>
                  <a:pt x="4497" y="225"/>
                </a:lnTo>
                <a:lnTo>
                  <a:pt x="4494" y="224"/>
                </a:lnTo>
                <a:lnTo>
                  <a:pt x="4495" y="223"/>
                </a:lnTo>
                <a:lnTo>
                  <a:pt x="4490" y="220"/>
                </a:lnTo>
                <a:lnTo>
                  <a:pt x="4486" y="217"/>
                </a:lnTo>
                <a:lnTo>
                  <a:pt x="4483" y="217"/>
                </a:lnTo>
                <a:lnTo>
                  <a:pt x="4479" y="217"/>
                </a:lnTo>
                <a:lnTo>
                  <a:pt x="4475" y="217"/>
                </a:lnTo>
                <a:lnTo>
                  <a:pt x="4471" y="224"/>
                </a:lnTo>
                <a:lnTo>
                  <a:pt x="4467" y="231"/>
                </a:lnTo>
                <a:lnTo>
                  <a:pt x="4471" y="231"/>
                </a:lnTo>
                <a:lnTo>
                  <a:pt x="4475" y="231"/>
                </a:lnTo>
                <a:lnTo>
                  <a:pt x="4483" y="237"/>
                </a:lnTo>
                <a:lnTo>
                  <a:pt x="4492" y="243"/>
                </a:lnTo>
                <a:lnTo>
                  <a:pt x="4496" y="246"/>
                </a:lnTo>
                <a:lnTo>
                  <a:pt x="4497" y="248"/>
                </a:lnTo>
                <a:lnTo>
                  <a:pt x="4497" y="249"/>
                </a:lnTo>
                <a:lnTo>
                  <a:pt x="4497" y="250"/>
                </a:lnTo>
                <a:lnTo>
                  <a:pt x="4496" y="251"/>
                </a:lnTo>
                <a:lnTo>
                  <a:pt x="4493" y="252"/>
                </a:lnTo>
                <a:lnTo>
                  <a:pt x="4489" y="253"/>
                </a:lnTo>
                <a:lnTo>
                  <a:pt x="4485" y="254"/>
                </a:lnTo>
                <a:lnTo>
                  <a:pt x="4475" y="254"/>
                </a:lnTo>
                <a:lnTo>
                  <a:pt x="4473" y="251"/>
                </a:lnTo>
                <a:lnTo>
                  <a:pt x="4472" y="249"/>
                </a:lnTo>
                <a:lnTo>
                  <a:pt x="4471" y="248"/>
                </a:lnTo>
                <a:lnTo>
                  <a:pt x="4470" y="248"/>
                </a:lnTo>
                <a:lnTo>
                  <a:pt x="4469" y="248"/>
                </a:lnTo>
                <a:lnTo>
                  <a:pt x="4467" y="249"/>
                </a:lnTo>
                <a:lnTo>
                  <a:pt x="4464" y="251"/>
                </a:lnTo>
                <a:lnTo>
                  <a:pt x="4459" y="253"/>
                </a:lnTo>
                <a:lnTo>
                  <a:pt x="4457" y="254"/>
                </a:lnTo>
                <a:lnTo>
                  <a:pt x="4456" y="254"/>
                </a:lnTo>
                <a:lnTo>
                  <a:pt x="4455" y="253"/>
                </a:lnTo>
                <a:lnTo>
                  <a:pt x="4454" y="252"/>
                </a:lnTo>
                <a:lnTo>
                  <a:pt x="4451" y="250"/>
                </a:lnTo>
                <a:lnTo>
                  <a:pt x="4449" y="247"/>
                </a:lnTo>
                <a:lnTo>
                  <a:pt x="4447" y="245"/>
                </a:lnTo>
                <a:lnTo>
                  <a:pt x="4448" y="240"/>
                </a:lnTo>
                <a:lnTo>
                  <a:pt x="4448" y="235"/>
                </a:lnTo>
                <a:lnTo>
                  <a:pt x="4447" y="231"/>
                </a:lnTo>
                <a:lnTo>
                  <a:pt x="4441" y="226"/>
                </a:lnTo>
                <a:lnTo>
                  <a:pt x="4441" y="222"/>
                </a:lnTo>
                <a:lnTo>
                  <a:pt x="4441" y="217"/>
                </a:lnTo>
                <a:lnTo>
                  <a:pt x="4443" y="208"/>
                </a:lnTo>
                <a:lnTo>
                  <a:pt x="4444" y="203"/>
                </a:lnTo>
                <a:lnTo>
                  <a:pt x="4445" y="198"/>
                </a:lnTo>
                <a:lnTo>
                  <a:pt x="4445" y="193"/>
                </a:lnTo>
                <a:lnTo>
                  <a:pt x="4445" y="191"/>
                </a:lnTo>
                <a:lnTo>
                  <a:pt x="4444" y="189"/>
                </a:lnTo>
                <a:lnTo>
                  <a:pt x="4433" y="181"/>
                </a:lnTo>
                <a:lnTo>
                  <a:pt x="4436" y="198"/>
                </a:lnTo>
                <a:lnTo>
                  <a:pt x="4437" y="207"/>
                </a:lnTo>
                <a:lnTo>
                  <a:pt x="4437" y="212"/>
                </a:lnTo>
                <a:lnTo>
                  <a:pt x="4436" y="217"/>
                </a:lnTo>
                <a:lnTo>
                  <a:pt x="4435" y="220"/>
                </a:lnTo>
                <a:lnTo>
                  <a:pt x="4433" y="222"/>
                </a:lnTo>
                <a:lnTo>
                  <a:pt x="4429" y="225"/>
                </a:lnTo>
                <a:lnTo>
                  <a:pt x="4425" y="228"/>
                </a:lnTo>
                <a:lnTo>
                  <a:pt x="4423" y="230"/>
                </a:lnTo>
                <a:lnTo>
                  <a:pt x="4422" y="231"/>
                </a:lnTo>
                <a:lnTo>
                  <a:pt x="4420" y="235"/>
                </a:lnTo>
                <a:lnTo>
                  <a:pt x="4420" y="238"/>
                </a:lnTo>
                <a:lnTo>
                  <a:pt x="4420" y="241"/>
                </a:lnTo>
                <a:lnTo>
                  <a:pt x="4419" y="245"/>
                </a:lnTo>
                <a:lnTo>
                  <a:pt x="4417" y="248"/>
                </a:lnTo>
                <a:lnTo>
                  <a:pt x="4415" y="250"/>
                </a:lnTo>
                <a:lnTo>
                  <a:pt x="4414" y="251"/>
                </a:lnTo>
                <a:lnTo>
                  <a:pt x="4413" y="251"/>
                </a:lnTo>
                <a:lnTo>
                  <a:pt x="4420" y="259"/>
                </a:lnTo>
                <a:lnTo>
                  <a:pt x="4427" y="268"/>
                </a:lnTo>
                <a:lnTo>
                  <a:pt x="4428" y="271"/>
                </a:lnTo>
                <a:lnTo>
                  <a:pt x="4427" y="274"/>
                </a:lnTo>
                <a:lnTo>
                  <a:pt x="4427" y="276"/>
                </a:lnTo>
                <a:lnTo>
                  <a:pt x="4426" y="278"/>
                </a:lnTo>
                <a:lnTo>
                  <a:pt x="4423" y="282"/>
                </a:lnTo>
                <a:lnTo>
                  <a:pt x="4422" y="283"/>
                </a:lnTo>
                <a:lnTo>
                  <a:pt x="4422" y="285"/>
                </a:lnTo>
                <a:lnTo>
                  <a:pt x="4422" y="292"/>
                </a:lnTo>
                <a:lnTo>
                  <a:pt x="4423" y="299"/>
                </a:lnTo>
                <a:lnTo>
                  <a:pt x="4427" y="313"/>
                </a:lnTo>
                <a:lnTo>
                  <a:pt x="4432" y="312"/>
                </a:lnTo>
                <a:lnTo>
                  <a:pt x="4437" y="312"/>
                </a:lnTo>
                <a:lnTo>
                  <a:pt x="4442" y="311"/>
                </a:lnTo>
                <a:lnTo>
                  <a:pt x="4447" y="310"/>
                </a:lnTo>
                <a:lnTo>
                  <a:pt x="4450" y="308"/>
                </a:lnTo>
                <a:lnTo>
                  <a:pt x="4453" y="306"/>
                </a:lnTo>
                <a:lnTo>
                  <a:pt x="4456" y="303"/>
                </a:lnTo>
                <a:lnTo>
                  <a:pt x="4457" y="302"/>
                </a:lnTo>
                <a:lnTo>
                  <a:pt x="4458" y="302"/>
                </a:lnTo>
                <a:lnTo>
                  <a:pt x="4461" y="302"/>
                </a:lnTo>
                <a:lnTo>
                  <a:pt x="4464" y="304"/>
                </a:lnTo>
                <a:lnTo>
                  <a:pt x="4470" y="307"/>
                </a:lnTo>
                <a:lnTo>
                  <a:pt x="4472" y="307"/>
                </a:lnTo>
                <a:lnTo>
                  <a:pt x="4472" y="306"/>
                </a:lnTo>
                <a:lnTo>
                  <a:pt x="4472" y="305"/>
                </a:lnTo>
                <a:lnTo>
                  <a:pt x="4473" y="305"/>
                </a:lnTo>
                <a:lnTo>
                  <a:pt x="4475" y="304"/>
                </a:lnTo>
                <a:lnTo>
                  <a:pt x="4478" y="305"/>
                </a:lnTo>
                <a:lnTo>
                  <a:pt x="4481" y="306"/>
                </a:lnTo>
                <a:lnTo>
                  <a:pt x="4483" y="307"/>
                </a:lnTo>
                <a:lnTo>
                  <a:pt x="4486" y="309"/>
                </a:lnTo>
                <a:lnTo>
                  <a:pt x="4490" y="314"/>
                </a:lnTo>
                <a:lnTo>
                  <a:pt x="4494" y="319"/>
                </a:lnTo>
                <a:lnTo>
                  <a:pt x="4498" y="325"/>
                </a:lnTo>
                <a:lnTo>
                  <a:pt x="4501" y="331"/>
                </a:lnTo>
                <a:lnTo>
                  <a:pt x="4506" y="341"/>
                </a:lnTo>
                <a:lnTo>
                  <a:pt x="4500" y="345"/>
                </a:lnTo>
                <a:lnTo>
                  <a:pt x="4495" y="349"/>
                </a:lnTo>
                <a:lnTo>
                  <a:pt x="4495" y="351"/>
                </a:lnTo>
                <a:lnTo>
                  <a:pt x="4495" y="352"/>
                </a:lnTo>
                <a:lnTo>
                  <a:pt x="4495" y="355"/>
                </a:lnTo>
                <a:lnTo>
                  <a:pt x="4495" y="358"/>
                </a:lnTo>
                <a:lnTo>
                  <a:pt x="4495" y="360"/>
                </a:lnTo>
                <a:lnTo>
                  <a:pt x="4495" y="361"/>
                </a:lnTo>
                <a:lnTo>
                  <a:pt x="4498" y="363"/>
                </a:lnTo>
                <a:lnTo>
                  <a:pt x="4500" y="364"/>
                </a:lnTo>
                <a:lnTo>
                  <a:pt x="4500" y="365"/>
                </a:lnTo>
                <a:lnTo>
                  <a:pt x="4501" y="366"/>
                </a:lnTo>
                <a:lnTo>
                  <a:pt x="4508" y="368"/>
                </a:lnTo>
                <a:lnTo>
                  <a:pt x="4514" y="369"/>
                </a:lnTo>
                <a:lnTo>
                  <a:pt x="4521" y="370"/>
                </a:lnTo>
                <a:lnTo>
                  <a:pt x="4529" y="372"/>
                </a:lnTo>
                <a:lnTo>
                  <a:pt x="4529" y="373"/>
                </a:lnTo>
                <a:lnTo>
                  <a:pt x="4530" y="375"/>
                </a:lnTo>
                <a:lnTo>
                  <a:pt x="4531" y="378"/>
                </a:lnTo>
                <a:lnTo>
                  <a:pt x="4522" y="376"/>
                </a:lnTo>
                <a:lnTo>
                  <a:pt x="4514" y="375"/>
                </a:lnTo>
                <a:lnTo>
                  <a:pt x="4507" y="374"/>
                </a:lnTo>
                <a:lnTo>
                  <a:pt x="4498" y="372"/>
                </a:lnTo>
                <a:lnTo>
                  <a:pt x="4498" y="380"/>
                </a:lnTo>
                <a:lnTo>
                  <a:pt x="4497" y="380"/>
                </a:lnTo>
                <a:lnTo>
                  <a:pt x="4496" y="380"/>
                </a:lnTo>
                <a:lnTo>
                  <a:pt x="4494" y="378"/>
                </a:lnTo>
                <a:lnTo>
                  <a:pt x="4492" y="376"/>
                </a:lnTo>
                <a:lnTo>
                  <a:pt x="4492" y="375"/>
                </a:lnTo>
                <a:lnTo>
                  <a:pt x="4484" y="372"/>
                </a:lnTo>
                <a:lnTo>
                  <a:pt x="4485" y="361"/>
                </a:lnTo>
                <a:lnTo>
                  <a:pt x="4485" y="353"/>
                </a:lnTo>
                <a:lnTo>
                  <a:pt x="4485" y="346"/>
                </a:lnTo>
                <a:lnTo>
                  <a:pt x="4485" y="342"/>
                </a:lnTo>
                <a:lnTo>
                  <a:pt x="4485" y="340"/>
                </a:lnTo>
                <a:lnTo>
                  <a:pt x="4483" y="334"/>
                </a:lnTo>
                <a:lnTo>
                  <a:pt x="4481" y="328"/>
                </a:lnTo>
                <a:lnTo>
                  <a:pt x="4475" y="313"/>
                </a:lnTo>
                <a:lnTo>
                  <a:pt x="4463" y="316"/>
                </a:lnTo>
                <a:lnTo>
                  <a:pt x="4456" y="318"/>
                </a:lnTo>
                <a:lnTo>
                  <a:pt x="4450" y="320"/>
                </a:lnTo>
                <a:lnTo>
                  <a:pt x="4444" y="323"/>
                </a:lnTo>
                <a:lnTo>
                  <a:pt x="4439" y="326"/>
                </a:lnTo>
                <a:lnTo>
                  <a:pt x="4437" y="328"/>
                </a:lnTo>
                <a:lnTo>
                  <a:pt x="4435" y="331"/>
                </a:lnTo>
                <a:lnTo>
                  <a:pt x="4434" y="333"/>
                </a:lnTo>
                <a:lnTo>
                  <a:pt x="4433" y="335"/>
                </a:lnTo>
                <a:lnTo>
                  <a:pt x="4433" y="337"/>
                </a:lnTo>
                <a:lnTo>
                  <a:pt x="4434" y="340"/>
                </a:lnTo>
                <a:lnTo>
                  <a:pt x="4434" y="341"/>
                </a:lnTo>
                <a:lnTo>
                  <a:pt x="4435" y="342"/>
                </a:lnTo>
                <a:lnTo>
                  <a:pt x="4436" y="341"/>
                </a:lnTo>
                <a:lnTo>
                  <a:pt x="4437" y="343"/>
                </a:lnTo>
                <a:lnTo>
                  <a:pt x="4438" y="344"/>
                </a:lnTo>
                <a:lnTo>
                  <a:pt x="4438" y="346"/>
                </a:lnTo>
                <a:lnTo>
                  <a:pt x="4437" y="348"/>
                </a:lnTo>
                <a:lnTo>
                  <a:pt x="4436" y="351"/>
                </a:lnTo>
                <a:lnTo>
                  <a:pt x="4436" y="352"/>
                </a:lnTo>
                <a:lnTo>
                  <a:pt x="4434" y="366"/>
                </a:lnTo>
                <a:lnTo>
                  <a:pt x="4432" y="371"/>
                </a:lnTo>
                <a:lnTo>
                  <a:pt x="4431" y="376"/>
                </a:lnTo>
                <a:lnTo>
                  <a:pt x="4430" y="379"/>
                </a:lnTo>
                <a:lnTo>
                  <a:pt x="4428" y="382"/>
                </a:lnTo>
                <a:lnTo>
                  <a:pt x="4426" y="385"/>
                </a:lnTo>
                <a:lnTo>
                  <a:pt x="4424" y="387"/>
                </a:lnTo>
                <a:lnTo>
                  <a:pt x="4419" y="390"/>
                </a:lnTo>
                <a:lnTo>
                  <a:pt x="4413" y="392"/>
                </a:lnTo>
                <a:lnTo>
                  <a:pt x="4404" y="396"/>
                </a:lnTo>
                <a:lnTo>
                  <a:pt x="4394" y="400"/>
                </a:lnTo>
                <a:lnTo>
                  <a:pt x="4394" y="401"/>
                </a:lnTo>
                <a:lnTo>
                  <a:pt x="4395" y="402"/>
                </a:lnTo>
                <a:lnTo>
                  <a:pt x="4398" y="403"/>
                </a:lnTo>
                <a:lnTo>
                  <a:pt x="4401" y="404"/>
                </a:lnTo>
                <a:lnTo>
                  <a:pt x="4401" y="405"/>
                </a:lnTo>
                <a:lnTo>
                  <a:pt x="4402" y="406"/>
                </a:lnTo>
                <a:lnTo>
                  <a:pt x="4403" y="411"/>
                </a:lnTo>
                <a:lnTo>
                  <a:pt x="4404" y="416"/>
                </a:lnTo>
                <a:lnTo>
                  <a:pt x="4405" y="422"/>
                </a:lnTo>
                <a:lnTo>
                  <a:pt x="4405" y="425"/>
                </a:lnTo>
                <a:lnTo>
                  <a:pt x="4404" y="425"/>
                </a:lnTo>
                <a:lnTo>
                  <a:pt x="4403" y="425"/>
                </a:lnTo>
                <a:lnTo>
                  <a:pt x="4401" y="425"/>
                </a:lnTo>
                <a:lnTo>
                  <a:pt x="4398" y="426"/>
                </a:lnTo>
                <a:lnTo>
                  <a:pt x="4396" y="425"/>
                </a:lnTo>
                <a:lnTo>
                  <a:pt x="4393" y="417"/>
                </a:lnTo>
                <a:lnTo>
                  <a:pt x="4390" y="412"/>
                </a:lnTo>
                <a:lnTo>
                  <a:pt x="4388" y="409"/>
                </a:lnTo>
                <a:lnTo>
                  <a:pt x="4384" y="407"/>
                </a:lnTo>
                <a:lnTo>
                  <a:pt x="4381" y="406"/>
                </a:lnTo>
                <a:lnTo>
                  <a:pt x="4377" y="407"/>
                </a:lnTo>
                <a:lnTo>
                  <a:pt x="4374" y="407"/>
                </a:lnTo>
                <a:lnTo>
                  <a:pt x="4367" y="408"/>
                </a:lnTo>
                <a:lnTo>
                  <a:pt x="4364" y="409"/>
                </a:lnTo>
                <a:lnTo>
                  <a:pt x="4360" y="409"/>
                </a:lnTo>
                <a:lnTo>
                  <a:pt x="4357" y="408"/>
                </a:lnTo>
                <a:lnTo>
                  <a:pt x="4356" y="407"/>
                </a:lnTo>
                <a:lnTo>
                  <a:pt x="4354" y="406"/>
                </a:lnTo>
                <a:lnTo>
                  <a:pt x="4349" y="402"/>
                </a:lnTo>
                <a:lnTo>
                  <a:pt x="4340" y="395"/>
                </a:lnTo>
                <a:lnTo>
                  <a:pt x="4355" y="395"/>
                </a:lnTo>
                <a:lnTo>
                  <a:pt x="4371" y="395"/>
                </a:lnTo>
                <a:lnTo>
                  <a:pt x="4373" y="394"/>
                </a:lnTo>
                <a:lnTo>
                  <a:pt x="4375" y="392"/>
                </a:lnTo>
                <a:lnTo>
                  <a:pt x="4379" y="389"/>
                </a:lnTo>
                <a:lnTo>
                  <a:pt x="4383" y="385"/>
                </a:lnTo>
                <a:lnTo>
                  <a:pt x="4385" y="383"/>
                </a:lnTo>
                <a:lnTo>
                  <a:pt x="4387" y="383"/>
                </a:lnTo>
                <a:lnTo>
                  <a:pt x="4389" y="384"/>
                </a:lnTo>
                <a:lnTo>
                  <a:pt x="4392" y="386"/>
                </a:lnTo>
                <a:lnTo>
                  <a:pt x="4394" y="389"/>
                </a:lnTo>
                <a:lnTo>
                  <a:pt x="4395" y="388"/>
                </a:lnTo>
                <a:lnTo>
                  <a:pt x="4396" y="388"/>
                </a:lnTo>
                <a:lnTo>
                  <a:pt x="4397" y="387"/>
                </a:lnTo>
                <a:lnTo>
                  <a:pt x="4399" y="386"/>
                </a:lnTo>
                <a:lnTo>
                  <a:pt x="4402" y="386"/>
                </a:lnTo>
                <a:lnTo>
                  <a:pt x="4403" y="384"/>
                </a:lnTo>
                <a:lnTo>
                  <a:pt x="4403" y="383"/>
                </a:lnTo>
                <a:lnTo>
                  <a:pt x="4402" y="381"/>
                </a:lnTo>
                <a:lnTo>
                  <a:pt x="4400" y="379"/>
                </a:lnTo>
                <a:lnTo>
                  <a:pt x="4399" y="378"/>
                </a:lnTo>
                <a:lnTo>
                  <a:pt x="4413" y="366"/>
                </a:lnTo>
                <a:lnTo>
                  <a:pt x="4414" y="360"/>
                </a:lnTo>
                <a:lnTo>
                  <a:pt x="4414" y="351"/>
                </a:lnTo>
                <a:lnTo>
                  <a:pt x="4414" y="341"/>
                </a:lnTo>
                <a:lnTo>
                  <a:pt x="4413" y="335"/>
                </a:lnTo>
                <a:lnTo>
                  <a:pt x="4412" y="333"/>
                </a:lnTo>
                <a:lnTo>
                  <a:pt x="4410" y="331"/>
                </a:lnTo>
                <a:lnTo>
                  <a:pt x="4405" y="326"/>
                </a:lnTo>
                <a:lnTo>
                  <a:pt x="4399" y="321"/>
                </a:lnTo>
                <a:lnTo>
                  <a:pt x="4398" y="318"/>
                </a:lnTo>
                <a:lnTo>
                  <a:pt x="4396" y="316"/>
                </a:lnTo>
                <a:lnTo>
                  <a:pt x="4396" y="309"/>
                </a:lnTo>
                <a:lnTo>
                  <a:pt x="4396" y="303"/>
                </a:lnTo>
                <a:lnTo>
                  <a:pt x="4398" y="297"/>
                </a:lnTo>
                <a:lnTo>
                  <a:pt x="4400" y="292"/>
                </a:lnTo>
                <a:lnTo>
                  <a:pt x="4403" y="281"/>
                </a:lnTo>
                <a:lnTo>
                  <a:pt x="4405" y="276"/>
                </a:lnTo>
                <a:lnTo>
                  <a:pt x="4405" y="273"/>
                </a:lnTo>
                <a:lnTo>
                  <a:pt x="4405" y="271"/>
                </a:lnTo>
                <a:lnTo>
                  <a:pt x="4404" y="269"/>
                </a:lnTo>
                <a:lnTo>
                  <a:pt x="4403" y="267"/>
                </a:lnTo>
                <a:lnTo>
                  <a:pt x="4399" y="263"/>
                </a:lnTo>
                <a:lnTo>
                  <a:pt x="4394" y="258"/>
                </a:lnTo>
                <a:lnTo>
                  <a:pt x="4392" y="256"/>
                </a:lnTo>
                <a:lnTo>
                  <a:pt x="4391" y="254"/>
                </a:lnTo>
                <a:lnTo>
                  <a:pt x="4390" y="251"/>
                </a:lnTo>
                <a:lnTo>
                  <a:pt x="4390" y="249"/>
                </a:lnTo>
                <a:lnTo>
                  <a:pt x="4390" y="247"/>
                </a:lnTo>
                <a:lnTo>
                  <a:pt x="4389" y="246"/>
                </a:lnTo>
                <a:lnTo>
                  <a:pt x="4388" y="245"/>
                </a:lnTo>
                <a:lnTo>
                  <a:pt x="4388" y="243"/>
                </a:lnTo>
                <a:lnTo>
                  <a:pt x="4389" y="240"/>
                </a:lnTo>
                <a:lnTo>
                  <a:pt x="4391" y="234"/>
                </a:lnTo>
                <a:lnTo>
                  <a:pt x="4392" y="232"/>
                </a:lnTo>
                <a:lnTo>
                  <a:pt x="4395" y="230"/>
                </a:lnTo>
                <a:lnTo>
                  <a:pt x="4398" y="228"/>
                </a:lnTo>
                <a:lnTo>
                  <a:pt x="4399" y="226"/>
                </a:lnTo>
                <a:lnTo>
                  <a:pt x="4401" y="220"/>
                </a:lnTo>
                <a:lnTo>
                  <a:pt x="4402" y="214"/>
                </a:lnTo>
                <a:lnTo>
                  <a:pt x="4403" y="201"/>
                </a:lnTo>
                <a:lnTo>
                  <a:pt x="4403" y="194"/>
                </a:lnTo>
                <a:lnTo>
                  <a:pt x="4402" y="188"/>
                </a:lnTo>
                <a:lnTo>
                  <a:pt x="4401" y="182"/>
                </a:lnTo>
                <a:lnTo>
                  <a:pt x="4399" y="178"/>
                </a:lnTo>
                <a:lnTo>
                  <a:pt x="4398" y="176"/>
                </a:lnTo>
                <a:lnTo>
                  <a:pt x="4396" y="175"/>
                </a:lnTo>
                <a:lnTo>
                  <a:pt x="4393" y="173"/>
                </a:lnTo>
                <a:lnTo>
                  <a:pt x="4389" y="172"/>
                </a:lnTo>
                <a:lnTo>
                  <a:pt x="4381" y="171"/>
                </a:lnTo>
                <a:lnTo>
                  <a:pt x="4372" y="171"/>
                </a:lnTo>
                <a:lnTo>
                  <a:pt x="4363" y="171"/>
                </a:lnTo>
                <a:lnTo>
                  <a:pt x="4355" y="172"/>
                </a:lnTo>
                <a:lnTo>
                  <a:pt x="4348" y="173"/>
                </a:lnTo>
                <a:lnTo>
                  <a:pt x="4345" y="174"/>
                </a:lnTo>
                <a:lnTo>
                  <a:pt x="4343" y="175"/>
                </a:lnTo>
                <a:lnTo>
                  <a:pt x="4341" y="177"/>
                </a:lnTo>
                <a:lnTo>
                  <a:pt x="4339" y="180"/>
                </a:lnTo>
                <a:lnTo>
                  <a:pt x="4338" y="183"/>
                </a:lnTo>
                <a:lnTo>
                  <a:pt x="4337" y="187"/>
                </a:lnTo>
                <a:lnTo>
                  <a:pt x="4335" y="194"/>
                </a:lnTo>
                <a:lnTo>
                  <a:pt x="4333" y="197"/>
                </a:lnTo>
                <a:lnTo>
                  <a:pt x="4332" y="200"/>
                </a:lnTo>
                <a:lnTo>
                  <a:pt x="4329" y="200"/>
                </a:lnTo>
                <a:lnTo>
                  <a:pt x="4326" y="203"/>
                </a:lnTo>
                <a:lnTo>
                  <a:pt x="4323" y="206"/>
                </a:lnTo>
                <a:lnTo>
                  <a:pt x="4321" y="210"/>
                </a:lnTo>
                <a:lnTo>
                  <a:pt x="4318" y="214"/>
                </a:lnTo>
                <a:lnTo>
                  <a:pt x="4314" y="222"/>
                </a:lnTo>
                <a:lnTo>
                  <a:pt x="4312" y="226"/>
                </a:lnTo>
                <a:lnTo>
                  <a:pt x="4309" y="229"/>
                </a:lnTo>
                <a:lnTo>
                  <a:pt x="4308" y="229"/>
                </a:lnTo>
                <a:lnTo>
                  <a:pt x="4306" y="230"/>
                </a:lnTo>
                <a:lnTo>
                  <a:pt x="4304" y="230"/>
                </a:lnTo>
                <a:lnTo>
                  <a:pt x="4301" y="230"/>
                </a:lnTo>
                <a:lnTo>
                  <a:pt x="4300" y="230"/>
                </a:lnTo>
                <a:lnTo>
                  <a:pt x="4298" y="231"/>
                </a:lnTo>
                <a:lnTo>
                  <a:pt x="4300" y="243"/>
                </a:lnTo>
                <a:lnTo>
                  <a:pt x="4302" y="253"/>
                </a:lnTo>
                <a:lnTo>
                  <a:pt x="4303" y="262"/>
                </a:lnTo>
                <a:lnTo>
                  <a:pt x="4304" y="265"/>
                </a:lnTo>
                <a:lnTo>
                  <a:pt x="4304" y="268"/>
                </a:lnTo>
                <a:lnTo>
                  <a:pt x="4304" y="274"/>
                </a:lnTo>
                <a:lnTo>
                  <a:pt x="4295" y="276"/>
                </a:lnTo>
                <a:lnTo>
                  <a:pt x="4295" y="280"/>
                </a:lnTo>
                <a:lnTo>
                  <a:pt x="4295" y="285"/>
                </a:lnTo>
                <a:lnTo>
                  <a:pt x="4296" y="289"/>
                </a:lnTo>
                <a:lnTo>
                  <a:pt x="4296" y="291"/>
                </a:lnTo>
                <a:lnTo>
                  <a:pt x="4295" y="293"/>
                </a:lnTo>
                <a:lnTo>
                  <a:pt x="4302" y="295"/>
                </a:lnTo>
                <a:lnTo>
                  <a:pt x="4307" y="295"/>
                </a:lnTo>
                <a:lnTo>
                  <a:pt x="4311" y="295"/>
                </a:lnTo>
                <a:lnTo>
                  <a:pt x="4315" y="296"/>
                </a:lnTo>
                <a:lnTo>
                  <a:pt x="4314" y="304"/>
                </a:lnTo>
                <a:lnTo>
                  <a:pt x="4314" y="310"/>
                </a:lnTo>
                <a:lnTo>
                  <a:pt x="4315" y="324"/>
                </a:lnTo>
                <a:lnTo>
                  <a:pt x="4323" y="321"/>
                </a:lnTo>
                <a:lnTo>
                  <a:pt x="4320" y="330"/>
                </a:lnTo>
                <a:lnTo>
                  <a:pt x="4317" y="337"/>
                </a:lnTo>
                <a:lnTo>
                  <a:pt x="4314" y="343"/>
                </a:lnTo>
                <a:lnTo>
                  <a:pt x="4309" y="349"/>
                </a:lnTo>
                <a:lnTo>
                  <a:pt x="4305" y="343"/>
                </a:lnTo>
                <a:lnTo>
                  <a:pt x="4298" y="333"/>
                </a:lnTo>
                <a:lnTo>
                  <a:pt x="4287" y="319"/>
                </a:lnTo>
                <a:lnTo>
                  <a:pt x="4284" y="318"/>
                </a:lnTo>
                <a:lnTo>
                  <a:pt x="4281" y="319"/>
                </a:lnTo>
                <a:lnTo>
                  <a:pt x="4278" y="319"/>
                </a:lnTo>
                <a:lnTo>
                  <a:pt x="4277" y="319"/>
                </a:lnTo>
                <a:lnTo>
                  <a:pt x="4276" y="319"/>
                </a:lnTo>
                <a:lnTo>
                  <a:pt x="4274" y="317"/>
                </a:lnTo>
                <a:lnTo>
                  <a:pt x="4274" y="316"/>
                </a:lnTo>
                <a:lnTo>
                  <a:pt x="4274" y="315"/>
                </a:lnTo>
                <a:lnTo>
                  <a:pt x="4274" y="313"/>
                </a:lnTo>
                <a:lnTo>
                  <a:pt x="4276" y="310"/>
                </a:lnTo>
                <a:lnTo>
                  <a:pt x="4273" y="310"/>
                </a:lnTo>
                <a:lnTo>
                  <a:pt x="4270" y="310"/>
                </a:lnTo>
                <a:lnTo>
                  <a:pt x="4267" y="310"/>
                </a:lnTo>
                <a:lnTo>
                  <a:pt x="4264" y="310"/>
                </a:lnTo>
                <a:lnTo>
                  <a:pt x="4262" y="307"/>
                </a:lnTo>
                <a:lnTo>
                  <a:pt x="4260" y="306"/>
                </a:lnTo>
                <a:lnTo>
                  <a:pt x="4259" y="304"/>
                </a:lnTo>
                <a:lnTo>
                  <a:pt x="4258" y="308"/>
                </a:lnTo>
                <a:lnTo>
                  <a:pt x="4258" y="312"/>
                </a:lnTo>
                <a:lnTo>
                  <a:pt x="4257" y="314"/>
                </a:lnTo>
                <a:lnTo>
                  <a:pt x="4256" y="315"/>
                </a:lnTo>
                <a:lnTo>
                  <a:pt x="4255" y="316"/>
                </a:lnTo>
                <a:lnTo>
                  <a:pt x="4253" y="316"/>
                </a:lnTo>
                <a:lnTo>
                  <a:pt x="4253" y="315"/>
                </a:lnTo>
                <a:lnTo>
                  <a:pt x="4252" y="315"/>
                </a:lnTo>
                <a:lnTo>
                  <a:pt x="4252" y="313"/>
                </a:lnTo>
                <a:lnTo>
                  <a:pt x="4253" y="307"/>
                </a:lnTo>
                <a:lnTo>
                  <a:pt x="4255" y="302"/>
                </a:lnTo>
                <a:lnTo>
                  <a:pt x="4256" y="299"/>
                </a:lnTo>
                <a:lnTo>
                  <a:pt x="4246" y="297"/>
                </a:lnTo>
                <a:lnTo>
                  <a:pt x="4236" y="297"/>
                </a:lnTo>
                <a:lnTo>
                  <a:pt x="4227" y="297"/>
                </a:lnTo>
                <a:lnTo>
                  <a:pt x="4219" y="296"/>
                </a:lnTo>
                <a:lnTo>
                  <a:pt x="4216" y="293"/>
                </a:lnTo>
                <a:lnTo>
                  <a:pt x="4213" y="291"/>
                </a:lnTo>
                <a:lnTo>
                  <a:pt x="4211" y="290"/>
                </a:lnTo>
                <a:lnTo>
                  <a:pt x="4210" y="291"/>
                </a:lnTo>
                <a:lnTo>
                  <a:pt x="4209" y="294"/>
                </a:lnTo>
                <a:lnTo>
                  <a:pt x="4209" y="296"/>
                </a:lnTo>
                <a:lnTo>
                  <a:pt x="4208" y="299"/>
                </a:lnTo>
                <a:lnTo>
                  <a:pt x="4194" y="297"/>
                </a:lnTo>
                <a:lnTo>
                  <a:pt x="4180" y="296"/>
                </a:lnTo>
                <a:lnTo>
                  <a:pt x="4180" y="299"/>
                </a:lnTo>
                <a:lnTo>
                  <a:pt x="4180" y="300"/>
                </a:lnTo>
                <a:lnTo>
                  <a:pt x="4180" y="301"/>
                </a:lnTo>
                <a:lnTo>
                  <a:pt x="4177" y="302"/>
                </a:lnTo>
                <a:lnTo>
                  <a:pt x="4181" y="309"/>
                </a:lnTo>
                <a:lnTo>
                  <a:pt x="4182" y="315"/>
                </a:lnTo>
                <a:lnTo>
                  <a:pt x="4183" y="318"/>
                </a:lnTo>
                <a:lnTo>
                  <a:pt x="4183" y="321"/>
                </a:lnTo>
                <a:lnTo>
                  <a:pt x="4183" y="333"/>
                </a:lnTo>
                <a:lnTo>
                  <a:pt x="4181" y="333"/>
                </a:lnTo>
                <a:lnTo>
                  <a:pt x="4179" y="333"/>
                </a:lnTo>
                <a:lnTo>
                  <a:pt x="4174" y="335"/>
                </a:lnTo>
                <a:lnTo>
                  <a:pt x="4174" y="334"/>
                </a:lnTo>
                <a:lnTo>
                  <a:pt x="4172" y="332"/>
                </a:lnTo>
                <a:lnTo>
                  <a:pt x="4169" y="330"/>
                </a:lnTo>
                <a:lnTo>
                  <a:pt x="4163" y="333"/>
                </a:lnTo>
                <a:lnTo>
                  <a:pt x="4164" y="340"/>
                </a:lnTo>
                <a:lnTo>
                  <a:pt x="4164" y="343"/>
                </a:lnTo>
                <a:lnTo>
                  <a:pt x="4163" y="347"/>
                </a:lnTo>
                <a:lnTo>
                  <a:pt x="4159" y="342"/>
                </a:lnTo>
                <a:lnTo>
                  <a:pt x="4153" y="335"/>
                </a:lnTo>
                <a:lnTo>
                  <a:pt x="4151" y="331"/>
                </a:lnTo>
                <a:lnTo>
                  <a:pt x="4150" y="329"/>
                </a:lnTo>
                <a:lnTo>
                  <a:pt x="4150" y="327"/>
                </a:lnTo>
                <a:lnTo>
                  <a:pt x="4150" y="325"/>
                </a:lnTo>
                <a:lnTo>
                  <a:pt x="4151" y="324"/>
                </a:lnTo>
                <a:lnTo>
                  <a:pt x="4152" y="322"/>
                </a:lnTo>
                <a:lnTo>
                  <a:pt x="4155" y="321"/>
                </a:lnTo>
                <a:lnTo>
                  <a:pt x="4129" y="330"/>
                </a:lnTo>
                <a:lnTo>
                  <a:pt x="4127" y="330"/>
                </a:lnTo>
                <a:lnTo>
                  <a:pt x="4126" y="329"/>
                </a:lnTo>
                <a:lnTo>
                  <a:pt x="4126" y="328"/>
                </a:lnTo>
                <a:lnTo>
                  <a:pt x="4127" y="327"/>
                </a:lnTo>
                <a:lnTo>
                  <a:pt x="4126" y="327"/>
                </a:lnTo>
                <a:lnTo>
                  <a:pt x="4124" y="327"/>
                </a:lnTo>
                <a:lnTo>
                  <a:pt x="4126" y="331"/>
                </a:lnTo>
                <a:lnTo>
                  <a:pt x="4127" y="334"/>
                </a:lnTo>
                <a:lnTo>
                  <a:pt x="4127" y="335"/>
                </a:lnTo>
                <a:lnTo>
                  <a:pt x="4126" y="335"/>
                </a:lnTo>
                <a:lnTo>
                  <a:pt x="4122" y="336"/>
                </a:lnTo>
                <a:lnTo>
                  <a:pt x="4118" y="335"/>
                </a:lnTo>
                <a:lnTo>
                  <a:pt x="4115" y="334"/>
                </a:lnTo>
                <a:lnTo>
                  <a:pt x="4111" y="331"/>
                </a:lnTo>
                <a:lnTo>
                  <a:pt x="4107" y="329"/>
                </a:lnTo>
                <a:lnTo>
                  <a:pt x="4104" y="328"/>
                </a:lnTo>
                <a:lnTo>
                  <a:pt x="4100" y="327"/>
                </a:lnTo>
                <a:lnTo>
                  <a:pt x="4096" y="327"/>
                </a:lnTo>
                <a:lnTo>
                  <a:pt x="4094" y="328"/>
                </a:lnTo>
                <a:lnTo>
                  <a:pt x="4091" y="329"/>
                </a:lnTo>
                <a:lnTo>
                  <a:pt x="4085" y="333"/>
                </a:lnTo>
                <a:lnTo>
                  <a:pt x="4078" y="337"/>
                </a:lnTo>
                <a:lnTo>
                  <a:pt x="4077" y="338"/>
                </a:lnTo>
                <a:lnTo>
                  <a:pt x="4078" y="338"/>
                </a:lnTo>
                <a:lnTo>
                  <a:pt x="4078" y="343"/>
                </a:lnTo>
                <a:lnTo>
                  <a:pt x="4078" y="347"/>
                </a:lnTo>
                <a:lnTo>
                  <a:pt x="4076" y="347"/>
                </a:lnTo>
                <a:lnTo>
                  <a:pt x="4075" y="346"/>
                </a:lnTo>
                <a:lnTo>
                  <a:pt x="4072" y="343"/>
                </a:lnTo>
                <a:lnTo>
                  <a:pt x="4071" y="340"/>
                </a:lnTo>
                <a:lnTo>
                  <a:pt x="4070" y="339"/>
                </a:lnTo>
                <a:lnTo>
                  <a:pt x="4069" y="338"/>
                </a:lnTo>
                <a:lnTo>
                  <a:pt x="4068" y="338"/>
                </a:lnTo>
                <a:lnTo>
                  <a:pt x="4067" y="339"/>
                </a:lnTo>
                <a:lnTo>
                  <a:pt x="4065" y="341"/>
                </a:lnTo>
                <a:lnTo>
                  <a:pt x="4065" y="343"/>
                </a:lnTo>
                <a:lnTo>
                  <a:pt x="4064" y="344"/>
                </a:lnTo>
                <a:lnTo>
                  <a:pt x="4059" y="345"/>
                </a:lnTo>
                <a:lnTo>
                  <a:pt x="4054" y="344"/>
                </a:lnTo>
                <a:lnTo>
                  <a:pt x="4049" y="344"/>
                </a:lnTo>
                <a:lnTo>
                  <a:pt x="4044" y="344"/>
                </a:lnTo>
                <a:lnTo>
                  <a:pt x="4044" y="338"/>
                </a:lnTo>
                <a:lnTo>
                  <a:pt x="4055" y="338"/>
                </a:lnTo>
                <a:lnTo>
                  <a:pt x="4057" y="338"/>
                </a:lnTo>
                <a:lnTo>
                  <a:pt x="4058" y="337"/>
                </a:lnTo>
                <a:lnTo>
                  <a:pt x="4055" y="335"/>
                </a:lnTo>
                <a:lnTo>
                  <a:pt x="4053" y="334"/>
                </a:lnTo>
                <a:lnTo>
                  <a:pt x="4052" y="333"/>
                </a:lnTo>
                <a:lnTo>
                  <a:pt x="4052" y="330"/>
                </a:lnTo>
                <a:lnTo>
                  <a:pt x="4052" y="327"/>
                </a:lnTo>
                <a:lnTo>
                  <a:pt x="4050" y="326"/>
                </a:lnTo>
                <a:lnTo>
                  <a:pt x="4048" y="326"/>
                </a:lnTo>
                <a:lnTo>
                  <a:pt x="4046" y="325"/>
                </a:lnTo>
                <a:lnTo>
                  <a:pt x="4044" y="324"/>
                </a:lnTo>
                <a:lnTo>
                  <a:pt x="4046" y="321"/>
                </a:lnTo>
                <a:lnTo>
                  <a:pt x="4047" y="320"/>
                </a:lnTo>
                <a:lnTo>
                  <a:pt x="4047" y="319"/>
                </a:lnTo>
                <a:lnTo>
                  <a:pt x="4042" y="321"/>
                </a:lnTo>
                <a:lnTo>
                  <a:pt x="4036" y="324"/>
                </a:lnTo>
                <a:lnTo>
                  <a:pt x="4030" y="327"/>
                </a:lnTo>
                <a:lnTo>
                  <a:pt x="4028" y="328"/>
                </a:lnTo>
                <a:lnTo>
                  <a:pt x="4027" y="330"/>
                </a:lnTo>
                <a:lnTo>
                  <a:pt x="4027" y="334"/>
                </a:lnTo>
                <a:lnTo>
                  <a:pt x="4027" y="338"/>
                </a:lnTo>
                <a:lnTo>
                  <a:pt x="4026" y="337"/>
                </a:lnTo>
                <a:lnTo>
                  <a:pt x="4023" y="335"/>
                </a:lnTo>
                <a:lnTo>
                  <a:pt x="4018" y="333"/>
                </a:lnTo>
                <a:lnTo>
                  <a:pt x="4016" y="333"/>
                </a:lnTo>
                <a:lnTo>
                  <a:pt x="4013" y="333"/>
                </a:lnTo>
                <a:lnTo>
                  <a:pt x="4010" y="338"/>
                </a:lnTo>
                <a:lnTo>
                  <a:pt x="4008" y="339"/>
                </a:lnTo>
                <a:lnTo>
                  <a:pt x="4005" y="338"/>
                </a:lnTo>
                <a:lnTo>
                  <a:pt x="4002" y="338"/>
                </a:lnTo>
                <a:lnTo>
                  <a:pt x="3999" y="338"/>
                </a:lnTo>
                <a:lnTo>
                  <a:pt x="3996" y="339"/>
                </a:lnTo>
                <a:lnTo>
                  <a:pt x="3992" y="341"/>
                </a:lnTo>
                <a:lnTo>
                  <a:pt x="3985" y="347"/>
                </a:lnTo>
                <a:lnTo>
                  <a:pt x="3978" y="352"/>
                </a:lnTo>
                <a:lnTo>
                  <a:pt x="3974" y="354"/>
                </a:lnTo>
                <a:lnTo>
                  <a:pt x="3971" y="355"/>
                </a:lnTo>
                <a:lnTo>
                  <a:pt x="3968" y="355"/>
                </a:lnTo>
                <a:lnTo>
                  <a:pt x="3965" y="355"/>
                </a:lnTo>
                <a:lnTo>
                  <a:pt x="3962" y="355"/>
                </a:lnTo>
                <a:lnTo>
                  <a:pt x="3961" y="355"/>
                </a:lnTo>
                <a:lnTo>
                  <a:pt x="3960" y="355"/>
                </a:lnTo>
                <a:lnTo>
                  <a:pt x="3960" y="361"/>
                </a:lnTo>
                <a:lnTo>
                  <a:pt x="3956" y="362"/>
                </a:lnTo>
                <a:lnTo>
                  <a:pt x="3952" y="363"/>
                </a:lnTo>
                <a:lnTo>
                  <a:pt x="3949" y="363"/>
                </a:lnTo>
                <a:lnTo>
                  <a:pt x="3945" y="364"/>
                </a:lnTo>
                <a:lnTo>
                  <a:pt x="3943" y="378"/>
                </a:lnTo>
                <a:lnTo>
                  <a:pt x="3941" y="387"/>
                </a:lnTo>
                <a:lnTo>
                  <a:pt x="3940" y="392"/>
                </a:lnTo>
                <a:lnTo>
                  <a:pt x="3939" y="392"/>
                </a:lnTo>
                <a:lnTo>
                  <a:pt x="3938" y="391"/>
                </a:lnTo>
                <a:lnTo>
                  <a:pt x="3936" y="389"/>
                </a:lnTo>
                <a:lnTo>
                  <a:pt x="3935" y="389"/>
                </a:lnTo>
                <a:lnTo>
                  <a:pt x="3934" y="389"/>
                </a:lnTo>
                <a:lnTo>
                  <a:pt x="3933" y="390"/>
                </a:lnTo>
                <a:lnTo>
                  <a:pt x="3931" y="393"/>
                </a:lnTo>
                <a:lnTo>
                  <a:pt x="3930" y="396"/>
                </a:lnTo>
                <a:lnTo>
                  <a:pt x="3929" y="397"/>
                </a:lnTo>
                <a:lnTo>
                  <a:pt x="3924" y="399"/>
                </a:lnTo>
                <a:lnTo>
                  <a:pt x="3917" y="401"/>
                </a:lnTo>
                <a:lnTo>
                  <a:pt x="3911" y="402"/>
                </a:lnTo>
                <a:lnTo>
                  <a:pt x="3906" y="403"/>
                </a:lnTo>
                <a:lnTo>
                  <a:pt x="3904" y="397"/>
                </a:lnTo>
                <a:lnTo>
                  <a:pt x="3900" y="389"/>
                </a:lnTo>
                <a:lnTo>
                  <a:pt x="3899" y="385"/>
                </a:lnTo>
                <a:lnTo>
                  <a:pt x="3898" y="382"/>
                </a:lnTo>
                <a:lnTo>
                  <a:pt x="3897" y="378"/>
                </a:lnTo>
                <a:lnTo>
                  <a:pt x="3898" y="375"/>
                </a:lnTo>
                <a:lnTo>
                  <a:pt x="3898" y="374"/>
                </a:lnTo>
                <a:lnTo>
                  <a:pt x="3900" y="372"/>
                </a:lnTo>
                <a:lnTo>
                  <a:pt x="3902" y="369"/>
                </a:lnTo>
                <a:lnTo>
                  <a:pt x="3903" y="366"/>
                </a:lnTo>
                <a:lnTo>
                  <a:pt x="3912" y="365"/>
                </a:lnTo>
                <a:lnTo>
                  <a:pt x="3917" y="364"/>
                </a:lnTo>
                <a:lnTo>
                  <a:pt x="3926" y="364"/>
                </a:lnTo>
                <a:lnTo>
                  <a:pt x="3915" y="345"/>
                </a:lnTo>
                <a:lnTo>
                  <a:pt x="3912" y="340"/>
                </a:lnTo>
                <a:lnTo>
                  <a:pt x="3909" y="335"/>
                </a:lnTo>
                <a:lnTo>
                  <a:pt x="3906" y="332"/>
                </a:lnTo>
                <a:lnTo>
                  <a:pt x="3903" y="330"/>
                </a:lnTo>
                <a:lnTo>
                  <a:pt x="3901" y="329"/>
                </a:lnTo>
                <a:lnTo>
                  <a:pt x="3899" y="329"/>
                </a:lnTo>
                <a:lnTo>
                  <a:pt x="3895" y="329"/>
                </a:lnTo>
                <a:lnTo>
                  <a:pt x="3890" y="330"/>
                </a:lnTo>
                <a:lnTo>
                  <a:pt x="3886" y="330"/>
                </a:lnTo>
                <a:lnTo>
                  <a:pt x="3882" y="328"/>
                </a:lnTo>
                <a:lnTo>
                  <a:pt x="3877" y="326"/>
                </a:lnTo>
                <a:lnTo>
                  <a:pt x="3867" y="321"/>
                </a:lnTo>
                <a:lnTo>
                  <a:pt x="3875" y="333"/>
                </a:lnTo>
                <a:lnTo>
                  <a:pt x="3877" y="338"/>
                </a:lnTo>
                <a:lnTo>
                  <a:pt x="3878" y="340"/>
                </a:lnTo>
                <a:lnTo>
                  <a:pt x="3878" y="342"/>
                </a:lnTo>
                <a:lnTo>
                  <a:pt x="3879" y="346"/>
                </a:lnTo>
                <a:lnTo>
                  <a:pt x="3878" y="350"/>
                </a:lnTo>
                <a:lnTo>
                  <a:pt x="3877" y="353"/>
                </a:lnTo>
                <a:lnTo>
                  <a:pt x="3875" y="357"/>
                </a:lnTo>
                <a:lnTo>
                  <a:pt x="3870" y="366"/>
                </a:lnTo>
                <a:lnTo>
                  <a:pt x="3867" y="369"/>
                </a:lnTo>
                <a:lnTo>
                  <a:pt x="3865" y="371"/>
                </a:lnTo>
                <a:lnTo>
                  <a:pt x="3866" y="372"/>
                </a:lnTo>
                <a:lnTo>
                  <a:pt x="3867" y="372"/>
                </a:lnTo>
                <a:lnTo>
                  <a:pt x="3869" y="373"/>
                </a:lnTo>
                <a:lnTo>
                  <a:pt x="3871" y="374"/>
                </a:lnTo>
                <a:lnTo>
                  <a:pt x="3873" y="375"/>
                </a:lnTo>
                <a:lnTo>
                  <a:pt x="3874" y="377"/>
                </a:lnTo>
                <a:lnTo>
                  <a:pt x="3874" y="378"/>
                </a:lnTo>
                <a:lnTo>
                  <a:pt x="3874" y="380"/>
                </a:lnTo>
                <a:lnTo>
                  <a:pt x="3874" y="384"/>
                </a:lnTo>
                <a:lnTo>
                  <a:pt x="3872" y="389"/>
                </a:lnTo>
                <a:lnTo>
                  <a:pt x="3870" y="393"/>
                </a:lnTo>
                <a:lnTo>
                  <a:pt x="3867" y="400"/>
                </a:lnTo>
                <a:lnTo>
                  <a:pt x="3861" y="409"/>
                </a:lnTo>
                <a:lnTo>
                  <a:pt x="3862" y="410"/>
                </a:lnTo>
                <a:lnTo>
                  <a:pt x="3862" y="411"/>
                </a:lnTo>
                <a:lnTo>
                  <a:pt x="3862" y="412"/>
                </a:lnTo>
                <a:lnTo>
                  <a:pt x="3861" y="414"/>
                </a:lnTo>
                <a:lnTo>
                  <a:pt x="3858" y="417"/>
                </a:lnTo>
                <a:lnTo>
                  <a:pt x="3857" y="413"/>
                </a:lnTo>
                <a:lnTo>
                  <a:pt x="3855" y="409"/>
                </a:lnTo>
                <a:lnTo>
                  <a:pt x="3853" y="405"/>
                </a:lnTo>
                <a:lnTo>
                  <a:pt x="3851" y="404"/>
                </a:lnTo>
                <a:lnTo>
                  <a:pt x="3850" y="403"/>
                </a:lnTo>
                <a:lnTo>
                  <a:pt x="3849" y="403"/>
                </a:lnTo>
                <a:lnTo>
                  <a:pt x="3848" y="403"/>
                </a:lnTo>
                <a:lnTo>
                  <a:pt x="3846" y="403"/>
                </a:lnTo>
                <a:lnTo>
                  <a:pt x="3844" y="403"/>
                </a:lnTo>
                <a:lnTo>
                  <a:pt x="3843" y="403"/>
                </a:lnTo>
                <a:lnTo>
                  <a:pt x="3841" y="403"/>
                </a:lnTo>
                <a:lnTo>
                  <a:pt x="3840" y="402"/>
                </a:lnTo>
                <a:lnTo>
                  <a:pt x="3840" y="401"/>
                </a:lnTo>
                <a:lnTo>
                  <a:pt x="3839" y="399"/>
                </a:lnTo>
                <a:lnTo>
                  <a:pt x="3838" y="398"/>
                </a:lnTo>
                <a:lnTo>
                  <a:pt x="3837" y="398"/>
                </a:lnTo>
                <a:lnTo>
                  <a:pt x="3833" y="397"/>
                </a:lnTo>
                <a:lnTo>
                  <a:pt x="3828" y="401"/>
                </a:lnTo>
                <a:lnTo>
                  <a:pt x="3817" y="409"/>
                </a:lnTo>
                <a:lnTo>
                  <a:pt x="3799" y="423"/>
                </a:lnTo>
                <a:lnTo>
                  <a:pt x="3800" y="425"/>
                </a:lnTo>
                <a:lnTo>
                  <a:pt x="3800" y="427"/>
                </a:lnTo>
                <a:lnTo>
                  <a:pt x="3800" y="432"/>
                </a:lnTo>
                <a:lnTo>
                  <a:pt x="3801" y="436"/>
                </a:lnTo>
                <a:lnTo>
                  <a:pt x="3801" y="438"/>
                </a:lnTo>
                <a:lnTo>
                  <a:pt x="3802" y="440"/>
                </a:lnTo>
                <a:lnTo>
                  <a:pt x="3806" y="444"/>
                </a:lnTo>
                <a:lnTo>
                  <a:pt x="3813" y="450"/>
                </a:lnTo>
                <a:lnTo>
                  <a:pt x="3815" y="453"/>
                </a:lnTo>
                <a:lnTo>
                  <a:pt x="3815" y="454"/>
                </a:lnTo>
                <a:lnTo>
                  <a:pt x="3815" y="455"/>
                </a:lnTo>
                <a:lnTo>
                  <a:pt x="3814" y="456"/>
                </a:lnTo>
                <a:lnTo>
                  <a:pt x="3813" y="456"/>
                </a:lnTo>
                <a:lnTo>
                  <a:pt x="3808" y="456"/>
                </a:lnTo>
                <a:lnTo>
                  <a:pt x="3802" y="455"/>
                </a:lnTo>
                <a:lnTo>
                  <a:pt x="3796" y="453"/>
                </a:lnTo>
                <a:lnTo>
                  <a:pt x="3782" y="446"/>
                </a:lnTo>
                <a:lnTo>
                  <a:pt x="3768" y="438"/>
                </a:lnTo>
                <a:lnTo>
                  <a:pt x="3757" y="431"/>
                </a:lnTo>
                <a:lnTo>
                  <a:pt x="3755" y="440"/>
                </a:lnTo>
                <a:lnTo>
                  <a:pt x="3754" y="449"/>
                </a:lnTo>
                <a:lnTo>
                  <a:pt x="3755" y="453"/>
                </a:lnTo>
                <a:lnTo>
                  <a:pt x="3756" y="455"/>
                </a:lnTo>
                <a:lnTo>
                  <a:pt x="3756" y="457"/>
                </a:lnTo>
                <a:lnTo>
                  <a:pt x="3759" y="460"/>
                </a:lnTo>
                <a:lnTo>
                  <a:pt x="3763" y="462"/>
                </a:lnTo>
                <a:lnTo>
                  <a:pt x="3765" y="462"/>
                </a:lnTo>
                <a:lnTo>
                  <a:pt x="3767" y="462"/>
                </a:lnTo>
                <a:lnTo>
                  <a:pt x="3769" y="461"/>
                </a:lnTo>
                <a:lnTo>
                  <a:pt x="3771" y="462"/>
                </a:lnTo>
                <a:lnTo>
                  <a:pt x="3771" y="467"/>
                </a:lnTo>
                <a:lnTo>
                  <a:pt x="3771" y="472"/>
                </a:lnTo>
                <a:lnTo>
                  <a:pt x="3772" y="477"/>
                </a:lnTo>
                <a:lnTo>
                  <a:pt x="3772" y="479"/>
                </a:lnTo>
                <a:lnTo>
                  <a:pt x="3771" y="482"/>
                </a:lnTo>
                <a:lnTo>
                  <a:pt x="3768" y="484"/>
                </a:lnTo>
                <a:lnTo>
                  <a:pt x="3767" y="485"/>
                </a:lnTo>
                <a:lnTo>
                  <a:pt x="3766" y="486"/>
                </a:lnTo>
                <a:lnTo>
                  <a:pt x="3765" y="487"/>
                </a:lnTo>
                <a:lnTo>
                  <a:pt x="3761" y="487"/>
                </a:lnTo>
                <a:lnTo>
                  <a:pt x="3760" y="487"/>
                </a:lnTo>
                <a:lnTo>
                  <a:pt x="3759" y="486"/>
                </a:lnTo>
                <a:lnTo>
                  <a:pt x="3760" y="485"/>
                </a:lnTo>
                <a:lnTo>
                  <a:pt x="3753" y="483"/>
                </a:lnTo>
                <a:lnTo>
                  <a:pt x="3745" y="482"/>
                </a:lnTo>
                <a:lnTo>
                  <a:pt x="3737" y="482"/>
                </a:lnTo>
                <a:lnTo>
                  <a:pt x="3735" y="482"/>
                </a:lnTo>
                <a:lnTo>
                  <a:pt x="3734" y="476"/>
                </a:lnTo>
                <a:lnTo>
                  <a:pt x="3735" y="470"/>
                </a:lnTo>
                <a:lnTo>
                  <a:pt x="3731" y="470"/>
                </a:lnTo>
                <a:lnTo>
                  <a:pt x="3729" y="470"/>
                </a:lnTo>
                <a:lnTo>
                  <a:pt x="3727" y="470"/>
                </a:lnTo>
                <a:lnTo>
                  <a:pt x="3723" y="470"/>
                </a:lnTo>
                <a:lnTo>
                  <a:pt x="3721" y="464"/>
                </a:lnTo>
                <a:lnTo>
                  <a:pt x="3719" y="458"/>
                </a:lnTo>
                <a:lnTo>
                  <a:pt x="3717" y="452"/>
                </a:lnTo>
                <a:lnTo>
                  <a:pt x="3716" y="446"/>
                </a:lnTo>
                <a:lnTo>
                  <a:pt x="3715" y="440"/>
                </a:lnTo>
                <a:lnTo>
                  <a:pt x="3715" y="434"/>
                </a:lnTo>
                <a:lnTo>
                  <a:pt x="3715" y="420"/>
                </a:lnTo>
                <a:lnTo>
                  <a:pt x="3707" y="416"/>
                </a:lnTo>
                <a:lnTo>
                  <a:pt x="3703" y="414"/>
                </a:lnTo>
                <a:lnTo>
                  <a:pt x="3699" y="413"/>
                </a:lnTo>
                <a:lnTo>
                  <a:pt x="3691" y="411"/>
                </a:lnTo>
                <a:lnTo>
                  <a:pt x="3681" y="409"/>
                </a:lnTo>
                <a:lnTo>
                  <a:pt x="3684" y="400"/>
                </a:lnTo>
                <a:lnTo>
                  <a:pt x="3682" y="400"/>
                </a:lnTo>
                <a:lnTo>
                  <a:pt x="3678" y="400"/>
                </a:lnTo>
                <a:lnTo>
                  <a:pt x="3673" y="400"/>
                </a:lnTo>
                <a:lnTo>
                  <a:pt x="3673" y="396"/>
                </a:lnTo>
                <a:lnTo>
                  <a:pt x="3673" y="392"/>
                </a:lnTo>
                <a:lnTo>
                  <a:pt x="3670" y="386"/>
                </a:lnTo>
                <a:lnTo>
                  <a:pt x="3659" y="369"/>
                </a:lnTo>
                <a:lnTo>
                  <a:pt x="3681" y="383"/>
                </a:lnTo>
                <a:lnTo>
                  <a:pt x="3683" y="383"/>
                </a:lnTo>
                <a:lnTo>
                  <a:pt x="3684" y="381"/>
                </a:lnTo>
                <a:lnTo>
                  <a:pt x="3685" y="380"/>
                </a:lnTo>
                <a:lnTo>
                  <a:pt x="3687" y="380"/>
                </a:lnTo>
                <a:lnTo>
                  <a:pt x="3688" y="382"/>
                </a:lnTo>
                <a:lnTo>
                  <a:pt x="3690" y="383"/>
                </a:lnTo>
                <a:lnTo>
                  <a:pt x="3693" y="388"/>
                </a:lnTo>
                <a:lnTo>
                  <a:pt x="3696" y="392"/>
                </a:lnTo>
                <a:lnTo>
                  <a:pt x="3698" y="395"/>
                </a:lnTo>
                <a:lnTo>
                  <a:pt x="3699" y="392"/>
                </a:lnTo>
                <a:lnTo>
                  <a:pt x="3700" y="389"/>
                </a:lnTo>
                <a:lnTo>
                  <a:pt x="3701" y="387"/>
                </a:lnTo>
                <a:lnTo>
                  <a:pt x="3703" y="386"/>
                </a:lnTo>
                <a:lnTo>
                  <a:pt x="3704" y="386"/>
                </a:lnTo>
                <a:lnTo>
                  <a:pt x="3706" y="386"/>
                </a:lnTo>
                <a:lnTo>
                  <a:pt x="3706" y="395"/>
                </a:lnTo>
                <a:lnTo>
                  <a:pt x="3723" y="400"/>
                </a:lnTo>
                <a:lnTo>
                  <a:pt x="3744" y="406"/>
                </a:lnTo>
                <a:lnTo>
                  <a:pt x="3755" y="409"/>
                </a:lnTo>
                <a:lnTo>
                  <a:pt x="3765" y="411"/>
                </a:lnTo>
                <a:lnTo>
                  <a:pt x="3770" y="411"/>
                </a:lnTo>
                <a:lnTo>
                  <a:pt x="3774" y="412"/>
                </a:lnTo>
                <a:lnTo>
                  <a:pt x="3779" y="412"/>
                </a:lnTo>
                <a:lnTo>
                  <a:pt x="3782" y="411"/>
                </a:lnTo>
                <a:lnTo>
                  <a:pt x="3786" y="410"/>
                </a:lnTo>
                <a:lnTo>
                  <a:pt x="3791" y="406"/>
                </a:lnTo>
                <a:lnTo>
                  <a:pt x="3799" y="400"/>
                </a:lnTo>
                <a:lnTo>
                  <a:pt x="3803" y="397"/>
                </a:lnTo>
                <a:lnTo>
                  <a:pt x="3808" y="394"/>
                </a:lnTo>
                <a:lnTo>
                  <a:pt x="3812" y="389"/>
                </a:lnTo>
                <a:lnTo>
                  <a:pt x="3815" y="385"/>
                </a:lnTo>
                <a:lnTo>
                  <a:pt x="3817" y="382"/>
                </a:lnTo>
                <a:lnTo>
                  <a:pt x="3818" y="380"/>
                </a:lnTo>
                <a:lnTo>
                  <a:pt x="3819" y="377"/>
                </a:lnTo>
                <a:lnTo>
                  <a:pt x="3819" y="374"/>
                </a:lnTo>
                <a:lnTo>
                  <a:pt x="3819" y="371"/>
                </a:lnTo>
                <a:lnTo>
                  <a:pt x="3819" y="368"/>
                </a:lnTo>
                <a:lnTo>
                  <a:pt x="3818" y="364"/>
                </a:lnTo>
                <a:lnTo>
                  <a:pt x="3816" y="361"/>
                </a:lnTo>
                <a:lnTo>
                  <a:pt x="3810" y="361"/>
                </a:lnTo>
                <a:lnTo>
                  <a:pt x="3810" y="355"/>
                </a:lnTo>
                <a:lnTo>
                  <a:pt x="3805" y="353"/>
                </a:lnTo>
                <a:lnTo>
                  <a:pt x="3800" y="351"/>
                </a:lnTo>
                <a:lnTo>
                  <a:pt x="3796" y="349"/>
                </a:lnTo>
                <a:lnTo>
                  <a:pt x="3791" y="347"/>
                </a:lnTo>
                <a:lnTo>
                  <a:pt x="3791" y="341"/>
                </a:lnTo>
                <a:lnTo>
                  <a:pt x="3790" y="341"/>
                </a:lnTo>
                <a:lnTo>
                  <a:pt x="3789" y="341"/>
                </a:lnTo>
                <a:lnTo>
                  <a:pt x="3787" y="341"/>
                </a:lnTo>
                <a:lnTo>
                  <a:pt x="3785" y="341"/>
                </a:lnTo>
                <a:lnTo>
                  <a:pt x="3783" y="341"/>
                </a:lnTo>
                <a:lnTo>
                  <a:pt x="3782" y="341"/>
                </a:lnTo>
                <a:lnTo>
                  <a:pt x="3782" y="335"/>
                </a:lnTo>
                <a:lnTo>
                  <a:pt x="3759" y="323"/>
                </a:lnTo>
                <a:lnTo>
                  <a:pt x="3747" y="317"/>
                </a:lnTo>
                <a:lnTo>
                  <a:pt x="3742" y="315"/>
                </a:lnTo>
                <a:lnTo>
                  <a:pt x="3737" y="313"/>
                </a:lnTo>
                <a:lnTo>
                  <a:pt x="3732" y="312"/>
                </a:lnTo>
                <a:lnTo>
                  <a:pt x="3729" y="312"/>
                </a:lnTo>
                <a:lnTo>
                  <a:pt x="3726" y="313"/>
                </a:lnTo>
                <a:lnTo>
                  <a:pt x="3723" y="313"/>
                </a:lnTo>
                <a:lnTo>
                  <a:pt x="3722" y="311"/>
                </a:lnTo>
                <a:lnTo>
                  <a:pt x="3720" y="309"/>
                </a:lnTo>
                <a:lnTo>
                  <a:pt x="3719" y="306"/>
                </a:lnTo>
                <a:lnTo>
                  <a:pt x="3718" y="304"/>
                </a:lnTo>
                <a:lnTo>
                  <a:pt x="3715" y="304"/>
                </a:lnTo>
                <a:lnTo>
                  <a:pt x="3712" y="304"/>
                </a:lnTo>
                <a:lnTo>
                  <a:pt x="3709" y="305"/>
                </a:lnTo>
                <a:lnTo>
                  <a:pt x="3706" y="304"/>
                </a:lnTo>
                <a:lnTo>
                  <a:pt x="3704" y="299"/>
                </a:lnTo>
                <a:lnTo>
                  <a:pt x="3698" y="297"/>
                </a:lnTo>
                <a:lnTo>
                  <a:pt x="3693" y="296"/>
                </a:lnTo>
                <a:lnTo>
                  <a:pt x="3681" y="294"/>
                </a:lnTo>
                <a:lnTo>
                  <a:pt x="3670" y="294"/>
                </a:lnTo>
                <a:lnTo>
                  <a:pt x="3661" y="293"/>
                </a:lnTo>
                <a:lnTo>
                  <a:pt x="3661" y="288"/>
                </a:lnTo>
                <a:lnTo>
                  <a:pt x="3667" y="287"/>
                </a:lnTo>
                <a:lnTo>
                  <a:pt x="3670" y="286"/>
                </a:lnTo>
                <a:lnTo>
                  <a:pt x="3671" y="286"/>
                </a:lnTo>
                <a:lnTo>
                  <a:pt x="3671" y="285"/>
                </a:lnTo>
                <a:lnTo>
                  <a:pt x="3670" y="284"/>
                </a:lnTo>
                <a:lnTo>
                  <a:pt x="3665" y="282"/>
                </a:lnTo>
                <a:lnTo>
                  <a:pt x="3659" y="279"/>
                </a:lnTo>
                <a:lnTo>
                  <a:pt x="3658" y="279"/>
                </a:lnTo>
                <a:lnTo>
                  <a:pt x="3656" y="279"/>
                </a:lnTo>
                <a:lnTo>
                  <a:pt x="3653" y="280"/>
                </a:lnTo>
                <a:lnTo>
                  <a:pt x="3651" y="280"/>
                </a:lnTo>
                <a:lnTo>
                  <a:pt x="3647" y="280"/>
                </a:lnTo>
                <a:lnTo>
                  <a:pt x="3640" y="278"/>
                </a:lnTo>
                <a:lnTo>
                  <a:pt x="3635" y="277"/>
                </a:lnTo>
                <a:lnTo>
                  <a:pt x="3633" y="276"/>
                </a:lnTo>
                <a:lnTo>
                  <a:pt x="3630" y="276"/>
                </a:lnTo>
                <a:lnTo>
                  <a:pt x="3628" y="282"/>
                </a:lnTo>
                <a:lnTo>
                  <a:pt x="3622" y="283"/>
                </a:lnTo>
                <a:lnTo>
                  <a:pt x="3619" y="283"/>
                </a:lnTo>
                <a:lnTo>
                  <a:pt x="3614" y="285"/>
                </a:lnTo>
                <a:lnTo>
                  <a:pt x="3612" y="282"/>
                </a:lnTo>
                <a:lnTo>
                  <a:pt x="3611" y="278"/>
                </a:lnTo>
                <a:lnTo>
                  <a:pt x="3610" y="276"/>
                </a:lnTo>
                <a:lnTo>
                  <a:pt x="3608" y="274"/>
                </a:lnTo>
                <a:lnTo>
                  <a:pt x="3611" y="273"/>
                </a:lnTo>
                <a:lnTo>
                  <a:pt x="3615" y="274"/>
                </a:lnTo>
                <a:lnTo>
                  <a:pt x="3619" y="274"/>
                </a:lnTo>
                <a:lnTo>
                  <a:pt x="3620" y="274"/>
                </a:lnTo>
                <a:lnTo>
                  <a:pt x="3622" y="274"/>
                </a:lnTo>
                <a:lnTo>
                  <a:pt x="3623" y="272"/>
                </a:lnTo>
                <a:lnTo>
                  <a:pt x="3625" y="269"/>
                </a:lnTo>
                <a:lnTo>
                  <a:pt x="3626" y="266"/>
                </a:lnTo>
                <a:lnTo>
                  <a:pt x="3628" y="265"/>
                </a:lnTo>
                <a:lnTo>
                  <a:pt x="3630" y="265"/>
                </a:lnTo>
                <a:lnTo>
                  <a:pt x="3631" y="265"/>
                </a:lnTo>
                <a:lnTo>
                  <a:pt x="3633" y="266"/>
                </a:lnTo>
                <a:lnTo>
                  <a:pt x="3635" y="268"/>
                </a:lnTo>
                <a:lnTo>
                  <a:pt x="3637" y="268"/>
                </a:lnTo>
                <a:lnTo>
                  <a:pt x="3639" y="268"/>
                </a:lnTo>
                <a:lnTo>
                  <a:pt x="3637" y="265"/>
                </a:lnTo>
                <a:lnTo>
                  <a:pt x="3636" y="261"/>
                </a:lnTo>
                <a:lnTo>
                  <a:pt x="3635" y="257"/>
                </a:lnTo>
                <a:lnTo>
                  <a:pt x="3633" y="254"/>
                </a:lnTo>
                <a:lnTo>
                  <a:pt x="3631" y="254"/>
                </a:lnTo>
                <a:lnTo>
                  <a:pt x="3630" y="254"/>
                </a:lnTo>
                <a:lnTo>
                  <a:pt x="3630" y="255"/>
                </a:lnTo>
                <a:lnTo>
                  <a:pt x="3630" y="257"/>
                </a:lnTo>
                <a:lnTo>
                  <a:pt x="3626" y="257"/>
                </a:lnTo>
                <a:lnTo>
                  <a:pt x="3622" y="257"/>
                </a:lnTo>
                <a:lnTo>
                  <a:pt x="3623" y="254"/>
                </a:lnTo>
                <a:lnTo>
                  <a:pt x="3625" y="251"/>
                </a:lnTo>
                <a:lnTo>
                  <a:pt x="3626" y="249"/>
                </a:lnTo>
                <a:lnTo>
                  <a:pt x="3626" y="248"/>
                </a:lnTo>
                <a:lnTo>
                  <a:pt x="3623" y="249"/>
                </a:lnTo>
                <a:lnTo>
                  <a:pt x="3620" y="252"/>
                </a:lnTo>
                <a:lnTo>
                  <a:pt x="3618" y="254"/>
                </a:lnTo>
                <a:lnTo>
                  <a:pt x="3616" y="254"/>
                </a:lnTo>
                <a:lnTo>
                  <a:pt x="3616" y="248"/>
                </a:lnTo>
                <a:lnTo>
                  <a:pt x="3611" y="248"/>
                </a:lnTo>
                <a:lnTo>
                  <a:pt x="3611" y="247"/>
                </a:lnTo>
                <a:lnTo>
                  <a:pt x="3612" y="245"/>
                </a:lnTo>
                <a:lnTo>
                  <a:pt x="3614" y="243"/>
                </a:lnTo>
                <a:lnTo>
                  <a:pt x="3612" y="243"/>
                </a:lnTo>
                <a:lnTo>
                  <a:pt x="3611" y="243"/>
                </a:lnTo>
                <a:lnTo>
                  <a:pt x="3611" y="242"/>
                </a:lnTo>
                <a:lnTo>
                  <a:pt x="3610" y="241"/>
                </a:lnTo>
                <a:lnTo>
                  <a:pt x="3610" y="240"/>
                </a:lnTo>
                <a:lnTo>
                  <a:pt x="3609" y="239"/>
                </a:lnTo>
                <a:lnTo>
                  <a:pt x="3607" y="239"/>
                </a:lnTo>
                <a:lnTo>
                  <a:pt x="3605" y="240"/>
                </a:lnTo>
                <a:lnTo>
                  <a:pt x="3604" y="240"/>
                </a:lnTo>
                <a:lnTo>
                  <a:pt x="3604" y="241"/>
                </a:lnTo>
                <a:lnTo>
                  <a:pt x="3603" y="244"/>
                </a:lnTo>
                <a:lnTo>
                  <a:pt x="3603" y="247"/>
                </a:lnTo>
                <a:lnTo>
                  <a:pt x="3603" y="248"/>
                </a:lnTo>
                <a:lnTo>
                  <a:pt x="3602" y="248"/>
                </a:lnTo>
                <a:lnTo>
                  <a:pt x="3598" y="249"/>
                </a:lnTo>
                <a:lnTo>
                  <a:pt x="3594" y="250"/>
                </a:lnTo>
                <a:lnTo>
                  <a:pt x="3591" y="251"/>
                </a:lnTo>
                <a:lnTo>
                  <a:pt x="3591" y="245"/>
                </a:lnTo>
                <a:lnTo>
                  <a:pt x="3591" y="240"/>
                </a:lnTo>
                <a:lnTo>
                  <a:pt x="3595" y="240"/>
                </a:lnTo>
                <a:lnTo>
                  <a:pt x="3597" y="239"/>
                </a:lnTo>
                <a:lnTo>
                  <a:pt x="3598" y="238"/>
                </a:lnTo>
                <a:lnTo>
                  <a:pt x="3598" y="237"/>
                </a:lnTo>
                <a:lnTo>
                  <a:pt x="3598" y="236"/>
                </a:lnTo>
                <a:lnTo>
                  <a:pt x="3597" y="235"/>
                </a:lnTo>
                <a:lnTo>
                  <a:pt x="3595" y="234"/>
                </a:lnTo>
                <a:lnTo>
                  <a:pt x="3594" y="234"/>
                </a:lnTo>
                <a:lnTo>
                  <a:pt x="3595" y="234"/>
                </a:lnTo>
                <a:lnTo>
                  <a:pt x="3594" y="234"/>
                </a:lnTo>
                <a:lnTo>
                  <a:pt x="3591" y="232"/>
                </a:lnTo>
                <a:lnTo>
                  <a:pt x="3587" y="230"/>
                </a:lnTo>
                <a:lnTo>
                  <a:pt x="3583" y="229"/>
                </a:lnTo>
                <a:lnTo>
                  <a:pt x="3580" y="237"/>
                </a:lnTo>
                <a:lnTo>
                  <a:pt x="3574" y="240"/>
                </a:lnTo>
                <a:lnTo>
                  <a:pt x="3577" y="248"/>
                </a:lnTo>
                <a:lnTo>
                  <a:pt x="3571" y="253"/>
                </a:lnTo>
                <a:lnTo>
                  <a:pt x="3566" y="257"/>
                </a:lnTo>
                <a:lnTo>
                  <a:pt x="3566" y="259"/>
                </a:lnTo>
                <a:lnTo>
                  <a:pt x="3564" y="259"/>
                </a:lnTo>
                <a:lnTo>
                  <a:pt x="3563" y="259"/>
                </a:lnTo>
                <a:lnTo>
                  <a:pt x="3563" y="257"/>
                </a:lnTo>
                <a:lnTo>
                  <a:pt x="3563" y="255"/>
                </a:lnTo>
                <a:lnTo>
                  <a:pt x="3563" y="251"/>
                </a:lnTo>
                <a:lnTo>
                  <a:pt x="3563" y="248"/>
                </a:lnTo>
                <a:lnTo>
                  <a:pt x="3565" y="248"/>
                </a:lnTo>
                <a:lnTo>
                  <a:pt x="3566" y="247"/>
                </a:lnTo>
                <a:lnTo>
                  <a:pt x="3566" y="246"/>
                </a:lnTo>
                <a:lnTo>
                  <a:pt x="3566" y="245"/>
                </a:lnTo>
                <a:lnTo>
                  <a:pt x="3565" y="242"/>
                </a:lnTo>
                <a:lnTo>
                  <a:pt x="3563" y="240"/>
                </a:lnTo>
                <a:lnTo>
                  <a:pt x="3558" y="244"/>
                </a:lnTo>
                <a:lnTo>
                  <a:pt x="3556" y="247"/>
                </a:lnTo>
                <a:lnTo>
                  <a:pt x="3556" y="248"/>
                </a:lnTo>
                <a:lnTo>
                  <a:pt x="3557" y="248"/>
                </a:lnTo>
                <a:lnTo>
                  <a:pt x="3554" y="251"/>
                </a:lnTo>
                <a:lnTo>
                  <a:pt x="3550" y="255"/>
                </a:lnTo>
                <a:lnTo>
                  <a:pt x="3546" y="259"/>
                </a:lnTo>
                <a:lnTo>
                  <a:pt x="3544" y="261"/>
                </a:lnTo>
                <a:lnTo>
                  <a:pt x="3543" y="262"/>
                </a:lnTo>
                <a:lnTo>
                  <a:pt x="3543" y="263"/>
                </a:lnTo>
                <a:lnTo>
                  <a:pt x="3543" y="265"/>
                </a:lnTo>
                <a:lnTo>
                  <a:pt x="3543" y="267"/>
                </a:lnTo>
                <a:lnTo>
                  <a:pt x="3544" y="269"/>
                </a:lnTo>
                <a:lnTo>
                  <a:pt x="3544" y="270"/>
                </a:lnTo>
                <a:lnTo>
                  <a:pt x="3543" y="271"/>
                </a:lnTo>
                <a:lnTo>
                  <a:pt x="3542" y="272"/>
                </a:lnTo>
                <a:lnTo>
                  <a:pt x="3539" y="274"/>
                </a:lnTo>
                <a:lnTo>
                  <a:pt x="3536" y="275"/>
                </a:lnTo>
                <a:lnTo>
                  <a:pt x="3535" y="276"/>
                </a:lnTo>
                <a:lnTo>
                  <a:pt x="3536" y="271"/>
                </a:lnTo>
                <a:lnTo>
                  <a:pt x="3537" y="267"/>
                </a:lnTo>
                <a:lnTo>
                  <a:pt x="3537" y="262"/>
                </a:lnTo>
                <a:lnTo>
                  <a:pt x="3538" y="257"/>
                </a:lnTo>
                <a:lnTo>
                  <a:pt x="3543" y="256"/>
                </a:lnTo>
                <a:lnTo>
                  <a:pt x="3545" y="255"/>
                </a:lnTo>
                <a:lnTo>
                  <a:pt x="3546" y="254"/>
                </a:lnTo>
                <a:lnTo>
                  <a:pt x="3540" y="240"/>
                </a:lnTo>
                <a:lnTo>
                  <a:pt x="3538" y="241"/>
                </a:lnTo>
                <a:lnTo>
                  <a:pt x="3537" y="243"/>
                </a:lnTo>
                <a:lnTo>
                  <a:pt x="3537" y="244"/>
                </a:lnTo>
                <a:lnTo>
                  <a:pt x="3538" y="245"/>
                </a:lnTo>
                <a:lnTo>
                  <a:pt x="3535" y="244"/>
                </a:lnTo>
                <a:lnTo>
                  <a:pt x="3534" y="243"/>
                </a:lnTo>
                <a:lnTo>
                  <a:pt x="3534" y="241"/>
                </a:lnTo>
                <a:lnTo>
                  <a:pt x="3532" y="240"/>
                </a:lnTo>
                <a:lnTo>
                  <a:pt x="3531" y="240"/>
                </a:lnTo>
                <a:lnTo>
                  <a:pt x="3530" y="240"/>
                </a:lnTo>
                <a:lnTo>
                  <a:pt x="3527" y="239"/>
                </a:lnTo>
                <a:lnTo>
                  <a:pt x="3524" y="237"/>
                </a:lnTo>
                <a:lnTo>
                  <a:pt x="3524" y="246"/>
                </a:lnTo>
                <a:lnTo>
                  <a:pt x="3524" y="251"/>
                </a:lnTo>
                <a:lnTo>
                  <a:pt x="3524" y="253"/>
                </a:lnTo>
                <a:lnTo>
                  <a:pt x="3524" y="254"/>
                </a:lnTo>
                <a:lnTo>
                  <a:pt x="3518" y="251"/>
                </a:lnTo>
                <a:lnTo>
                  <a:pt x="3519" y="250"/>
                </a:lnTo>
                <a:lnTo>
                  <a:pt x="3519" y="248"/>
                </a:lnTo>
                <a:lnTo>
                  <a:pt x="3519" y="247"/>
                </a:lnTo>
                <a:lnTo>
                  <a:pt x="3517" y="247"/>
                </a:lnTo>
                <a:lnTo>
                  <a:pt x="3512" y="245"/>
                </a:lnTo>
                <a:lnTo>
                  <a:pt x="3512" y="247"/>
                </a:lnTo>
                <a:lnTo>
                  <a:pt x="3512" y="249"/>
                </a:lnTo>
                <a:lnTo>
                  <a:pt x="3512" y="252"/>
                </a:lnTo>
                <a:lnTo>
                  <a:pt x="3512" y="254"/>
                </a:lnTo>
                <a:lnTo>
                  <a:pt x="3495" y="268"/>
                </a:lnTo>
                <a:lnTo>
                  <a:pt x="3489" y="263"/>
                </a:lnTo>
                <a:lnTo>
                  <a:pt x="3482" y="259"/>
                </a:lnTo>
                <a:lnTo>
                  <a:pt x="3474" y="255"/>
                </a:lnTo>
                <a:lnTo>
                  <a:pt x="3470" y="254"/>
                </a:lnTo>
                <a:lnTo>
                  <a:pt x="3467" y="254"/>
                </a:lnTo>
                <a:lnTo>
                  <a:pt x="3464" y="258"/>
                </a:lnTo>
                <a:lnTo>
                  <a:pt x="3462" y="262"/>
                </a:lnTo>
                <a:lnTo>
                  <a:pt x="3466" y="262"/>
                </a:lnTo>
                <a:lnTo>
                  <a:pt x="3470" y="262"/>
                </a:lnTo>
                <a:lnTo>
                  <a:pt x="3471" y="269"/>
                </a:lnTo>
                <a:lnTo>
                  <a:pt x="3471" y="271"/>
                </a:lnTo>
                <a:lnTo>
                  <a:pt x="3473" y="274"/>
                </a:lnTo>
                <a:lnTo>
                  <a:pt x="3466" y="271"/>
                </a:lnTo>
                <a:lnTo>
                  <a:pt x="3459" y="268"/>
                </a:lnTo>
                <a:lnTo>
                  <a:pt x="3462" y="279"/>
                </a:lnTo>
                <a:lnTo>
                  <a:pt x="3457" y="279"/>
                </a:lnTo>
                <a:lnTo>
                  <a:pt x="3453" y="279"/>
                </a:lnTo>
                <a:lnTo>
                  <a:pt x="3455" y="272"/>
                </a:lnTo>
                <a:lnTo>
                  <a:pt x="3455" y="269"/>
                </a:lnTo>
                <a:lnTo>
                  <a:pt x="3453" y="268"/>
                </a:lnTo>
                <a:lnTo>
                  <a:pt x="3449" y="276"/>
                </a:lnTo>
                <a:lnTo>
                  <a:pt x="3448" y="279"/>
                </a:lnTo>
                <a:lnTo>
                  <a:pt x="3447" y="280"/>
                </a:lnTo>
                <a:lnTo>
                  <a:pt x="3446" y="280"/>
                </a:lnTo>
                <a:lnTo>
                  <a:pt x="3445" y="278"/>
                </a:lnTo>
                <a:lnTo>
                  <a:pt x="3442" y="268"/>
                </a:lnTo>
                <a:lnTo>
                  <a:pt x="3441" y="269"/>
                </a:lnTo>
                <a:lnTo>
                  <a:pt x="3441" y="271"/>
                </a:lnTo>
                <a:lnTo>
                  <a:pt x="3441" y="274"/>
                </a:lnTo>
                <a:lnTo>
                  <a:pt x="3440" y="276"/>
                </a:lnTo>
                <a:lnTo>
                  <a:pt x="3440" y="278"/>
                </a:lnTo>
                <a:lnTo>
                  <a:pt x="3439" y="279"/>
                </a:lnTo>
                <a:lnTo>
                  <a:pt x="3437" y="281"/>
                </a:lnTo>
                <a:lnTo>
                  <a:pt x="3434" y="282"/>
                </a:lnTo>
                <a:lnTo>
                  <a:pt x="3430" y="283"/>
                </a:lnTo>
                <a:lnTo>
                  <a:pt x="3428" y="285"/>
                </a:lnTo>
                <a:lnTo>
                  <a:pt x="3427" y="283"/>
                </a:lnTo>
                <a:lnTo>
                  <a:pt x="3426" y="282"/>
                </a:lnTo>
                <a:lnTo>
                  <a:pt x="3427" y="280"/>
                </a:lnTo>
                <a:lnTo>
                  <a:pt x="3427" y="279"/>
                </a:lnTo>
                <a:lnTo>
                  <a:pt x="3426" y="278"/>
                </a:lnTo>
                <a:lnTo>
                  <a:pt x="3425" y="277"/>
                </a:lnTo>
                <a:lnTo>
                  <a:pt x="3422" y="276"/>
                </a:lnTo>
                <a:lnTo>
                  <a:pt x="3420" y="288"/>
                </a:lnTo>
                <a:lnTo>
                  <a:pt x="3422" y="287"/>
                </a:lnTo>
                <a:lnTo>
                  <a:pt x="3425" y="288"/>
                </a:lnTo>
                <a:lnTo>
                  <a:pt x="3425" y="289"/>
                </a:lnTo>
                <a:lnTo>
                  <a:pt x="3424" y="290"/>
                </a:lnTo>
                <a:lnTo>
                  <a:pt x="3422" y="290"/>
                </a:lnTo>
                <a:lnTo>
                  <a:pt x="3416" y="292"/>
                </a:lnTo>
                <a:lnTo>
                  <a:pt x="3414" y="293"/>
                </a:lnTo>
                <a:lnTo>
                  <a:pt x="3415" y="293"/>
                </a:lnTo>
                <a:lnTo>
                  <a:pt x="3417" y="293"/>
                </a:lnTo>
                <a:lnTo>
                  <a:pt x="3417" y="299"/>
                </a:lnTo>
                <a:lnTo>
                  <a:pt x="3413" y="299"/>
                </a:lnTo>
                <a:lnTo>
                  <a:pt x="3411" y="297"/>
                </a:lnTo>
                <a:lnTo>
                  <a:pt x="3409" y="296"/>
                </a:lnTo>
                <a:lnTo>
                  <a:pt x="3408" y="296"/>
                </a:lnTo>
                <a:lnTo>
                  <a:pt x="3405" y="296"/>
                </a:lnTo>
                <a:lnTo>
                  <a:pt x="3405" y="304"/>
                </a:lnTo>
                <a:lnTo>
                  <a:pt x="3403" y="304"/>
                </a:lnTo>
                <a:lnTo>
                  <a:pt x="3402" y="304"/>
                </a:lnTo>
                <a:lnTo>
                  <a:pt x="3401" y="303"/>
                </a:lnTo>
                <a:lnTo>
                  <a:pt x="3401" y="302"/>
                </a:lnTo>
                <a:lnTo>
                  <a:pt x="3401" y="301"/>
                </a:lnTo>
                <a:lnTo>
                  <a:pt x="3401" y="297"/>
                </a:lnTo>
                <a:lnTo>
                  <a:pt x="3402" y="293"/>
                </a:lnTo>
                <a:lnTo>
                  <a:pt x="3403" y="289"/>
                </a:lnTo>
                <a:lnTo>
                  <a:pt x="3402" y="287"/>
                </a:lnTo>
                <a:lnTo>
                  <a:pt x="3402" y="286"/>
                </a:lnTo>
                <a:lnTo>
                  <a:pt x="3401" y="286"/>
                </a:lnTo>
                <a:lnTo>
                  <a:pt x="3400" y="286"/>
                </a:lnTo>
                <a:lnTo>
                  <a:pt x="3397" y="286"/>
                </a:lnTo>
                <a:lnTo>
                  <a:pt x="3394" y="288"/>
                </a:lnTo>
                <a:lnTo>
                  <a:pt x="3391" y="290"/>
                </a:lnTo>
                <a:lnTo>
                  <a:pt x="3389" y="291"/>
                </a:lnTo>
                <a:lnTo>
                  <a:pt x="3386" y="293"/>
                </a:lnTo>
                <a:lnTo>
                  <a:pt x="3386" y="304"/>
                </a:lnTo>
                <a:lnTo>
                  <a:pt x="3387" y="306"/>
                </a:lnTo>
                <a:lnTo>
                  <a:pt x="3387" y="307"/>
                </a:lnTo>
                <a:lnTo>
                  <a:pt x="3388" y="307"/>
                </a:lnTo>
                <a:lnTo>
                  <a:pt x="3391" y="307"/>
                </a:lnTo>
                <a:lnTo>
                  <a:pt x="3394" y="306"/>
                </a:lnTo>
                <a:lnTo>
                  <a:pt x="3400" y="304"/>
                </a:lnTo>
                <a:lnTo>
                  <a:pt x="3397" y="317"/>
                </a:lnTo>
                <a:lnTo>
                  <a:pt x="3396" y="321"/>
                </a:lnTo>
                <a:lnTo>
                  <a:pt x="3394" y="325"/>
                </a:lnTo>
                <a:lnTo>
                  <a:pt x="3392" y="327"/>
                </a:lnTo>
                <a:lnTo>
                  <a:pt x="3389" y="330"/>
                </a:lnTo>
                <a:lnTo>
                  <a:pt x="3384" y="332"/>
                </a:lnTo>
                <a:lnTo>
                  <a:pt x="3377" y="335"/>
                </a:lnTo>
                <a:lnTo>
                  <a:pt x="3378" y="339"/>
                </a:lnTo>
                <a:lnTo>
                  <a:pt x="3379" y="340"/>
                </a:lnTo>
                <a:lnTo>
                  <a:pt x="3380" y="340"/>
                </a:lnTo>
                <a:lnTo>
                  <a:pt x="3381" y="340"/>
                </a:lnTo>
                <a:lnTo>
                  <a:pt x="3383" y="341"/>
                </a:lnTo>
                <a:lnTo>
                  <a:pt x="3383" y="352"/>
                </a:lnTo>
                <a:lnTo>
                  <a:pt x="3375" y="348"/>
                </a:lnTo>
                <a:lnTo>
                  <a:pt x="3366" y="344"/>
                </a:lnTo>
                <a:lnTo>
                  <a:pt x="3368" y="349"/>
                </a:lnTo>
                <a:lnTo>
                  <a:pt x="3369" y="352"/>
                </a:lnTo>
                <a:lnTo>
                  <a:pt x="3372" y="356"/>
                </a:lnTo>
                <a:lnTo>
                  <a:pt x="3374" y="361"/>
                </a:lnTo>
                <a:lnTo>
                  <a:pt x="3377" y="369"/>
                </a:lnTo>
                <a:lnTo>
                  <a:pt x="3376" y="370"/>
                </a:lnTo>
                <a:lnTo>
                  <a:pt x="3374" y="370"/>
                </a:lnTo>
                <a:lnTo>
                  <a:pt x="3370" y="369"/>
                </a:lnTo>
                <a:lnTo>
                  <a:pt x="3366" y="369"/>
                </a:lnTo>
                <a:lnTo>
                  <a:pt x="3365" y="369"/>
                </a:lnTo>
                <a:lnTo>
                  <a:pt x="3363" y="369"/>
                </a:lnTo>
                <a:lnTo>
                  <a:pt x="3363" y="371"/>
                </a:lnTo>
                <a:lnTo>
                  <a:pt x="3363" y="375"/>
                </a:lnTo>
                <a:lnTo>
                  <a:pt x="3363" y="380"/>
                </a:lnTo>
                <a:lnTo>
                  <a:pt x="3355" y="386"/>
                </a:lnTo>
                <a:lnTo>
                  <a:pt x="3350" y="388"/>
                </a:lnTo>
                <a:lnTo>
                  <a:pt x="3348" y="389"/>
                </a:lnTo>
                <a:lnTo>
                  <a:pt x="3346" y="389"/>
                </a:lnTo>
                <a:lnTo>
                  <a:pt x="3346" y="388"/>
                </a:lnTo>
                <a:lnTo>
                  <a:pt x="3346" y="386"/>
                </a:lnTo>
                <a:lnTo>
                  <a:pt x="3346" y="385"/>
                </a:lnTo>
                <a:lnTo>
                  <a:pt x="3345" y="385"/>
                </a:lnTo>
                <a:lnTo>
                  <a:pt x="3344" y="386"/>
                </a:lnTo>
                <a:lnTo>
                  <a:pt x="3342" y="388"/>
                </a:lnTo>
                <a:lnTo>
                  <a:pt x="3341" y="392"/>
                </a:lnTo>
                <a:lnTo>
                  <a:pt x="3339" y="395"/>
                </a:lnTo>
                <a:lnTo>
                  <a:pt x="3338" y="397"/>
                </a:lnTo>
                <a:lnTo>
                  <a:pt x="3336" y="397"/>
                </a:lnTo>
                <a:lnTo>
                  <a:pt x="3333" y="397"/>
                </a:lnTo>
                <a:lnTo>
                  <a:pt x="3331" y="397"/>
                </a:lnTo>
                <a:lnTo>
                  <a:pt x="3329" y="397"/>
                </a:lnTo>
                <a:lnTo>
                  <a:pt x="3329" y="403"/>
                </a:lnTo>
                <a:lnTo>
                  <a:pt x="3335" y="403"/>
                </a:lnTo>
                <a:lnTo>
                  <a:pt x="3332" y="405"/>
                </a:lnTo>
                <a:lnTo>
                  <a:pt x="3331" y="406"/>
                </a:lnTo>
                <a:lnTo>
                  <a:pt x="3331" y="407"/>
                </a:lnTo>
                <a:lnTo>
                  <a:pt x="3331" y="408"/>
                </a:lnTo>
                <a:lnTo>
                  <a:pt x="3331" y="409"/>
                </a:lnTo>
                <a:lnTo>
                  <a:pt x="3332" y="411"/>
                </a:lnTo>
                <a:lnTo>
                  <a:pt x="3333" y="413"/>
                </a:lnTo>
                <a:lnTo>
                  <a:pt x="3333" y="415"/>
                </a:lnTo>
                <a:lnTo>
                  <a:pt x="3332" y="417"/>
                </a:lnTo>
                <a:lnTo>
                  <a:pt x="3332" y="418"/>
                </a:lnTo>
                <a:lnTo>
                  <a:pt x="3331" y="418"/>
                </a:lnTo>
                <a:lnTo>
                  <a:pt x="3329" y="419"/>
                </a:lnTo>
                <a:lnTo>
                  <a:pt x="3326" y="419"/>
                </a:lnTo>
                <a:lnTo>
                  <a:pt x="3324" y="420"/>
                </a:lnTo>
                <a:lnTo>
                  <a:pt x="3316" y="424"/>
                </a:lnTo>
                <a:lnTo>
                  <a:pt x="3313" y="426"/>
                </a:lnTo>
                <a:lnTo>
                  <a:pt x="3310" y="428"/>
                </a:lnTo>
                <a:lnTo>
                  <a:pt x="3308" y="431"/>
                </a:lnTo>
                <a:lnTo>
                  <a:pt x="3307" y="432"/>
                </a:lnTo>
                <a:lnTo>
                  <a:pt x="3307" y="434"/>
                </a:lnTo>
                <a:lnTo>
                  <a:pt x="3305" y="439"/>
                </a:lnTo>
                <a:lnTo>
                  <a:pt x="3304" y="445"/>
                </a:lnTo>
                <a:lnTo>
                  <a:pt x="3301" y="444"/>
                </a:lnTo>
                <a:lnTo>
                  <a:pt x="3298" y="443"/>
                </a:lnTo>
                <a:lnTo>
                  <a:pt x="3295" y="441"/>
                </a:lnTo>
                <a:lnTo>
                  <a:pt x="3293" y="440"/>
                </a:lnTo>
                <a:lnTo>
                  <a:pt x="3292" y="441"/>
                </a:lnTo>
                <a:lnTo>
                  <a:pt x="3290" y="443"/>
                </a:lnTo>
                <a:lnTo>
                  <a:pt x="3286" y="450"/>
                </a:lnTo>
                <a:lnTo>
                  <a:pt x="3282" y="456"/>
                </a:lnTo>
                <a:lnTo>
                  <a:pt x="3279" y="459"/>
                </a:lnTo>
                <a:lnTo>
                  <a:pt x="3276" y="460"/>
                </a:lnTo>
                <a:lnTo>
                  <a:pt x="3274" y="460"/>
                </a:lnTo>
                <a:lnTo>
                  <a:pt x="3272" y="461"/>
                </a:lnTo>
                <a:lnTo>
                  <a:pt x="3271" y="461"/>
                </a:lnTo>
                <a:lnTo>
                  <a:pt x="3270" y="462"/>
                </a:lnTo>
                <a:lnTo>
                  <a:pt x="3268" y="465"/>
                </a:lnTo>
                <a:lnTo>
                  <a:pt x="3267" y="469"/>
                </a:lnTo>
                <a:lnTo>
                  <a:pt x="3266" y="472"/>
                </a:lnTo>
                <a:lnTo>
                  <a:pt x="3265" y="476"/>
                </a:lnTo>
                <a:lnTo>
                  <a:pt x="3262" y="476"/>
                </a:lnTo>
                <a:lnTo>
                  <a:pt x="3260" y="477"/>
                </a:lnTo>
                <a:lnTo>
                  <a:pt x="3259" y="478"/>
                </a:lnTo>
                <a:lnTo>
                  <a:pt x="3259" y="479"/>
                </a:lnTo>
                <a:lnTo>
                  <a:pt x="3260" y="481"/>
                </a:lnTo>
                <a:lnTo>
                  <a:pt x="3262" y="481"/>
                </a:lnTo>
                <a:lnTo>
                  <a:pt x="3265" y="482"/>
                </a:lnTo>
                <a:lnTo>
                  <a:pt x="3268" y="482"/>
                </a:lnTo>
                <a:lnTo>
                  <a:pt x="3268" y="481"/>
                </a:lnTo>
                <a:lnTo>
                  <a:pt x="3270" y="480"/>
                </a:lnTo>
                <a:lnTo>
                  <a:pt x="3272" y="477"/>
                </a:lnTo>
                <a:lnTo>
                  <a:pt x="3275" y="475"/>
                </a:lnTo>
                <a:lnTo>
                  <a:pt x="3276" y="473"/>
                </a:lnTo>
                <a:lnTo>
                  <a:pt x="3279" y="473"/>
                </a:lnTo>
                <a:lnTo>
                  <a:pt x="3282" y="475"/>
                </a:lnTo>
                <a:lnTo>
                  <a:pt x="3283" y="475"/>
                </a:lnTo>
                <a:lnTo>
                  <a:pt x="3283" y="477"/>
                </a:lnTo>
                <a:lnTo>
                  <a:pt x="3283" y="478"/>
                </a:lnTo>
                <a:lnTo>
                  <a:pt x="3282" y="479"/>
                </a:lnTo>
                <a:lnTo>
                  <a:pt x="3279" y="481"/>
                </a:lnTo>
                <a:lnTo>
                  <a:pt x="3276" y="482"/>
                </a:lnTo>
                <a:lnTo>
                  <a:pt x="3270" y="485"/>
                </a:lnTo>
                <a:lnTo>
                  <a:pt x="3270" y="490"/>
                </a:lnTo>
                <a:lnTo>
                  <a:pt x="3265" y="489"/>
                </a:lnTo>
                <a:lnTo>
                  <a:pt x="3262" y="489"/>
                </a:lnTo>
                <a:lnTo>
                  <a:pt x="3259" y="490"/>
                </a:lnTo>
                <a:lnTo>
                  <a:pt x="3256" y="490"/>
                </a:lnTo>
                <a:lnTo>
                  <a:pt x="3256" y="487"/>
                </a:lnTo>
                <a:lnTo>
                  <a:pt x="3256" y="483"/>
                </a:lnTo>
                <a:lnTo>
                  <a:pt x="3255" y="480"/>
                </a:lnTo>
                <a:lnTo>
                  <a:pt x="3254" y="479"/>
                </a:lnTo>
                <a:lnTo>
                  <a:pt x="3252" y="479"/>
                </a:lnTo>
                <a:lnTo>
                  <a:pt x="3251" y="479"/>
                </a:lnTo>
                <a:lnTo>
                  <a:pt x="3250" y="481"/>
                </a:lnTo>
                <a:lnTo>
                  <a:pt x="3249" y="483"/>
                </a:lnTo>
                <a:lnTo>
                  <a:pt x="3248" y="485"/>
                </a:lnTo>
                <a:lnTo>
                  <a:pt x="3240" y="480"/>
                </a:lnTo>
                <a:lnTo>
                  <a:pt x="3234" y="476"/>
                </a:lnTo>
                <a:lnTo>
                  <a:pt x="3231" y="481"/>
                </a:lnTo>
                <a:lnTo>
                  <a:pt x="3230" y="483"/>
                </a:lnTo>
                <a:lnTo>
                  <a:pt x="3228" y="485"/>
                </a:lnTo>
                <a:lnTo>
                  <a:pt x="3231" y="485"/>
                </a:lnTo>
                <a:lnTo>
                  <a:pt x="3232" y="485"/>
                </a:lnTo>
                <a:lnTo>
                  <a:pt x="3233" y="484"/>
                </a:lnTo>
                <a:lnTo>
                  <a:pt x="3235" y="483"/>
                </a:lnTo>
                <a:lnTo>
                  <a:pt x="3237" y="482"/>
                </a:lnTo>
                <a:lnTo>
                  <a:pt x="3236" y="486"/>
                </a:lnTo>
                <a:lnTo>
                  <a:pt x="3237" y="487"/>
                </a:lnTo>
                <a:lnTo>
                  <a:pt x="3237" y="488"/>
                </a:lnTo>
                <a:lnTo>
                  <a:pt x="3238" y="490"/>
                </a:lnTo>
                <a:lnTo>
                  <a:pt x="3239" y="493"/>
                </a:lnTo>
                <a:lnTo>
                  <a:pt x="3237" y="494"/>
                </a:lnTo>
                <a:lnTo>
                  <a:pt x="3237" y="495"/>
                </a:lnTo>
                <a:lnTo>
                  <a:pt x="3237" y="496"/>
                </a:lnTo>
                <a:lnTo>
                  <a:pt x="3237" y="499"/>
                </a:lnTo>
                <a:lnTo>
                  <a:pt x="3232" y="498"/>
                </a:lnTo>
                <a:lnTo>
                  <a:pt x="3228" y="499"/>
                </a:lnTo>
                <a:lnTo>
                  <a:pt x="3227" y="501"/>
                </a:lnTo>
                <a:lnTo>
                  <a:pt x="3225" y="504"/>
                </a:lnTo>
                <a:lnTo>
                  <a:pt x="3223" y="510"/>
                </a:lnTo>
                <a:lnTo>
                  <a:pt x="3218" y="511"/>
                </a:lnTo>
                <a:lnTo>
                  <a:pt x="3213" y="510"/>
                </a:lnTo>
                <a:lnTo>
                  <a:pt x="3208" y="510"/>
                </a:lnTo>
                <a:lnTo>
                  <a:pt x="3205" y="510"/>
                </a:lnTo>
                <a:lnTo>
                  <a:pt x="3203" y="510"/>
                </a:lnTo>
                <a:lnTo>
                  <a:pt x="3203" y="515"/>
                </a:lnTo>
                <a:lnTo>
                  <a:pt x="3205" y="514"/>
                </a:lnTo>
                <a:lnTo>
                  <a:pt x="3206" y="514"/>
                </a:lnTo>
                <a:lnTo>
                  <a:pt x="3207" y="515"/>
                </a:lnTo>
                <a:lnTo>
                  <a:pt x="3208" y="516"/>
                </a:lnTo>
                <a:lnTo>
                  <a:pt x="3209" y="521"/>
                </a:lnTo>
                <a:lnTo>
                  <a:pt x="3202" y="524"/>
                </a:lnTo>
                <a:lnTo>
                  <a:pt x="3200" y="525"/>
                </a:lnTo>
                <a:lnTo>
                  <a:pt x="3199" y="525"/>
                </a:lnTo>
                <a:lnTo>
                  <a:pt x="3200" y="524"/>
                </a:lnTo>
                <a:lnTo>
                  <a:pt x="3189" y="524"/>
                </a:lnTo>
                <a:lnTo>
                  <a:pt x="3189" y="532"/>
                </a:lnTo>
                <a:lnTo>
                  <a:pt x="3196" y="531"/>
                </a:lnTo>
                <a:lnTo>
                  <a:pt x="3198" y="532"/>
                </a:lnTo>
                <a:lnTo>
                  <a:pt x="3197" y="533"/>
                </a:lnTo>
                <a:lnTo>
                  <a:pt x="3192" y="535"/>
                </a:lnTo>
                <a:lnTo>
                  <a:pt x="3182" y="538"/>
                </a:lnTo>
                <a:lnTo>
                  <a:pt x="3176" y="540"/>
                </a:lnTo>
                <a:lnTo>
                  <a:pt x="3166" y="541"/>
                </a:lnTo>
                <a:lnTo>
                  <a:pt x="3166" y="546"/>
                </a:lnTo>
                <a:lnTo>
                  <a:pt x="3178" y="549"/>
                </a:lnTo>
                <a:lnTo>
                  <a:pt x="3185" y="551"/>
                </a:lnTo>
                <a:lnTo>
                  <a:pt x="3180" y="551"/>
                </a:lnTo>
                <a:lnTo>
                  <a:pt x="3171" y="550"/>
                </a:lnTo>
                <a:lnTo>
                  <a:pt x="3166" y="549"/>
                </a:lnTo>
                <a:lnTo>
                  <a:pt x="3164" y="549"/>
                </a:lnTo>
                <a:lnTo>
                  <a:pt x="3158" y="555"/>
                </a:lnTo>
                <a:lnTo>
                  <a:pt x="3160" y="563"/>
                </a:lnTo>
                <a:lnTo>
                  <a:pt x="3161" y="565"/>
                </a:lnTo>
                <a:lnTo>
                  <a:pt x="3163" y="567"/>
                </a:lnTo>
                <a:lnTo>
                  <a:pt x="3164" y="567"/>
                </a:lnTo>
                <a:lnTo>
                  <a:pt x="3167" y="567"/>
                </a:lnTo>
                <a:lnTo>
                  <a:pt x="3175" y="566"/>
                </a:lnTo>
                <a:lnTo>
                  <a:pt x="3168" y="569"/>
                </a:lnTo>
                <a:lnTo>
                  <a:pt x="3161" y="572"/>
                </a:lnTo>
                <a:lnTo>
                  <a:pt x="3162" y="575"/>
                </a:lnTo>
                <a:lnTo>
                  <a:pt x="3163" y="576"/>
                </a:lnTo>
                <a:lnTo>
                  <a:pt x="3164" y="577"/>
                </a:lnTo>
                <a:lnTo>
                  <a:pt x="3169" y="577"/>
                </a:lnTo>
                <a:lnTo>
                  <a:pt x="3169" y="583"/>
                </a:lnTo>
                <a:lnTo>
                  <a:pt x="3161" y="586"/>
                </a:lnTo>
                <a:lnTo>
                  <a:pt x="3169" y="589"/>
                </a:lnTo>
                <a:lnTo>
                  <a:pt x="3172" y="589"/>
                </a:lnTo>
                <a:lnTo>
                  <a:pt x="3173" y="589"/>
                </a:lnTo>
                <a:lnTo>
                  <a:pt x="3173" y="591"/>
                </a:lnTo>
                <a:lnTo>
                  <a:pt x="3172" y="593"/>
                </a:lnTo>
                <a:lnTo>
                  <a:pt x="3169" y="597"/>
                </a:lnTo>
                <a:lnTo>
                  <a:pt x="3175" y="599"/>
                </a:lnTo>
                <a:lnTo>
                  <a:pt x="3176" y="599"/>
                </a:lnTo>
                <a:lnTo>
                  <a:pt x="3175" y="599"/>
                </a:lnTo>
                <a:lnTo>
                  <a:pt x="3174" y="599"/>
                </a:lnTo>
                <a:lnTo>
                  <a:pt x="3175" y="600"/>
                </a:lnTo>
                <a:lnTo>
                  <a:pt x="3178" y="603"/>
                </a:lnTo>
                <a:lnTo>
                  <a:pt x="3180" y="600"/>
                </a:lnTo>
                <a:lnTo>
                  <a:pt x="3182" y="598"/>
                </a:lnTo>
                <a:lnTo>
                  <a:pt x="3186" y="591"/>
                </a:lnTo>
                <a:lnTo>
                  <a:pt x="3192" y="593"/>
                </a:lnTo>
                <a:lnTo>
                  <a:pt x="3194" y="593"/>
                </a:lnTo>
                <a:lnTo>
                  <a:pt x="3195" y="593"/>
                </a:lnTo>
                <a:lnTo>
                  <a:pt x="3195" y="594"/>
                </a:lnTo>
                <a:lnTo>
                  <a:pt x="3194" y="594"/>
                </a:lnTo>
                <a:lnTo>
                  <a:pt x="3189" y="594"/>
                </a:lnTo>
                <a:lnTo>
                  <a:pt x="3183" y="605"/>
                </a:lnTo>
                <a:lnTo>
                  <a:pt x="3178" y="617"/>
                </a:lnTo>
                <a:lnTo>
                  <a:pt x="3172" y="616"/>
                </a:lnTo>
                <a:lnTo>
                  <a:pt x="3169" y="616"/>
                </a:lnTo>
                <a:lnTo>
                  <a:pt x="3166" y="617"/>
                </a:lnTo>
                <a:lnTo>
                  <a:pt x="3167" y="618"/>
                </a:lnTo>
                <a:lnTo>
                  <a:pt x="3167" y="621"/>
                </a:lnTo>
                <a:lnTo>
                  <a:pt x="3166" y="623"/>
                </a:lnTo>
                <a:lnTo>
                  <a:pt x="3166" y="625"/>
                </a:lnTo>
                <a:lnTo>
                  <a:pt x="3170" y="628"/>
                </a:lnTo>
                <a:lnTo>
                  <a:pt x="3173" y="629"/>
                </a:lnTo>
                <a:lnTo>
                  <a:pt x="3175" y="631"/>
                </a:lnTo>
                <a:lnTo>
                  <a:pt x="3176" y="626"/>
                </a:lnTo>
                <a:lnTo>
                  <a:pt x="3177" y="625"/>
                </a:lnTo>
                <a:lnTo>
                  <a:pt x="3177" y="624"/>
                </a:lnTo>
                <a:lnTo>
                  <a:pt x="3177" y="625"/>
                </a:lnTo>
                <a:lnTo>
                  <a:pt x="3178" y="625"/>
                </a:lnTo>
                <a:lnTo>
                  <a:pt x="3183" y="625"/>
                </a:lnTo>
                <a:lnTo>
                  <a:pt x="3184" y="628"/>
                </a:lnTo>
                <a:lnTo>
                  <a:pt x="3185" y="631"/>
                </a:lnTo>
                <a:lnTo>
                  <a:pt x="3185" y="634"/>
                </a:lnTo>
                <a:lnTo>
                  <a:pt x="3184" y="634"/>
                </a:lnTo>
                <a:lnTo>
                  <a:pt x="3183" y="634"/>
                </a:lnTo>
                <a:lnTo>
                  <a:pt x="3181" y="637"/>
                </a:lnTo>
                <a:lnTo>
                  <a:pt x="3178" y="640"/>
                </a:lnTo>
                <a:lnTo>
                  <a:pt x="3175" y="642"/>
                </a:lnTo>
                <a:lnTo>
                  <a:pt x="3174" y="645"/>
                </a:lnTo>
                <a:lnTo>
                  <a:pt x="3175" y="648"/>
                </a:lnTo>
                <a:lnTo>
                  <a:pt x="3175" y="651"/>
                </a:lnTo>
                <a:lnTo>
                  <a:pt x="3175" y="652"/>
                </a:lnTo>
                <a:lnTo>
                  <a:pt x="3175" y="653"/>
                </a:lnTo>
                <a:lnTo>
                  <a:pt x="3180" y="653"/>
                </a:lnTo>
                <a:lnTo>
                  <a:pt x="3183" y="662"/>
                </a:lnTo>
                <a:lnTo>
                  <a:pt x="3185" y="662"/>
                </a:lnTo>
                <a:lnTo>
                  <a:pt x="3187" y="662"/>
                </a:lnTo>
                <a:lnTo>
                  <a:pt x="3190" y="662"/>
                </a:lnTo>
                <a:lnTo>
                  <a:pt x="3195" y="659"/>
                </a:lnTo>
                <a:lnTo>
                  <a:pt x="3196" y="659"/>
                </a:lnTo>
                <a:lnTo>
                  <a:pt x="3197" y="659"/>
                </a:lnTo>
                <a:lnTo>
                  <a:pt x="3197" y="667"/>
                </a:lnTo>
                <a:lnTo>
                  <a:pt x="3202" y="667"/>
                </a:lnTo>
                <a:lnTo>
                  <a:pt x="3207" y="666"/>
                </a:lnTo>
                <a:lnTo>
                  <a:pt x="3213" y="665"/>
                </a:lnTo>
                <a:lnTo>
                  <a:pt x="3218" y="663"/>
                </a:lnTo>
                <a:lnTo>
                  <a:pt x="3228" y="658"/>
                </a:lnTo>
                <a:lnTo>
                  <a:pt x="3237" y="653"/>
                </a:lnTo>
                <a:lnTo>
                  <a:pt x="3238" y="652"/>
                </a:lnTo>
                <a:lnTo>
                  <a:pt x="3239" y="649"/>
                </a:lnTo>
                <a:lnTo>
                  <a:pt x="3241" y="646"/>
                </a:lnTo>
                <a:lnTo>
                  <a:pt x="3242" y="645"/>
                </a:lnTo>
                <a:lnTo>
                  <a:pt x="3245" y="644"/>
                </a:lnTo>
                <a:lnTo>
                  <a:pt x="3248" y="645"/>
                </a:lnTo>
                <a:lnTo>
                  <a:pt x="3251" y="645"/>
                </a:lnTo>
                <a:lnTo>
                  <a:pt x="3254" y="645"/>
                </a:lnTo>
                <a:lnTo>
                  <a:pt x="3256" y="644"/>
                </a:lnTo>
                <a:lnTo>
                  <a:pt x="3259" y="642"/>
                </a:lnTo>
                <a:lnTo>
                  <a:pt x="3265" y="639"/>
                </a:lnTo>
                <a:lnTo>
                  <a:pt x="3271" y="634"/>
                </a:lnTo>
                <a:lnTo>
                  <a:pt x="3276" y="631"/>
                </a:lnTo>
                <a:lnTo>
                  <a:pt x="3277" y="633"/>
                </a:lnTo>
                <a:lnTo>
                  <a:pt x="3277" y="634"/>
                </a:lnTo>
                <a:lnTo>
                  <a:pt x="3278" y="636"/>
                </a:lnTo>
                <a:lnTo>
                  <a:pt x="3279" y="638"/>
                </a:lnTo>
                <a:lnTo>
                  <a:pt x="3279" y="647"/>
                </a:lnTo>
                <a:lnTo>
                  <a:pt x="3279" y="656"/>
                </a:lnTo>
                <a:lnTo>
                  <a:pt x="3284" y="656"/>
                </a:lnTo>
                <a:lnTo>
                  <a:pt x="3285" y="659"/>
                </a:lnTo>
                <a:lnTo>
                  <a:pt x="3285" y="661"/>
                </a:lnTo>
                <a:lnTo>
                  <a:pt x="3283" y="665"/>
                </a:lnTo>
                <a:lnTo>
                  <a:pt x="3282" y="669"/>
                </a:lnTo>
                <a:lnTo>
                  <a:pt x="3282" y="671"/>
                </a:lnTo>
                <a:lnTo>
                  <a:pt x="3282" y="673"/>
                </a:lnTo>
                <a:lnTo>
                  <a:pt x="3286" y="679"/>
                </a:lnTo>
                <a:lnTo>
                  <a:pt x="3294" y="688"/>
                </a:lnTo>
                <a:lnTo>
                  <a:pt x="3310" y="704"/>
                </a:lnTo>
                <a:lnTo>
                  <a:pt x="3307" y="709"/>
                </a:lnTo>
                <a:lnTo>
                  <a:pt x="3304" y="715"/>
                </a:lnTo>
                <a:lnTo>
                  <a:pt x="3299" y="715"/>
                </a:lnTo>
                <a:lnTo>
                  <a:pt x="3298" y="716"/>
                </a:lnTo>
                <a:lnTo>
                  <a:pt x="3298" y="718"/>
                </a:lnTo>
                <a:lnTo>
                  <a:pt x="3299" y="721"/>
                </a:lnTo>
                <a:lnTo>
                  <a:pt x="3299" y="724"/>
                </a:lnTo>
                <a:lnTo>
                  <a:pt x="3299" y="726"/>
                </a:lnTo>
                <a:lnTo>
                  <a:pt x="3302" y="728"/>
                </a:lnTo>
                <a:lnTo>
                  <a:pt x="3304" y="729"/>
                </a:lnTo>
                <a:lnTo>
                  <a:pt x="3305" y="733"/>
                </a:lnTo>
                <a:lnTo>
                  <a:pt x="3304" y="734"/>
                </a:lnTo>
                <a:lnTo>
                  <a:pt x="3303" y="736"/>
                </a:lnTo>
                <a:lnTo>
                  <a:pt x="3301" y="738"/>
                </a:lnTo>
                <a:lnTo>
                  <a:pt x="3315" y="738"/>
                </a:lnTo>
                <a:lnTo>
                  <a:pt x="3323" y="738"/>
                </a:lnTo>
                <a:lnTo>
                  <a:pt x="3329" y="738"/>
                </a:lnTo>
                <a:lnTo>
                  <a:pt x="3330" y="734"/>
                </a:lnTo>
                <a:lnTo>
                  <a:pt x="3329" y="731"/>
                </a:lnTo>
                <a:lnTo>
                  <a:pt x="3329" y="727"/>
                </a:lnTo>
                <a:lnTo>
                  <a:pt x="3329" y="725"/>
                </a:lnTo>
                <a:lnTo>
                  <a:pt x="3329" y="724"/>
                </a:lnTo>
                <a:lnTo>
                  <a:pt x="3331" y="721"/>
                </a:lnTo>
                <a:lnTo>
                  <a:pt x="3333" y="719"/>
                </a:lnTo>
                <a:lnTo>
                  <a:pt x="3338" y="712"/>
                </a:lnTo>
                <a:lnTo>
                  <a:pt x="3346" y="714"/>
                </a:lnTo>
                <a:lnTo>
                  <a:pt x="3355" y="715"/>
                </a:lnTo>
                <a:lnTo>
                  <a:pt x="3360" y="716"/>
                </a:lnTo>
                <a:lnTo>
                  <a:pt x="3364" y="715"/>
                </a:lnTo>
                <a:lnTo>
                  <a:pt x="3368" y="714"/>
                </a:lnTo>
                <a:lnTo>
                  <a:pt x="3370" y="713"/>
                </a:lnTo>
                <a:lnTo>
                  <a:pt x="3372" y="712"/>
                </a:lnTo>
                <a:lnTo>
                  <a:pt x="3373" y="710"/>
                </a:lnTo>
                <a:lnTo>
                  <a:pt x="3375" y="706"/>
                </a:lnTo>
                <a:lnTo>
                  <a:pt x="3376" y="701"/>
                </a:lnTo>
                <a:lnTo>
                  <a:pt x="3377" y="698"/>
                </a:lnTo>
                <a:lnTo>
                  <a:pt x="3376" y="699"/>
                </a:lnTo>
                <a:lnTo>
                  <a:pt x="3375" y="699"/>
                </a:lnTo>
                <a:lnTo>
                  <a:pt x="3374" y="701"/>
                </a:lnTo>
                <a:lnTo>
                  <a:pt x="3372" y="703"/>
                </a:lnTo>
                <a:lnTo>
                  <a:pt x="3372" y="704"/>
                </a:lnTo>
                <a:lnTo>
                  <a:pt x="3370" y="703"/>
                </a:lnTo>
                <a:lnTo>
                  <a:pt x="3370" y="701"/>
                </a:lnTo>
                <a:lnTo>
                  <a:pt x="3370" y="695"/>
                </a:lnTo>
                <a:lnTo>
                  <a:pt x="3371" y="687"/>
                </a:lnTo>
                <a:lnTo>
                  <a:pt x="3372" y="681"/>
                </a:lnTo>
                <a:lnTo>
                  <a:pt x="3374" y="675"/>
                </a:lnTo>
                <a:lnTo>
                  <a:pt x="3377" y="665"/>
                </a:lnTo>
                <a:lnTo>
                  <a:pt x="3378" y="659"/>
                </a:lnTo>
                <a:lnTo>
                  <a:pt x="3378" y="654"/>
                </a:lnTo>
                <a:lnTo>
                  <a:pt x="3377" y="650"/>
                </a:lnTo>
                <a:lnTo>
                  <a:pt x="3376" y="649"/>
                </a:lnTo>
                <a:lnTo>
                  <a:pt x="3374" y="648"/>
                </a:lnTo>
                <a:lnTo>
                  <a:pt x="3378" y="645"/>
                </a:lnTo>
                <a:lnTo>
                  <a:pt x="3379" y="644"/>
                </a:lnTo>
                <a:lnTo>
                  <a:pt x="3379" y="643"/>
                </a:lnTo>
                <a:lnTo>
                  <a:pt x="3378" y="642"/>
                </a:lnTo>
                <a:lnTo>
                  <a:pt x="3377" y="641"/>
                </a:lnTo>
                <a:lnTo>
                  <a:pt x="3378" y="640"/>
                </a:lnTo>
                <a:lnTo>
                  <a:pt x="3380" y="639"/>
                </a:lnTo>
                <a:lnTo>
                  <a:pt x="3383" y="638"/>
                </a:lnTo>
                <a:lnTo>
                  <a:pt x="3386" y="638"/>
                </a:lnTo>
                <a:lnTo>
                  <a:pt x="3391" y="638"/>
                </a:lnTo>
                <a:lnTo>
                  <a:pt x="3395" y="640"/>
                </a:lnTo>
                <a:lnTo>
                  <a:pt x="3398" y="640"/>
                </a:lnTo>
                <a:lnTo>
                  <a:pt x="3400" y="639"/>
                </a:lnTo>
                <a:lnTo>
                  <a:pt x="3408" y="628"/>
                </a:lnTo>
                <a:lnTo>
                  <a:pt x="3414" y="628"/>
                </a:lnTo>
                <a:lnTo>
                  <a:pt x="3414" y="626"/>
                </a:lnTo>
                <a:lnTo>
                  <a:pt x="3414" y="625"/>
                </a:lnTo>
                <a:lnTo>
                  <a:pt x="3413" y="624"/>
                </a:lnTo>
                <a:lnTo>
                  <a:pt x="3412" y="622"/>
                </a:lnTo>
                <a:lnTo>
                  <a:pt x="3410" y="621"/>
                </a:lnTo>
                <a:lnTo>
                  <a:pt x="3408" y="620"/>
                </a:lnTo>
                <a:lnTo>
                  <a:pt x="3414" y="617"/>
                </a:lnTo>
                <a:lnTo>
                  <a:pt x="3418" y="615"/>
                </a:lnTo>
                <a:lnTo>
                  <a:pt x="3420" y="614"/>
                </a:lnTo>
                <a:lnTo>
                  <a:pt x="3420" y="608"/>
                </a:lnTo>
                <a:lnTo>
                  <a:pt x="3412" y="598"/>
                </a:lnTo>
                <a:lnTo>
                  <a:pt x="3409" y="594"/>
                </a:lnTo>
                <a:lnTo>
                  <a:pt x="3405" y="590"/>
                </a:lnTo>
                <a:lnTo>
                  <a:pt x="3402" y="588"/>
                </a:lnTo>
                <a:lnTo>
                  <a:pt x="3397" y="586"/>
                </a:lnTo>
                <a:lnTo>
                  <a:pt x="3392" y="584"/>
                </a:lnTo>
                <a:lnTo>
                  <a:pt x="3386" y="583"/>
                </a:lnTo>
                <a:lnTo>
                  <a:pt x="3386" y="573"/>
                </a:lnTo>
                <a:lnTo>
                  <a:pt x="3387" y="566"/>
                </a:lnTo>
                <a:lnTo>
                  <a:pt x="3387" y="559"/>
                </a:lnTo>
                <a:lnTo>
                  <a:pt x="3388" y="552"/>
                </a:lnTo>
                <a:lnTo>
                  <a:pt x="3387" y="546"/>
                </a:lnTo>
                <a:lnTo>
                  <a:pt x="3386" y="543"/>
                </a:lnTo>
                <a:lnTo>
                  <a:pt x="3386" y="541"/>
                </a:lnTo>
                <a:lnTo>
                  <a:pt x="3384" y="539"/>
                </a:lnTo>
                <a:lnTo>
                  <a:pt x="3383" y="538"/>
                </a:lnTo>
                <a:lnTo>
                  <a:pt x="3389" y="538"/>
                </a:lnTo>
                <a:lnTo>
                  <a:pt x="3389" y="533"/>
                </a:lnTo>
                <a:lnTo>
                  <a:pt x="3390" y="531"/>
                </a:lnTo>
                <a:lnTo>
                  <a:pt x="3391" y="530"/>
                </a:lnTo>
                <a:lnTo>
                  <a:pt x="3389" y="526"/>
                </a:lnTo>
                <a:lnTo>
                  <a:pt x="3388" y="524"/>
                </a:lnTo>
                <a:lnTo>
                  <a:pt x="3388" y="522"/>
                </a:lnTo>
                <a:lnTo>
                  <a:pt x="3389" y="521"/>
                </a:lnTo>
                <a:lnTo>
                  <a:pt x="3390" y="520"/>
                </a:lnTo>
                <a:lnTo>
                  <a:pt x="3394" y="520"/>
                </a:lnTo>
                <a:lnTo>
                  <a:pt x="3397" y="519"/>
                </a:lnTo>
                <a:lnTo>
                  <a:pt x="3400" y="518"/>
                </a:lnTo>
                <a:lnTo>
                  <a:pt x="3401" y="517"/>
                </a:lnTo>
                <a:lnTo>
                  <a:pt x="3401" y="515"/>
                </a:lnTo>
                <a:lnTo>
                  <a:pt x="3401" y="513"/>
                </a:lnTo>
                <a:lnTo>
                  <a:pt x="3401" y="512"/>
                </a:lnTo>
                <a:lnTo>
                  <a:pt x="3400" y="508"/>
                </a:lnTo>
                <a:lnTo>
                  <a:pt x="3400" y="507"/>
                </a:lnTo>
                <a:lnTo>
                  <a:pt x="3402" y="506"/>
                </a:lnTo>
                <a:lnTo>
                  <a:pt x="3406" y="506"/>
                </a:lnTo>
                <a:lnTo>
                  <a:pt x="3409" y="505"/>
                </a:lnTo>
                <a:lnTo>
                  <a:pt x="3410" y="505"/>
                </a:lnTo>
                <a:lnTo>
                  <a:pt x="3411" y="504"/>
                </a:lnTo>
                <a:lnTo>
                  <a:pt x="3412" y="502"/>
                </a:lnTo>
                <a:lnTo>
                  <a:pt x="3413" y="499"/>
                </a:lnTo>
                <a:lnTo>
                  <a:pt x="3413" y="494"/>
                </a:lnTo>
                <a:lnTo>
                  <a:pt x="3414" y="488"/>
                </a:lnTo>
                <a:lnTo>
                  <a:pt x="3415" y="486"/>
                </a:lnTo>
                <a:lnTo>
                  <a:pt x="3417" y="485"/>
                </a:lnTo>
                <a:lnTo>
                  <a:pt x="3419" y="483"/>
                </a:lnTo>
                <a:lnTo>
                  <a:pt x="3423" y="482"/>
                </a:lnTo>
                <a:lnTo>
                  <a:pt x="3432" y="480"/>
                </a:lnTo>
                <a:lnTo>
                  <a:pt x="3441" y="479"/>
                </a:lnTo>
                <a:lnTo>
                  <a:pt x="3445" y="477"/>
                </a:lnTo>
                <a:lnTo>
                  <a:pt x="3448" y="476"/>
                </a:lnTo>
                <a:lnTo>
                  <a:pt x="3449" y="475"/>
                </a:lnTo>
                <a:lnTo>
                  <a:pt x="3450" y="473"/>
                </a:lnTo>
                <a:lnTo>
                  <a:pt x="3452" y="469"/>
                </a:lnTo>
                <a:lnTo>
                  <a:pt x="3454" y="464"/>
                </a:lnTo>
                <a:lnTo>
                  <a:pt x="3455" y="463"/>
                </a:lnTo>
                <a:lnTo>
                  <a:pt x="3456" y="462"/>
                </a:lnTo>
                <a:lnTo>
                  <a:pt x="3462" y="462"/>
                </a:lnTo>
                <a:lnTo>
                  <a:pt x="3463" y="458"/>
                </a:lnTo>
                <a:lnTo>
                  <a:pt x="3463" y="455"/>
                </a:lnTo>
                <a:lnTo>
                  <a:pt x="3462" y="453"/>
                </a:lnTo>
                <a:lnTo>
                  <a:pt x="3461" y="450"/>
                </a:lnTo>
                <a:lnTo>
                  <a:pt x="3460" y="448"/>
                </a:lnTo>
                <a:lnTo>
                  <a:pt x="3459" y="445"/>
                </a:lnTo>
                <a:lnTo>
                  <a:pt x="3458" y="441"/>
                </a:lnTo>
                <a:lnTo>
                  <a:pt x="3459" y="437"/>
                </a:lnTo>
                <a:lnTo>
                  <a:pt x="3460" y="434"/>
                </a:lnTo>
                <a:lnTo>
                  <a:pt x="3463" y="431"/>
                </a:lnTo>
                <a:lnTo>
                  <a:pt x="3466" y="428"/>
                </a:lnTo>
                <a:lnTo>
                  <a:pt x="3467" y="426"/>
                </a:lnTo>
                <a:lnTo>
                  <a:pt x="3467" y="425"/>
                </a:lnTo>
                <a:lnTo>
                  <a:pt x="3467" y="420"/>
                </a:lnTo>
                <a:lnTo>
                  <a:pt x="3470" y="419"/>
                </a:lnTo>
                <a:lnTo>
                  <a:pt x="3473" y="418"/>
                </a:lnTo>
                <a:lnTo>
                  <a:pt x="3476" y="418"/>
                </a:lnTo>
                <a:lnTo>
                  <a:pt x="3479" y="417"/>
                </a:lnTo>
                <a:lnTo>
                  <a:pt x="3481" y="414"/>
                </a:lnTo>
                <a:lnTo>
                  <a:pt x="3481" y="411"/>
                </a:lnTo>
                <a:lnTo>
                  <a:pt x="3481" y="409"/>
                </a:lnTo>
                <a:lnTo>
                  <a:pt x="3481" y="407"/>
                </a:lnTo>
                <a:lnTo>
                  <a:pt x="3481" y="405"/>
                </a:lnTo>
                <a:lnTo>
                  <a:pt x="3482" y="404"/>
                </a:lnTo>
                <a:lnTo>
                  <a:pt x="3485" y="403"/>
                </a:lnTo>
                <a:lnTo>
                  <a:pt x="3490" y="403"/>
                </a:lnTo>
                <a:lnTo>
                  <a:pt x="3493" y="409"/>
                </a:lnTo>
                <a:lnTo>
                  <a:pt x="3505" y="409"/>
                </a:lnTo>
                <a:lnTo>
                  <a:pt x="3516" y="410"/>
                </a:lnTo>
                <a:lnTo>
                  <a:pt x="3529" y="411"/>
                </a:lnTo>
                <a:lnTo>
                  <a:pt x="3531" y="424"/>
                </a:lnTo>
                <a:lnTo>
                  <a:pt x="3532" y="430"/>
                </a:lnTo>
                <a:lnTo>
                  <a:pt x="3532" y="434"/>
                </a:lnTo>
                <a:lnTo>
                  <a:pt x="3531" y="436"/>
                </a:lnTo>
                <a:lnTo>
                  <a:pt x="3529" y="438"/>
                </a:lnTo>
                <a:lnTo>
                  <a:pt x="3524" y="442"/>
                </a:lnTo>
                <a:lnTo>
                  <a:pt x="3519" y="447"/>
                </a:lnTo>
                <a:lnTo>
                  <a:pt x="3515" y="451"/>
                </a:lnTo>
                <a:lnTo>
                  <a:pt x="3513" y="456"/>
                </a:lnTo>
                <a:lnTo>
                  <a:pt x="3511" y="461"/>
                </a:lnTo>
                <a:lnTo>
                  <a:pt x="3509" y="466"/>
                </a:lnTo>
                <a:lnTo>
                  <a:pt x="3508" y="468"/>
                </a:lnTo>
                <a:lnTo>
                  <a:pt x="3507" y="470"/>
                </a:lnTo>
                <a:lnTo>
                  <a:pt x="3502" y="474"/>
                </a:lnTo>
                <a:lnTo>
                  <a:pt x="3495" y="478"/>
                </a:lnTo>
                <a:lnTo>
                  <a:pt x="3484" y="485"/>
                </a:lnTo>
                <a:lnTo>
                  <a:pt x="3484" y="486"/>
                </a:lnTo>
                <a:lnTo>
                  <a:pt x="3484" y="487"/>
                </a:lnTo>
                <a:lnTo>
                  <a:pt x="3484" y="490"/>
                </a:lnTo>
                <a:lnTo>
                  <a:pt x="3485" y="493"/>
                </a:lnTo>
                <a:lnTo>
                  <a:pt x="3484" y="496"/>
                </a:lnTo>
                <a:lnTo>
                  <a:pt x="3483" y="495"/>
                </a:lnTo>
                <a:lnTo>
                  <a:pt x="3481" y="493"/>
                </a:lnTo>
                <a:lnTo>
                  <a:pt x="3479" y="490"/>
                </a:lnTo>
                <a:lnTo>
                  <a:pt x="3476" y="494"/>
                </a:lnTo>
                <a:lnTo>
                  <a:pt x="3474" y="499"/>
                </a:lnTo>
                <a:lnTo>
                  <a:pt x="3470" y="507"/>
                </a:lnTo>
                <a:lnTo>
                  <a:pt x="3467" y="507"/>
                </a:lnTo>
                <a:lnTo>
                  <a:pt x="3467" y="511"/>
                </a:lnTo>
                <a:lnTo>
                  <a:pt x="3468" y="514"/>
                </a:lnTo>
                <a:lnTo>
                  <a:pt x="3471" y="521"/>
                </a:lnTo>
                <a:lnTo>
                  <a:pt x="3474" y="528"/>
                </a:lnTo>
                <a:lnTo>
                  <a:pt x="3475" y="530"/>
                </a:lnTo>
                <a:lnTo>
                  <a:pt x="3476" y="532"/>
                </a:lnTo>
                <a:lnTo>
                  <a:pt x="3476" y="537"/>
                </a:lnTo>
                <a:lnTo>
                  <a:pt x="3475" y="542"/>
                </a:lnTo>
                <a:lnTo>
                  <a:pt x="3474" y="546"/>
                </a:lnTo>
                <a:lnTo>
                  <a:pt x="3473" y="549"/>
                </a:lnTo>
                <a:lnTo>
                  <a:pt x="3473" y="552"/>
                </a:lnTo>
                <a:lnTo>
                  <a:pt x="3473" y="553"/>
                </a:lnTo>
                <a:lnTo>
                  <a:pt x="3473" y="558"/>
                </a:lnTo>
                <a:lnTo>
                  <a:pt x="3473" y="566"/>
                </a:lnTo>
                <a:lnTo>
                  <a:pt x="3476" y="564"/>
                </a:lnTo>
                <a:lnTo>
                  <a:pt x="3477" y="563"/>
                </a:lnTo>
                <a:lnTo>
                  <a:pt x="3479" y="563"/>
                </a:lnTo>
                <a:lnTo>
                  <a:pt x="3479" y="564"/>
                </a:lnTo>
                <a:lnTo>
                  <a:pt x="3479" y="565"/>
                </a:lnTo>
                <a:lnTo>
                  <a:pt x="3479" y="569"/>
                </a:lnTo>
                <a:lnTo>
                  <a:pt x="3478" y="572"/>
                </a:lnTo>
                <a:lnTo>
                  <a:pt x="3479" y="575"/>
                </a:lnTo>
                <a:lnTo>
                  <a:pt x="3484" y="572"/>
                </a:lnTo>
                <a:lnTo>
                  <a:pt x="3488" y="571"/>
                </a:lnTo>
                <a:lnTo>
                  <a:pt x="3489" y="571"/>
                </a:lnTo>
                <a:lnTo>
                  <a:pt x="3487" y="572"/>
                </a:lnTo>
                <a:lnTo>
                  <a:pt x="3493" y="575"/>
                </a:lnTo>
                <a:lnTo>
                  <a:pt x="3496" y="577"/>
                </a:lnTo>
                <a:lnTo>
                  <a:pt x="3499" y="579"/>
                </a:lnTo>
                <a:lnTo>
                  <a:pt x="3500" y="580"/>
                </a:lnTo>
                <a:lnTo>
                  <a:pt x="3500" y="581"/>
                </a:lnTo>
                <a:lnTo>
                  <a:pt x="3499" y="582"/>
                </a:lnTo>
                <a:lnTo>
                  <a:pt x="3498" y="582"/>
                </a:lnTo>
                <a:lnTo>
                  <a:pt x="3496" y="583"/>
                </a:lnTo>
                <a:lnTo>
                  <a:pt x="3490" y="583"/>
                </a:lnTo>
                <a:lnTo>
                  <a:pt x="3487" y="594"/>
                </a:lnTo>
                <a:lnTo>
                  <a:pt x="3489" y="594"/>
                </a:lnTo>
                <a:lnTo>
                  <a:pt x="3491" y="594"/>
                </a:lnTo>
                <a:lnTo>
                  <a:pt x="3495" y="594"/>
                </a:lnTo>
                <a:lnTo>
                  <a:pt x="3494" y="594"/>
                </a:lnTo>
                <a:lnTo>
                  <a:pt x="3494" y="593"/>
                </a:lnTo>
                <a:lnTo>
                  <a:pt x="3494" y="592"/>
                </a:lnTo>
                <a:lnTo>
                  <a:pt x="3495" y="590"/>
                </a:lnTo>
                <a:lnTo>
                  <a:pt x="3498" y="589"/>
                </a:lnTo>
                <a:lnTo>
                  <a:pt x="3500" y="588"/>
                </a:lnTo>
                <a:lnTo>
                  <a:pt x="3502" y="587"/>
                </a:lnTo>
                <a:lnTo>
                  <a:pt x="3501" y="589"/>
                </a:lnTo>
                <a:lnTo>
                  <a:pt x="3504" y="589"/>
                </a:lnTo>
                <a:lnTo>
                  <a:pt x="3504" y="593"/>
                </a:lnTo>
                <a:lnTo>
                  <a:pt x="3504" y="597"/>
                </a:lnTo>
                <a:lnTo>
                  <a:pt x="3505" y="598"/>
                </a:lnTo>
                <a:lnTo>
                  <a:pt x="3506" y="598"/>
                </a:lnTo>
                <a:lnTo>
                  <a:pt x="3508" y="599"/>
                </a:lnTo>
                <a:lnTo>
                  <a:pt x="3511" y="599"/>
                </a:lnTo>
                <a:lnTo>
                  <a:pt x="3512" y="600"/>
                </a:lnTo>
                <a:lnTo>
                  <a:pt x="3517" y="599"/>
                </a:lnTo>
                <a:lnTo>
                  <a:pt x="3521" y="598"/>
                </a:lnTo>
                <a:lnTo>
                  <a:pt x="3524" y="597"/>
                </a:lnTo>
                <a:lnTo>
                  <a:pt x="3529" y="590"/>
                </a:lnTo>
                <a:lnTo>
                  <a:pt x="3534" y="586"/>
                </a:lnTo>
                <a:lnTo>
                  <a:pt x="3536" y="584"/>
                </a:lnTo>
                <a:lnTo>
                  <a:pt x="3538" y="583"/>
                </a:lnTo>
                <a:lnTo>
                  <a:pt x="3540" y="583"/>
                </a:lnTo>
                <a:lnTo>
                  <a:pt x="3542" y="583"/>
                </a:lnTo>
                <a:lnTo>
                  <a:pt x="3544" y="583"/>
                </a:lnTo>
                <a:lnTo>
                  <a:pt x="3546" y="583"/>
                </a:lnTo>
                <a:lnTo>
                  <a:pt x="3544" y="580"/>
                </a:lnTo>
                <a:lnTo>
                  <a:pt x="3543" y="577"/>
                </a:lnTo>
                <a:lnTo>
                  <a:pt x="3550" y="576"/>
                </a:lnTo>
                <a:lnTo>
                  <a:pt x="3555" y="576"/>
                </a:lnTo>
                <a:lnTo>
                  <a:pt x="3559" y="576"/>
                </a:lnTo>
                <a:lnTo>
                  <a:pt x="3563" y="576"/>
                </a:lnTo>
                <a:lnTo>
                  <a:pt x="3569" y="577"/>
                </a:lnTo>
                <a:lnTo>
                  <a:pt x="3572" y="577"/>
                </a:lnTo>
                <a:lnTo>
                  <a:pt x="3575" y="577"/>
                </a:lnTo>
                <a:lnTo>
                  <a:pt x="3581" y="575"/>
                </a:lnTo>
                <a:lnTo>
                  <a:pt x="3588" y="572"/>
                </a:lnTo>
                <a:lnTo>
                  <a:pt x="3589" y="573"/>
                </a:lnTo>
                <a:lnTo>
                  <a:pt x="3589" y="574"/>
                </a:lnTo>
                <a:lnTo>
                  <a:pt x="3588" y="576"/>
                </a:lnTo>
                <a:lnTo>
                  <a:pt x="3585" y="580"/>
                </a:lnTo>
                <a:lnTo>
                  <a:pt x="3589" y="584"/>
                </a:lnTo>
                <a:lnTo>
                  <a:pt x="3594" y="588"/>
                </a:lnTo>
                <a:lnTo>
                  <a:pt x="3599" y="592"/>
                </a:lnTo>
                <a:lnTo>
                  <a:pt x="3602" y="594"/>
                </a:lnTo>
                <a:lnTo>
                  <a:pt x="3604" y="594"/>
                </a:lnTo>
                <a:lnTo>
                  <a:pt x="3608" y="592"/>
                </a:lnTo>
                <a:lnTo>
                  <a:pt x="3612" y="591"/>
                </a:lnTo>
                <a:lnTo>
                  <a:pt x="3614" y="591"/>
                </a:lnTo>
                <a:lnTo>
                  <a:pt x="3616" y="591"/>
                </a:lnTo>
                <a:lnTo>
                  <a:pt x="3618" y="593"/>
                </a:lnTo>
                <a:lnTo>
                  <a:pt x="3619" y="596"/>
                </a:lnTo>
                <a:lnTo>
                  <a:pt x="3621" y="598"/>
                </a:lnTo>
                <a:lnTo>
                  <a:pt x="3622" y="600"/>
                </a:lnTo>
                <a:lnTo>
                  <a:pt x="3624" y="600"/>
                </a:lnTo>
                <a:lnTo>
                  <a:pt x="3626" y="600"/>
                </a:lnTo>
                <a:lnTo>
                  <a:pt x="3628" y="599"/>
                </a:lnTo>
                <a:lnTo>
                  <a:pt x="3629" y="599"/>
                </a:lnTo>
                <a:lnTo>
                  <a:pt x="3630" y="600"/>
                </a:lnTo>
                <a:lnTo>
                  <a:pt x="3621" y="601"/>
                </a:lnTo>
                <a:lnTo>
                  <a:pt x="3608" y="603"/>
                </a:lnTo>
                <a:lnTo>
                  <a:pt x="3605" y="608"/>
                </a:lnTo>
                <a:lnTo>
                  <a:pt x="3599" y="608"/>
                </a:lnTo>
                <a:lnTo>
                  <a:pt x="3594" y="607"/>
                </a:lnTo>
                <a:lnTo>
                  <a:pt x="3589" y="606"/>
                </a:lnTo>
                <a:lnTo>
                  <a:pt x="3585" y="606"/>
                </a:lnTo>
                <a:lnTo>
                  <a:pt x="3584" y="616"/>
                </a:lnTo>
                <a:lnTo>
                  <a:pt x="3584" y="617"/>
                </a:lnTo>
                <a:lnTo>
                  <a:pt x="3584" y="618"/>
                </a:lnTo>
                <a:lnTo>
                  <a:pt x="3583" y="620"/>
                </a:lnTo>
                <a:lnTo>
                  <a:pt x="3580" y="620"/>
                </a:lnTo>
                <a:lnTo>
                  <a:pt x="3575" y="619"/>
                </a:lnTo>
                <a:lnTo>
                  <a:pt x="3564" y="616"/>
                </a:lnTo>
                <a:lnTo>
                  <a:pt x="3552" y="612"/>
                </a:lnTo>
                <a:lnTo>
                  <a:pt x="3547" y="611"/>
                </a:lnTo>
                <a:lnTo>
                  <a:pt x="3543" y="611"/>
                </a:lnTo>
                <a:lnTo>
                  <a:pt x="3542" y="611"/>
                </a:lnTo>
                <a:lnTo>
                  <a:pt x="3541" y="612"/>
                </a:lnTo>
                <a:lnTo>
                  <a:pt x="3540" y="614"/>
                </a:lnTo>
                <a:lnTo>
                  <a:pt x="3539" y="616"/>
                </a:lnTo>
                <a:lnTo>
                  <a:pt x="3538" y="617"/>
                </a:lnTo>
                <a:lnTo>
                  <a:pt x="3534" y="617"/>
                </a:lnTo>
                <a:lnTo>
                  <a:pt x="3531" y="617"/>
                </a:lnTo>
                <a:lnTo>
                  <a:pt x="3527" y="617"/>
                </a:lnTo>
                <a:lnTo>
                  <a:pt x="3524" y="617"/>
                </a:lnTo>
                <a:lnTo>
                  <a:pt x="3519" y="618"/>
                </a:lnTo>
                <a:lnTo>
                  <a:pt x="3514" y="621"/>
                </a:lnTo>
                <a:lnTo>
                  <a:pt x="3509" y="623"/>
                </a:lnTo>
                <a:lnTo>
                  <a:pt x="3504" y="625"/>
                </a:lnTo>
                <a:lnTo>
                  <a:pt x="3504" y="635"/>
                </a:lnTo>
                <a:lnTo>
                  <a:pt x="3504" y="648"/>
                </a:lnTo>
                <a:lnTo>
                  <a:pt x="3512" y="651"/>
                </a:lnTo>
                <a:lnTo>
                  <a:pt x="3513" y="657"/>
                </a:lnTo>
                <a:lnTo>
                  <a:pt x="3514" y="663"/>
                </a:lnTo>
                <a:lnTo>
                  <a:pt x="3513" y="667"/>
                </a:lnTo>
                <a:lnTo>
                  <a:pt x="3513" y="671"/>
                </a:lnTo>
                <a:lnTo>
                  <a:pt x="3511" y="679"/>
                </a:lnTo>
                <a:lnTo>
                  <a:pt x="3509" y="685"/>
                </a:lnTo>
                <a:lnTo>
                  <a:pt x="3507" y="690"/>
                </a:lnTo>
                <a:lnTo>
                  <a:pt x="3503" y="689"/>
                </a:lnTo>
                <a:lnTo>
                  <a:pt x="3498" y="689"/>
                </a:lnTo>
                <a:lnTo>
                  <a:pt x="3490" y="690"/>
                </a:lnTo>
                <a:lnTo>
                  <a:pt x="3484" y="679"/>
                </a:lnTo>
                <a:lnTo>
                  <a:pt x="3481" y="673"/>
                </a:lnTo>
                <a:lnTo>
                  <a:pt x="3479" y="667"/>
                </a:lnTo>
                <a:lnTo>
                  <a:pt x="3467" y="673"/>
                </a:lnTo>
                <a:lnTo>
                  <a:pt x="3467" y="675"/>
                </a:lnTo>
                <a:lnTo>
                  <a:pt x="3467" y="677"/>
                </a:lnTo>
                <a:lnTo>
                  <a:pt x="3467" y="681"/>
                </a:lnTo>
                <a:lnTo>
                  <a:pt x="3467" y="686"/>
                </a:lnTo>
                <a:lnTo>
                  <a:pt x="3467" y="690"/>
                </a:lnTo>
                <a:lnTo>
                  <a:pt x="3467" y="692"/>
                </a:lnTo>
                <a:lnTo>
                  <a:pt x="3465" y="694"/>
                </a:lnTo>
                <a:lnTo>
                  <a:pt x="3462" y="698"/>
                </a:lnTo>
                <a:lnTo>
                  <a:pt x="3458" y="703"/>
                </a:lnTo>
                <a:lnTo>
                  <a:pt x="3456" y="707"/>
                </a:lnTo>
                <a:lnTo>
                  <a:pt x="3455" y="711"/>
                </a:lnTo>
                <a:lnTo>
                  <a:pt x="3455" y="715"/>
                </a:lnTo>
                <a:lnTo>
                  <a:pt x="3453" y="720"/>
                </a:lnTo>
                <a:lnTo>
                  <a:pt x="3453" y="724"/>
                </a:lnTo>
                <a:lnTo>
                  <a:pt x="3453" y="731"/>
                </a:lnTo>
                <a:lnTo>
                  <a:pt x="3453" y="739"/>
                </a:lnTo>
                <a:lnTo>
                  <a:pt x="3453" y="746"/>
                </a:lnTo>
                <a:lnTo>
                  <a:pt x="3450" y="747"/>
                </a:lnTo>
                <a:lnTo>
                  <a:pt x="3447" y="749"/>
                </a:lnTo>
                <a:lnTo>
                  <a:pt x="3442" y="752"/>
                </a:lnTo>
                <a:lnTo>
                  <a:pt x="3445" y="743"/>
                </a:lnTo>
                <a:lnTo>
                  <a:pt x="3439" y="743"/>
                </a:lnTo>
                <a:lnTo>
                  <a:pt x="3437" y="746"/>
                </a:lnTo>
                <a:lnTo>
                  <a:pt x="3435" y="748"/>
                </a:lnTo>
                <a:lnTo>
                  <a:pt x="3432" y="750"/>
                </a:lnTo>
                <a:lnTo>
                  <a:pt x="3431" y="752"/>
                </a:lnTo>
                <a:lnTo>
                  <a:pt x="3430" y="755"/>
                </a:lnTo>
                <a:lnTo>
                  <a:pt x="3430" y="759"/>
                </a:lnTo>
                <a:lnTo>
                  <a:pt x="3431" y="762"/>
                </a:lnTo>
                <a:lnTo>
                  <a:pt x="3431" y="766"/>
                </a:lnTo>
                <a:lnTo>
                  <a:pt x="3429" y="769"/>
                </a:lnTo>
                <a:lnTo>
                  <a:pt x="3427" y="773"/>
                </a:lnTo>
                <a:lnTo>
                  <a:pt x="3424" y="772"/>
                </a:lnTo>
                <a:lnTo>
                  <a:pt x="3422" y="772"/>
                </a:lnTo>
                <a:lnTo>
                  <a:pt x="3421" y="771"/>
                </a:lnTo>
                <a:lnTo>
                  <a:pt x="3421" y="770"/>
                </a:lnTo>
                <a:lnTo>
                  <a:pt x="3422" y="770"/>
                </a:lnTo>
                <a:lnTo>
                  <a:pt x="3422" y="769"/>
                </a:lnTo>
                <a:lnTo>
                  <a:pt x="3421" y="769"/>
                </a:lnTo>
                <a:lnTo>
                  <a:pt x="3420" y="769"/>
                </a:lnTo>
                <a:lnTo>
                  <a:pt x="3414" y="774"/>
                </a:lnTo>
                <a:lnTo>
                  <a:pt x="3409" y="776"/>
                </a:lnTo>
                <a:lnTo>
                  <a:pt x="3405" y="777"/>
                </a:lnTo>
                <a:lnTo>
                  <a:pt x="3403" y="769"/>
                </a:lnTo>
                <a:lnTo>
                  <a:pt x="3405" y="769"/>
                </a:lnTo>
                <a:lnTo>
                  <a:pt x="3406" y="769"/>
                </a:lnTo>
                <a:lnTo>
                  <a:pt x="3407" y="768"/>
                </a:lnTo>
                <a:lnTo>
                  <a:pt x="3406" y="767"/>
                </a:lnTo>
                <a:lnTo>
                  <a:pt x="3405" y="765"/>
                </a:lnTo>
                <a:lnTo>
                  <a:pt x="3403" y="764"/>
                </a:lnTo>
                <a:lnTo>
                  <a:pt x="3400" y="763"/>
                </a:lnTo>
                <a:lnTo>
                  <a:pt x="3397" y="763"/>
                </a:lnTo>
                <a:lnTo>
                  <a:pt x="3391" y="764"/>
                </a:lnTo>
                <a:lnTo>
                  <a:pt x="3384" y="767"/>
                </a:lnTo>
                <a:lnTo>
                  <a:pt x="3377" y="771"/>
                </a:lnTo>
                <a:lnTo>
                  <a:pt x="3370" y="775"/>
                </a:lnTo>
                <a:lnTo>
                  <a:pt x="3362" y="779"/>
                </a:lnTo>
                <a:lnTo>
                  <a:pt x="3354" y="782"/>
                </a:lnTo>
                <a:lnTo>
                  <a:pt x="3346" y="784"/>
                </a:lnTo>
                <a:lnTo>
                  <a:pt x="3342" y="785"/>
                </a:lnTo>
                <a:lnTo>
                  <a:pt x="3338" y="786"/>
                </a:lnTo>
                <a:lnTo>
                  <a:pt x="3333" y="786"/>
                </a:lnTo>
                <a:lnTo>
                  <a:pt x="3331" y="786"/>
                </a:lnTo>
                <a:lnTo>
                  <a:pt x="3329" y="786"/>
                </a:lnTo>
                <a:lnTo>
                  <a:pt x="3321" y="783"/>
                </a:lnTo>
                <a:lnTo>
                  <a:pt x="3313" y="780"/>
                </a:lnTo>
                <a:lnTo>
                  <a:pt x="3310" y="774"/>
                </a:lnTo>
                <a:lnTo>
                  <a:pt x="3306" y="774"/>
                </a:lnTo>
                <a:lnTo>
                  <a:pt x="3301" y="774"/>
                </a:lnTo>
                <a:lnTo>
                  <a:pt x="3297" y="775"/>
                </a:lnTo>
                <a:lnTo>
                  <a:pt x="3293" y="774"/>
                </a:lnTo>
                <a:lnTo>
                  <a:pt x="3290" y="779"/>
                </a:lnTo>
                <a:lnTo>
                  <a:pt x="3289" y="781"/>
                </a:lnTo>
                <a:lnTo>
                  <a:pt x="3287" y="783"/>
                </a:lnTo>
                <a:lnTo>
                  <a:pt x="3285" y="783"/>
                </a:lnTo>
                <a:lnTo>
                  <a:pt x="3283" y="783"/>
                </a:lnTo>
                <a:lnTo>
                  <a:pt x="3281" y="782"/>
                </a:lnTo>
                <a:lnTo>
                  <a:pt x="3280" y="782"/>
                </a:lnTo>
                <a:lnTo>
                  <a:pt x="3279" y="783"/>
                </a:lnTo>
                <a:lnTo>
                  <a:pt x="3280" y="784"/>
                </a:lnTo>
                <a:lnTo>
                  <a:pt x="3280" y="785"/>
                </a:lnTo>
                <a:lnTo>
                  <a:pt x="3279" y="786"/>
                </a:lnTo>
                <a:lnTo>
                  <a:pt x="3279" y="788"/>
                </a:lnTo>
                <a:lnTo>
                  <a:pt x="3276" y="791"/>
                </a:lnTo>
                <a:lnTo>
                  <a:pt x="3273" y="786"/>
                </a:lnTo>
                <a:lnTo>
                  <a:pt x="3270" y="780"/>
                </a:lnTo>
                <a:lnTo>
                  <a:pt x="3267" y="780"/>
                </a:lnTo>
                <a:lnTo>
                  <a:pt x="3263" y="780"/>
                </a:lnTo>
                <a:lnTo>
                  <a:pt x="3259" y="781"/>
                </a:lnTo>
                <a:lnTo>
                  <a:pt x="3258" y="780"/>
                </a:lnTo>
                <a:lnTo>
                  <a:pt x="3256" y="780"/>
                </a:lnTo>
                <a:lnTo>
                  <a:pt x="3256" y="774"/>
                </a:lnTo>
                <a:lnTo>
                  <a:pt x="3255" y="771"/>
                </a:lnTo>
                <a:lnTo>
                  <a:pt x="3252" y="768"/>
                </a:lnTo>
                <a:lnTo>
                  <a:pt x="3248" y="763"/>
                </a:lnTo>
                <a:lnTo>
                  <a:pt x="3250" y="759"/>
                </a:lnTo>
                <a:lnTo>
                  <a:pt x="3254" y="755"/>
                </a:lnTo>
                <a:lnTo>
                  <a:pt x="3245" y="755"/>
                </a:lnTo>
                <a:lnTo>
                  <a:pt x="3245" y="752"/>
                </a:lnTo>
                <a:lnTo>
                  <a:pt x="3246" y="749"/>
                </a:lnTo>
                <a:lnTo>
                  <a:pt x="3249" y="744"/>
                </a:lnTo>
                <a:lnTo>
                  <a:pt x="3251" y="742"/>
                </a:lnTo>
                <a:lnTo>
                  <a:pt x="3251" y="741"/>
                </a:lnTo>
                <a:lnTo>
                  <a:pt x="3252" y="742"/>
                </a:lnTo>
                <a:lnTo>
                  <a:pt x="3251" y="746"/>
                </a:lnTo>
                <a:lnTo>
                  <a:pt x="3254" y="749"/>
                </a:lnTo>
                <a:lnTo>
                  <a:pt x="3256" y="752"/>
                </a:lnTo>
                <a:lnTo>
                  <a:pt x="3262" y="752"/>
                </a:lnTo>
                <a:lnTo>
                  <a:pt x="3265" y="759"/>
                </a:lnTo>
                <a:lnTo>
                  <a:pt x="3268" y="766"/>
                </a:lnTo>
                <a:lnTo>
                  <a:pt x="3265" y="751"/>
                </a:lnTo>
                <a:lnTo>
                  <a:pt x="3262" y="738"/>
                </a:lnTo>
                <a:lnTo>
                  <a:pt x="3259" y="738"/>
                </a:lnTo>
                <a:lnTo>
                  <a:pt x="3258" y="739"/>
                </a:lnTo>
                <a:lnTo>
                  <a:pt x="3257" y="739"/>
                </a:lnTo>
                <a:lnTo>
                  <a:pt x="3254" y="738"/>
                </a:lnTo>
                <a:lnTo>
                  <a:pt x="3255" y="732"/>
                </a:lnTo>
                <a:lnTo>
                  <a:pt x="3256" y="726"/>
                </a:lnTo>
                <a:lnTo>
                  <a:pt x="3257" y="721"/>
                </a:lnTo>
                <a:lnTo>
                  <a:pt x="3259" y="715"/>
                </a:lnTo>
                <a:lnTo>
                  <a:pt x="3263" y="718"/>
                </a:lnTo>
                <a:lnTo>
                  <a:pt x="3264" y="719"/>
                </a:lnTo>
                <a:lnTo>
                  <a:pt x="3265" y="719"/>
                </a:lnTo>
                <a:lnTo>
                  <a:pt x="3266" y="719"/>
                </a:lnTo>
                <a:lnTo>
                  <a:pt x="3268" y="718"/>
                </a:lnTo>
                <a:lnTo>
                  <a:pt x="3267" y="716"/>
                </a:lnTo>
                <a:lnTo>
                  <a:pt x="3267" y="714"/>
                </a:lnTo>
                <a:lnTo>
                  <a:pt x="3268" y="710"/>
                </a:lnTo>
                <a:lnTo>
                  <a:pt x="3259" y="710"/>
                </a:lnTo>
                <a:lnTo>
                  <a:pt x="3259" y="707"/>
                </a:lnTo>
                <a:lnTo>
                  <a:pt x="3258" y="705"/>
                </a:lnTo>
                <a:lnTo>
                  <a:pt x="3259" y="700"/>
                </a:lnTo>
                <a:lnTo>
                  <a:pt x="3259" y="695"/>
                </a:lnTo>
                <a:lnTo>
                  <a:pt x="3259" y="690"/>
                </a:lnTo>
                <a:lnTo>
                  <a:pt x="3252" y="689"/>
                </a:lnTo>
                <a:lnTo>
                  <a:pt x="3250" y="689"/>
                </a:lnTo>
                <a:lnTo>
                  <a:pt x="3248" y="687"/>
                </a:lnTo>
                <a:lnTo>
                  <a:pt x="3251" y="686"/>
                </a:lnTo>
                <a:lnTo>
                  <a:pt x="3253" y="686"/>
                </a:lnTo>
                <a:lnTo>
                  <a:pt x="3257" y="686"/>
                </a:lnTo>
                <a:lnTo>
                  <a:pt x="3258" y="686"/>
                </a:lnTo>
                <a:lnTo>
                  <a:pt x="3259" y="685"/>
                </a:lnTo>
                <a:lnTo>
                  <a:pt x="3262" y="681"/>
                </a:lnTo>
                <a:lnTo>
                  <a:pt x="3263" y="677"/>
                </a:lnTo>
                <a:lnTo>
                  <a:pt x="3264" y="672"/>
                </a:lnTo>
                <a:lnTo>
                  <a:pt x="3263" y="667"/>
                </a:lnTo>
                <a:lnTo>
                  <a:pt x="3263" y="666"/>
                </a:lnTo>
                <a:lnTo>
                  <a:pt x="3262" y="665"/>
                </a:lnTo>
                <a:lnTo>
                  <a:pt x="3255" y="669"/>
                </a:lnTo>
                <a:lnTo>
                  <a:pt x="3251" y="671"/>
                </a:lnTo>
                <a:lnTo>
                  <a:pt x="3248" y="673"/>
                </a:lnTo>
                <a:lnTo>
                  <a:pt x="3247" y="674"/>
                </a:lnTo>
                <a:lnTo>
                  <a:pt x="3246" y="676"/>
                </a:lnTo>
                <a:lnTo>
                  <a:pt x="3245" y="679"/>
                </a:lnTo>
                <a:lnTo>
                  <a:pt x="3244" y="682"/>
                </a:lnTo>
                <a:lnTo>
                  <a:pt x="3243" y="683"/>
                </a:lnTo>
                <a:lnTo>
                  <a:pt x="3242" y="684"/>
                </a:lnTo>
                <a:lnTo>
                  <a:pt x="3239" y="685"/>
                </a:lnTo>
                <a:lnTo>
                  <a:pt x="3235" y="685"/>
                </a:lnTo>
                <a:lnTo>
                  <a:pt x="3232" y="684"/>
                </a:lnTo>
                <a:lnTo>
                  <a:pt x="3228" y="684"/>
                </a:lnTo>
                <a:lnTo>
                  <a:pt x="3227" y="685"/>
                </a:lnTo>
                <a:lnTo>
                  <a:pt x="3225" y="686"/>
                </a:lnTo>
                <a:lnTo>
                  <a:pt x="3222" y="689"/>
                </a:lnTo>
                <a:lnTo>
                  <a:pt x="3220" y="693"/>
                </a:lnTo>
                <a:lnTo>
                  <a:pt x="3217" y="696"/>
                </a:lnTo>
                <a:lnTo>
                  <a:pt x="3218" y="697"/>
                </a:lnTo>
                <a:lnTo>
                  <a:pt x="3219" y="699"/>
                </a:lnTo>
                <a:lnTo>
                  <a:pt x="3220" y="701"/>
                </a:lnTo>
                <a:lnTo>
                  <a:pt x="3221" y="701"/>
                </a:lnTo>
                <a:lnTo>
                  <a:pt x="3223" y="701"/>
                </a:lnTo>
                <a:lnTo>
                  <a:pt x="3225" y="693"/>
                </a:lnTo>
                <a:lnTo>
                  <a:pt x="3231" y="693"/>
                </a:lnTo>
                <a:lnTo>
                  <a:pt x="3230" y="695"/>
                </a:lnTo>
                <a:lnTo>
                  <a:pt x="3229" y="698"/>
                </a:lnTo>
                <a:lnTo>
                  <a:pt x="3228" y="700"/>
                </a:lnTo>
                <a:lnTo>
                  <a:pt x="3228" y="701"/>
                </a:lnTo>
                <a:lnTo>
                  <a:pt x="3229" y="702"/>
                </a:lnTo>
                <a:lnTo>
                  <a:pt x="3231" y="701"/>
                </a:lnTo>
                <a:lnTo>
                  <a:pt x="3232" y="700"/>
                </a:lnTo>
                <a:lnTo>
                  <a:pt x="3233" y="699"/>
                </a:lnTo>
                <a:lnTo>
                  <a:pt x="3233" y="697"/>
                </a:lnTo>
                <a:lnTo>
                  <a:pt x="3233" y="695"/>
                </a:lnTo>
                <a:lnTo>
                  <a:pt x="3233" y="693"/>
                </a:lnTo>
                <a:lnTo>
                  <a:pt x="3233" y="691"/>
                </a:lnTo>
                <a:lnTo>
                  <a:pt x="3232" y="690"/>
                </a:lnTo>
                <a:lnTo>
                  <a:pt x="3231" y="690"/>
                </a:lnTo>
                <a:lnTo>
                  <a:pt x="3237" y="690"/>
                </a:lnTo>
                <a:lnTo>
                  <a:pt x="3240" y="690"/>
                </a:lnTo>
                <a:lnTo>
                  <a:pt x="3242" y="690"/>
                </a:lnTo>
                <a:lnTo>
                  <a:pt x="3242" y="691"/>
                </a:lnTo>
                <a:lnTo>
                  <a:pt x="3242" y="692"/>
                </a:lnTo>
                <a:lnTo>
                  <a:pt x="3242" y="695"/>
                </a:lnTo>
                <a:lnTo>
                  <a:pt x="3243" y="699"/>
                </a:lnTo>
                <a:lnTo>
                  <a:pt x="3243" y="700"/>
                </a:lnTo>
                <a:lnTo>
                  <a:pt x="3242" y="701"/>
                </a:lnTo>
                <a:lnTo>
                  <a:pt x="3241" y="702"/>
                </a:lnTo>
                <a:lnTo>
                  <a:pt x="3240" y="700"/>
                </a:lnTo>
                <a:lnTo>
                  <a:pt x="3239" y="699"/>
                </a:lnTo>
                <a:lnTo>
                  <a:pt x="3238" y="698"/>
                </a:lnTo>
                <a:lnTo>
                  <a:pt x="3237" y="698"/>
                </a:lnTo>
                <a:lnTo>
                  <a:pt x="3235" y="700"/>
                </a:lnTo>
                <a:lnTo>
                  <a:pt x="3233" y="704"/>
                </a:lnTo>
                <a:lnTo>
                  <a:pt x="3231" y="710"/>
                </a:lnTo>
                <a:lnTo>
                  <a:pt x="3214" y="710"/>
                </a:lnTo>
                <a:lnTo>
                  <a:pt x="3215" y="711"/>
                </a:lnTo>
                <a:lnTo>
                  <a:pt x="3216" y="712"/>
                </a:lnTo>
                <a:lnTo>
                  <a:pt x="3216" y="715"/>
                </a:lnTo>
                <a:lnTo>
                  <a:pt x="3214" y="721"/>
                </a:lnTo>
                <a:lnTo>
                  <a:pt x="3219" y="722"/>
                </a:lnTo>
                <a:lnTo>
                  <a:pt x="3221" y="722"/>
                </a:lnTo>
                <a:lnTo>
                  <a:pt x="3223" y="724"/>
                </a:lnTo>
                <a:lnTo>
                  <a:pt x="3223" y="729"/>
                </a:lnTo>
                <a:lnTo>
                  <a:pt x="3222" y="729"/>
                </a:lnTo>
                <a:lnTo>
                  <a:pt x="3222" y="730"/>
                </a:lnTo>
                <a:lnTo>
                  <a:pt x="3221" y="734"/>
                </a:lnTo>
                <a:lnTo>
                  <a:pt x="3220" y="743"/>
                </a:lnTo>
                <a:lnTo>
                  <a:pt x="3228" y="746"/>
                </a:lnTo>
                <a:lnTo>
                  <a:pt x="3229" y="750"/>
                </a:lnTo>
                <a:lnTo>
                  <a:pt x="3229" y="751"/>
                </a:lnTo>
                <a:lnTo>
                  <a:pt x="3229" y="752"/>
                </a:lnTo>
                <a:lnTo>
                  <a:pt x="3226" y="757"/>
                </a:lnTo>
                <a:lnTo>
                  <a:pt x="3225" y="760"/>
                </a:lnTo>
                <a:lnTo>
                  <a:pt x="3225" y="763"/>
                </a:lnTo>
                <a:lnTo>
                  <a:pt x="3231" y="763"/>
                </a:lnTo>
                <a:lnTo>
                  <a:pt x="3231" y="769"/>
                </a:lnTo>
                <a:lnTo>
                  <a:pt x="3232" y="773"/>
                </a:lnTo>
                <a:lnTo>
                  <a:pt x="3233" y="780"/>
                </a:lnTo>
                <a:lnTo>
                  <a:pt x="3234" y="788"/>
                </a:lnTo>
                <a:lnTo>
                  <a:pt x="3234" y="791"/>
                </a:lnTo>
                <a:lnTo>
                  <a:pt x="3234" y="794"/>
                </a:lnTo>
                <a:lnTo>
                  <a:pt x="3233" y="795"/>
                </a:lnTo>
                <a:lnTo>
                  <a:pt x="3233" y="796"/>
                </a:lnTo>
                <a:lnTo>
                  <a:pt x="3232" y="794"/>
                </a:lnTo>
                <a:lnTo>
                  <a:pt x="3231" y="791"/>
                </a:lnTo>
                <a:lnTo>
                  <a:pt x="3230" y="791"/>
                </a:lnTo>
                <a:lnTo>
                  <a:pt x="3229" y="792"/>
                </a:lnTo>
                <a:lnTo>
                  <a:pt x="3227" y="796"/>
                </a:lnTo>
                <a:lnTo>
                  <a:pt x="3225" y="802"/>
                </a:lnTo>
                <a:lnTo>
                  <a:pt x="3223" y="802"/>
                </a:lnTo>
                <a:lnTo>
                  <a:pt x="3221" y="802"/>
                </a:lnTo>
                <a:lnTo>
                  <a:pt x="3220" y="801"/>
                </a:lnTo>
                <a:lnTo>
                  <a:pt x="3219" y="801"/>
                </a:lnTo>
                <a:lnTo>
                  <a:pt x="3216" y="799"/>
                </a:lnTo>
                <a:lnTo>
                  <a:pt x="3214" y="799"/>
                </a:lnTo>
                <a:lnTo>
                  <a:pt x="3211" y="800"/>
                </a:lnTo>
                <a:lnTo>
                  <a:pt x="3210" y="801"/>
                </a:lnTo>
                <a:lnTo>
                  <a:pt x="3208" y="802"/>
                </a:lnTo>
                <a:lnTo>
                  <a:pt x="3205" y="804"/>
                </a:lnTo>
                <a:lnTo>
                  <a:pt x="3203" y="805"/>
                </a:lnTo>
                <a:lnTo>
                  <a:pt x="3203" y="808"/>
                </a:lnTo>
                <a:lnTo>
                  <a:pt x="3200" y="808"/>
                </a:lnTo>
                <a:lnTo>
                  <a:pt x="3197" y="807"/>
                </a:lnTo>
                <a:lnTo>
                  <a:pt x="3189" y="806"/>
                </a:lnTo>
                <a:lnTo>
                  <a:pt x="3185" y="805"/>
                </a:lnTo>
                <a:lnTo>
                  <a:pt x="3180" y="804"/>
                </a:lnTo>
                <a:lnTo>
                  <a:pt x="3176" y="804"/>
                </a:lnTo>
                <a:lnTo>
                  <a:pt x="3172" y="805"/>
                </a:lnTo>
                <a:lnTo>
                  <a:pt x="3169" y="814"/>
                </a:lnTo>
                <a:lnTo>
                  <a:pt x="3166" y="815"/>
                </a:lnTo>
                <a:lnTo>
                  <a:pt x="3163" y="815"/>
                </a:lnTo>
                <a:lnTo>
                  <a:pt x="3161" y="815"/>
                </a:lnTo>
                <a:lnTo>
                  <a:pt x="3158" y="817"/>
                </a:lnTo>
                <a:lnTo>
                  <a:pt x="3157" y="818"/>
                </a:lnTo>
                <a:lnTo>
                  <a:pt x="3156" y="819"/>
                </a:lnTo>
                <a:lnTo>
                  <a:pt x="3155" y="821"/>
                </a:lnTo>
                <a:lnTo>
                  <a:pt x="3154" y="823"/>
                </a:lnTo>
                <a:lnTo>
                  <a:pt x="3151" y="833"/>
                </a:lnTo>
                <a:lnTo>
                  <a:pt x="3150" y="844"/>
                </a:lnTo>
                <a:lnTo>
                  <a:pt x="3149" y="853"/>
                </a:lnTo>
                <a:lnTo>
                  <a:pt x="3132" y="854"/>
                </a:lnTo>
                <a:lnTo>
                  <a:pt x="3119" y="856"/>
                </a:lnTo>
                <a:lnTo>
                  <a:pt x="3108" y="859"/>
                </a:lnTo>
                <a:lnTo>
                  <a:pt x="3093" y="864"/>
                </a:lnTo>
                <a:lnTo>
                  <a:pt x="3095" y="875"/>
                </a:lnTo>
                <a:lnTo>
                  <a:pt x="3096" y="888"/>
                </a:lnTo>
                <a:lnTo>
                  <a:pt x="3093" y="889"/>
                </a:lnTo>
                <a:lnTo>
                  <a:pt x="3091" y="889"/>
                </a:lnTo>
                <a:lnTo>
                  <a:pt x="3085" y="890"/>
                </a:lnTo>
                <a:lnTo>
                  <a:pt x="3083" y="890"/>
                </a:lnTo>
                <a:lnTo>
                  <a:pt x="3081" y="891"/>
                </a:lnTo>
                <a:lnTo>
                  <a:pt x="3078" y="892"/>
                </a:lnTo>
                <a:lnTo>
                  <a:pt x="3076" y="893"/>
                </a:lnTo>
                <a:lnTo>
                  <a:pt x="3075" y="896"/>
                </a:lnTo>
                <a:lnTo>
                  <a:pt x="3075" y="899"/>
                </a:lnTo>
                <a:lnTo>
                  <a:pt x="3074" y="905"/>
                </a:lnTo>
                <a:lnTo>
                  <a:pt x="3072" y="906"/>
                </a:lnTo>
                <a:lnTo>
                  <a:pt x="3070" y="906"/>
                </a:lnTo>
                <a:lnTo>
                  <a:pt x="3066" y="907"/>
                </a:lnTo>
                <a:lnTo>
                  <a:pt x="3058" y="907"/>
                </a:lnTo>
                <a:lnTo>
                  <a:pt x="3051" y="906"/>
                </a:lnTo>
                <a:lnTo>
                  <a:pt x="3045" y="905"/>
                </a:lnTo>
                <a:lnTo>
                  <a:pt x="3045" y="896"/>
                </a:lnTo>
                <a:lnTo>
                  <a:pt x="3043" y="896"/>
                </a:lnTo>
                <a:lnTo>
                  <a:pt x="3041" y="896"/>
                </a:lnTo>
                <a:lnTo>
                  <a:pt x="3038" y="897"/>
                </a:lnTo>
                <a:lnTo>
                  <a:pt x="3036" y="898"/>
                </a:lnTo>
                <a:lnTo>
                  <a:pt x="3035" y="899"/>
                </a:lnTo>
                <a:lnTo>
                  <a:pt x="3034" y="900"/>
                </a:lnTo>
                <a:lnTo>
                  <a:pt x="3033" y="901"/>
                </a:lnTo>
                <a:lnTo>
                  <a:pt x="3034" y="902"/>
                </a:lnTo>
                <a:lnTo>
                  <a:pt x="3038" y="913"/>
                </a:lnTo>
                <a:lnTo>
                  <a:pt x="3041" y="919"/>
                </a:lnTo>
                <a:lnTo>
                  <a:pt x="3043" y="924"/>
                </a:lnTo>
                <a:lnTo>
                  <a:pt x="3043" y="930"/>
                </a:lnTo>
                <a:lnTo>
                  <a:pt x="3040" y="930"/>
                </a:lnTo>
                <a:lnTo>
                  <a:pt x="3038" y="929"/>
                </a:lnTo>
                <a:lnTo>
                  <a:pt x="3034" y="928"/>
                </a:lnTo>
                <a:lnTo>
                  <a:pt x="3031" y="927"/>
                </a:lnTo>
                <a:lnTo>
                  <a:pt x="3026" y="927"/>
                </a:lnTo>
                <a:lnTo>
                  <a:pt x="3017" y="933"/>
                </a:lnTo>
                <a:lnTo>
                  <a:pt x="3015" y="933"/>
                </a:lnTo>
                <a:lnTo>
                  <a:pt x="3014" y="932"/>
                </a:lnTo>
                <a:lnTo>
                  <a:pt x="3013" y="932"/>
                </a:lnTo>
                <a:lnTo>
                  <a:pt x="3012" y="931"/>
                </a:lnTo>
                <a:lnTo>
                  <a:pt x="3012" y="930"/>
                </a:lnTo>
                <a:lnTo>
                  <a:pt x="3012" y="929"/>
                </a:lnTo>
                <a:lnTo>
                  <a:pt x="3011" y="928"/>
                </a:lnTo>
                <a:lnTo>
                  <a:pt x="3010" y="927"/>
                </a:lnTo>
                <a:lnTo>
                  <a:pt x="3009" y="927"/>
                </a:lnTo>
                <a:lnTo>
                  <a:pt x="3007" y="927"/>
                </a:lnTo>
                <a:lnTo>
                  <a:pt x="3000" y="928"/>
                </a:lnTo>
                <a:lnTo>
                  <a:pt x="2991" y="930"/>
                </a:lnTo>
                <a:lnTo>
                  <a:pt x="2987" y="932"/>
                </a:lnTo>
                <a:lnTo>
                  <a:pt x="2984" y="933"/>
                </a:lnTo>
                <a:lnTo>
                  <a:pt x="2981" y="933"/>
                </a:lnTo>
                <a:lnTo>
                  <a:pt x="2989" y="939"/>
                </a:lnTo>
                <a:lnTo>
                  <a:pt x="2987" y="939"/>
                </a:lnTo>
                <a:lnTo>
                  <a:pt x="2985" y="940"/>
                </a:lnTo>
                <a:lnTo>
                  <a:pt x="2983" y="940"/>
                </a:lnTo>
                <a:lnTo>
                  <a:pt x="2981" y="941"/>
                </a:lnTo>
                <a:lnTo>
                  <a:pt x="2982" y="946"/>
                </a:lnTo>
                <a:lnTo>
                  <a:pt x="2982" y="950"/>
                </a:lnTo>
                <a:lnTo>
                  <a:pt x="2981" y="951"/>
                </a:lnTo>
                <a:lnTo>
                  <a:pt x="2981" y="953"/>
                </a:lnTo>
                <a:lnTo>
                  <a:pt x="2990" y="953"/>
                </a:lnTo>
                <a:lnTo>
                  <a:pt x="2994" y="953"/>
                </a:lnTo>
                <a:lnTo>
                  <a:pt x="2998" y="955"/>
                </a:lnTo>
                <a:lnTo>
                  <a:pt x="3006" y="958"/>
                </a:lnTo>
                <a:lnTo>
                  <a:pt x="3006" y="964"/>
                </a:lnTo>
                <a:lnTo>
                  <a:pt x="3017" y="958"/>
                </a:lnTo>
                <a:lnTo>
                  <a:pt x="3014" y="967"/>
                </a:lnTo>
                <a:lnTo>
                  <a:pt x="3018" y="968"/>
                </a:lnTo>
                <a:lnTo>
                  <a:pt x="3019" y="968"/>
                </a:lnTo>
                <a:lnTo>
                  <a:pt x="3020" y="972"/>
                </a:lnTo>
                <a:lnTo>
                  <a:pt x="3024" y="972"/>
                </a:lnTo>
                <a:lnTo>
                  <a:pt x="3029" y="972"/>
                </a:lnTo>
                <a:lnTo>
                  <a:pt x="3027" y="975"/>
                </a:lnTo>
                <a:lnTo>
                  <a:pt x="3026" y="979"/>
                </a:lnTo>
                <a:lnTo>
                  <a:pt x="3025" y="982"/>
                </a:lnTo>
                <a:lnTo>
                  <a:pt x="3025" y="984"/>
                </a:lnTo>
                <a:lnTo>
                  <a:pt x="3025" y="987"/>
                </a:lnTo>
                <a:lnTo>
                  <a:pt x="3026" y="989"/>
                </a:lnTo>
                <a:lnTo>
                  <a:pt x="3028" y="992"/>
                </a:lnTo>
                <a:lnTo>
                  <a:pt x="3030" y="994"/>
                </a:lnTo>
                <a:lnTo>
                  <a:pt x="3033" y="996"/>
                </a:lnTo>
                <a:lnTo>
                  <a:pt x="3037" y="998"/>
                </a:lnTo>
                <a:lnTo>
                  <a:pt x="3051" y="1003"/>
                </a:lnTo>
                <a:lnTo>
                  <a:pt x="3052" y="1024"/>
                </a:lnTo>
                <a:lnTo>
                  <a:pt x="3052" y="1032"/>
                </a:lnTo>
                <a:lnTo>
                  <a:pt x="3051" y="1040"/>
                </a:lnTo>
                <a:lnTo>
                  <a:pt x="3050" y="1047"/>
                </a:lnTo>
                <a:lnTo>
                  <a:pt x="3049" y="1054"/>
                </a:lnTo>
                <a:lnTo>
                  <a:pt x="3045" y="1071"/>
                </a:lnTo>
                <a:close/>
              </a:path>
            </a:pathLst>
          </a:custGeom>
          <a:solidFill>
            <a:schemeClr val="bg1">
              <a:lumMod val="85000"/>
            </a:schemeClr>
          </a:solidFill>
          <a:ln>
            <a:noFill/>
          </a:ln>
        </p:spPr>
        <p:txBody>
          <a:bodyPr vert="horz" wrap="square" lIns="68562" tIns="34281" rIns="68562" bIns="34281" numCol="1" anchor="t" anchorCtr="0" compatLnSpc="1">
            <a:prstTxWarp prst="textNoShape">
              <a:avLst/>
            </a:prstTxWarp>
          </a:bodyPr>
          <a:lstStyle/>
          <a:p>
            <a:endParaRPr lang="fi-FI" sz="1012"/>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9DAB92B-1CD9-4A3D-B9E1-A0D421768470}"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87142963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10" name="Date Placeholder 9"/>
          <p:cNvSpPr>
            <a:spLocks noGrp="1"/>
          </p:cNvSpPr>
          <p:nvPr>
            <p:ph type="dt" sz="half" idx="29"/>
          </p:nvPr>
        </p:nvSpPr>
        <p:spPr/>
        <p:txBody>
          <a:bodyPr/>
          <a:lstStyle>
            <a:lvl1pPr>
              <a:defRPr>
                <a:noFill/>
              </a:defRPr>
            </a:lvl1pPr>
          </a:lstStyle>
          <a:p>
            <a:fld id="{EE827FF4-EA26-4F38-8B0B-147625CE7045}" type="datetime1">
              <a:rPr lang="fi-FI" smtClean="0"/>
              <a:t>6.11.2023</a:t>
            </a:fld>
            <a:endParaRPr lang="en-US" dirty="0"/>
          </a:p>
        </p:txBody>
      </p:sp>
      <p:sp>
        <p:nvSpPr>
          <p:cNvPr id="11" name="Footer Placeholder 10"/>
          <p:cNvSpPr>
            <a:spLocks noGrp="1"/>
          </p:cNvSpPr>
          <p:nvPr>
            <p:ph type="ftr" sz="quarter" idx="30"/>
          </p:nvPr>
        </p:nvSpPr>
        <p:spPr/>
        <p:txBody>
          <a:bodyPr/>
          <a:lstStyle>
            <a:lvl1pPr>
              <a:defRPr>
                <a:noFill/>
              </a:defRPr>
            </a:lvl1pPr>
          </a:lstStyle>
          <a:p>
            <a:r>
              <a:rPr lang="en-US"/>
              <a:t>© Aalto University Executive Education</a:t>
            </a:r>
            <a:endParaRPr lang="en-US" dirty="0"/>
          </a:p>
        </p:txBody>
      </p:sp>
      <p:sp>
        <p:nvSpPr>
          <p:cNvPr id="12" name="Slide Number Placeholder 11"/>
          <p:cNvSpPr>
            <a:spLocks noGrp="1"/>
          </p:cNvSpPr>
          <p:nvPr>
            <p:ph type="sldNum" sz="quarter" idx="31"/>
          </p:nvPr>
        </p:nvSpPr>
        <p:spPr/>
        <p:txBody>
          <a:bodyPr/>
          <a:lstStyle>
            <a:lvl1pPr>
              <a:defRPr>
                <a:noFill/>
              </a:defRPr>
            </a:lvl1pPr>
          </a:lstStyle>
          <a:p>
            <a:fld id="{FCCA222D-FCF7-48C1-A274-EBDDEF75DC66}" type="slidenum">
              <a:rPr lang="en-US" smtClean="0"/>
              <a:pPr/>
              <a:t>‹#›</a:t>
            </a:fld>
            <a:endParaRPr lang="en-US" dirty="0"/>
          </a:p>
        </p:txBody>
      </p:sp>
      <p:sp>
        <p:nvSpPr>
          <p:cNvPr id="21" name="Rectangle 20"/>
          <p:cNvSpPr/>
          <p:nvPr userDrawn="1"/>
        </p:nvSpPr>
        <p:spPr>
          <a:xfrm>
            <a:off x="4572000" y="2571750"/>
            <a:ext cx="4572000"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20" name="Rectangle 19"/>
          <p:cNvSpPr/>
          <p:nvPr userDrawn="1"/>
        </p:nvSpPr>
        <p:spPr>
          <a:xfrm>
            <a:off x="0" y="257175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13" name="Content Placeholder 12"/>
          <p:cNvSpPr>
            <a:spLocks noGrp="1"/>
          </p:cNvSpPr>
          <p:nvPr>
            <p:ph sz="quarter" idx="14" hasCustomPrompt="1"/>
          </p:nvPr>
        </p:nvSpPr>
        <p:spPr>
          <a:xfrm>
            <a:off x="413461" y="1248967"/>
            <a:ext cx="3726455" cy="971746"/>
          </a:xfrm>
        </p:spPr>
        <p:txBody>
          <a:bodyPr/>
          <a:lstStyle>
            <a:lvl1pPr marL="0" indent="0">
              <a:buNone/>
              <a:defRPr sz="1050"/>
            </a:lvl1pPr>
          </a:lstStyle>
          <a:p>
            <a:pPr lvl="0"/>
            <a:r>
              <a:rPr lang="en-US" dirty="0"/>
              <a:t>Click to add text</a:t>
            </a:r>
          </a:p>
        </p:txBody>
      </p:sp>
      <p:sp>
        <p:nvSpPr>
          <p:cNvPr id="2" name="Rectangle 1"/>
          <p:cNvSpPr/>
          <p:nvPr userDrawn="1"/>
        </p:nvSpPr>
        <p:spPr>
          <a:xfrm>
            <a:off x="4572000" y="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22" name="Text Placeholder 6"/>
          <p:cNvSpPr>
            <a:spLocks noGrp="1"/>
          </p:cNvSpPr>
          <p:nvPr>
            <p:ph type="body" sz="quarter" idx="18" hasCustomPrompt="1"/>
          </p:nvPr>
        </p:nvSpPr>
        <p:spPr>
          <a:xfrm>
            <a:off x="414230" y="303436"/>
            <a:ext cx="3725686" cy="242999"/>
          </a:xfrm>
        </p:spPr>
        <p:txBody>
          <a:bodyPr anchor="t"/>
          <a:lstStyle>
            <a:lvl1pPr marL="0" indent="0">
              <a:buNone/>
              <a:defRPr sz="1200" b="1">
                <a:solidFill>
                  <a:schemeClr val="bg2"/>
                </a:solidFill>
              </a:defRPr>
            </a:lvl1pPr>
          </a:lstStyle>
          <a:p>
            <a:pPr lvl="0"/>
            <a:r>
              <a:rPr lang="en-US" dirty="0"/>
              <a:t>Click to add text</a:t>
            </a:r>
          </a:p>
        </p:txBody>
      </p:sp>
      <p:sp>
        <p:nvSpPr>
          <p:cNvPr id="24" name="Content Placeholder 12"/>
          <p:cNvSpPr>
            <a:spLocks noGrp="1"/>
          </p:cNvSpPr>
          <p:nvPr>
            <p:ph sz="quarter" idx="19" hasCustomPrompt="1"/>
          </p:nvPr>
        </p:nvSpPr>
        <p:spPr>
          <a:xfrm>
            <a:off x="5004085" y="1248968"/>
            <a:ext cx="3725686" cy="971746"/>
          </a:xfrm>
        </p:spPr>
        <p:txBody>
          <a:bodyPr/>
          <a:lstStyle>
            <a:lvl1pPr marL="0" indent="0">
              <a:buNone/>
              <a:defRPr sz="1050"/>
            </a:lvl1pPr>
          </a:lstStyle>
          <a:p>
            <a:pPr lvl="0"/>
            <a:r>
              <a:rPr lang="en-US" dirty="0"/>
              <a:t>Click to add text</a:t>
            </a:r>
          </a:p>
        </p:txBody>
      </p:sp>
      <p:sp>
        <p:nvSpPr>
          <p:cNvPr id="25" name="Text Placeholder 6"/>
          <p:cNvSpPr>
            <a:spLocks noGrp="1"/>
          </p:cNvSpPr>
          <p:nvPr>
            <p:ph type="body" sz="quarter" idx="20" hasCustomPrompt="1"/>
          </p:nvPr>
        </p:nvSpPr>
        <p:spPr>
          <a:xfrm>
            <a:off x="5004085" y="303500"/>
            <a:ext cx="3725686"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26" name="Text Placeholder 25"/>
          <p:cNvSpPr>
            <a:spLocks noGrp="1"/>
          </p:cNvSpPr>
          <p:nvPr>
            <p:ph type="body" sz="quarter" idx="21" hasCustomPrompt="1"/>
          </p:nvPr>
        </p:nvSpPr>
        <p:spPr>
          <a:xfrm>
            <a:off x="5003947" y="546851"/>
            <a:ext cx="3725823"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
        <p:nvSpPr>
          <p:cNvPr id="30" name="Content Placeholder 12"/>
          <p:cNvSpPr>
            <a:spLocks noGrp="1"/>
          </p:cNvSpPr>
          <p:nvPr>
            <p:ph sz="quarter" idx="22" hasCustomPrompt="1"/>
          </p:nvPr>
        </p:nvSpPr>
        <p:spPr>
          <a:xfrm>
            <a:off x="414428" y="3814253"/>
            <a:ext cx="3725488" cy="971746"/>
          </a:xfrm>
        </p:spPr>
        <p:txBody>
          <a:bodyPr/>
          <a:lstStyle>
            <a:lvl1pPr marL="0" indent="0">
              <a:buNone/>
              <a:defRPr sz="1050"/>
            </a:lvl1pPr>
          </a:lstStyle>
          <a:p>
            <a:pPr lvl="0"/>
            <a:r>
              <a:rPr lang="en-US" dirty="0"/>
              <a:t>Click to add text</a:t>
            </a:r>
          </a:p>
        </p:txBody>
      </p:sp>
      <p:sp>
        <p:nvSpPr>
          <p:cNvPr id="31" name="Text Placeholder 6"/>
          <p:cNvSpPr>
            <a:spLocks noGrp="1"/>
          </p:cNvSpPr>
          <p:nvPr>
            <p:ph type="body" sz="quarter" idx="23" hasCustomPrompt="1"/>
          </p:nvPr>
        </p:nvSpPr>
        <p:spPr>
          <a:xfrm>
            <a:off x="414428" y="2868785"/>
            <a:ext cx="3725488"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32" name="Text Placeholder 25"/>
          <p:cNvSpPr>
            <a:spLocks noGrp="1"/>
          </p:cNvSpPr>
          <p:nvPr>
            <p:ph type="body" sz="quarter" idx="24" hasCustomPrompt="1"/>
          </p:nvPr>
        </p:nvSpPr>
        <p:spPr>
          <a:xfrm>
            <a:off x="414230"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
        <p:nvSpPr>
          <p:cNvPr id="33" name="Content Placeholder 12"/>
          <p:cNvSpPr>
            <a:spLocks noGrp="1"/>
          </p:cNvSpPr>
          <p:nvPr>
            <p:ph sz="quarter" idx="25" hasCustomPrompt="1"/>
          </p:nvPr>
        </p:nvSpPr>
        <p:spPr>
          <a:xfrm>
            <a:off x="5004085" y="3814253"/>
            <a:ext cx="3725685" cy="971746"/>
          </a:xfrm>
        </p:spPr>
        <p:txBody>
          <a:bodyPr/>
          <a:lstStyle>
            <a:lvl1pPr marL="0" indent="0">
              <a:buNone/>
              <a:defRPr sz="1050">
                <a:solidFill>
                  <a:schemeClr val="bg1"/>
                </a:solidFill>
              </a:defRPr>
            </a:lvl1pPr>
          </a:lstStyle>
          <a:p>
            <a:pPr lvl="0"/>
            <a:r>
              <a:rPr lang="en-US" dirty="0"/>
              <a:t>Click to add text</a:t>
            </a:r>
          </a:p>
        </p:txBody>
      </p:sp>
      <p:sp>
        <p:nvSpPr>
          <p:cNvPr id="34" name="Text Placeholder 6"/>
          <p:cNvSpPr>
            <a:spLocks noGrp="1"/>
          </p:cNvSpPr>
          <p:nvPr>
            <p:ph type="body" sz="quarter" idx="26" hasCustomPrompt="1"/>
          </p:nvPr>
        </p:nvSpPr>
        <p:spPr>
          <a:xfrm>
            <a:off x="5004085" y="2868785"/>
            <a:ext cx="3725685" cy="242999"/>
          </a:xfrm>
        </p:spPr>
        <p:txBody>
          <a:bodyPr anchor="t"/>
          <a:lstStyle>
            <a:lvl1pPr marL="0" indent="0">
              <a:buNone/>
              <a:defRPr sz="1200" b="1">
                <a:solidFill>
                  <a:schemeClr val="bg1"/>
                </a:solidFill>
              </a:defRPr>
            </a:lvl1pPr>
          </a:lstStyle>
          <a:p>
            <a:pPr lvl="0"/>
            <a:r>
              <a:rPr lang="en-US" dirty="0"/>
              <a:t>Click to add text</a:t>
            </a:r>
          </a:p>
        </p:txBody>
      </p:sp>
      <p:sp>
        <p:nvSpPr>
          <p:cNvPr id="35" name="Text Placeholder 25"/>
          <p:cNvSpPr>
            <a:spLocks noGrp="1"/>
          </p:cNvSpPr>
          <p:nvPr>
            <p:ph type="body" sz="quarter" idx="27" hasCustomPrompt="1"/>
          </p:nvPr>
        </p:nvSpPr>
        <p:spPr>
          <a:xfrm>
            <a:off x="5004085"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solidFill>
                  <a:schemeClr val="bg1"/>
                </a:solidFill>
                <a:latin typeface="+mj-lt"/>
                <a:ea typeface="+mj-ea"/>
                <a:cs typeface="+mj-cs"/>
              </a:defRPr>
            </a:lvl1pPr>
          </a:lstStyle>
          <a:p>
            <a:pPr lvl="0">
              <a:lnSpc>
                <a:spcPct val="90000"/>
              </a:lnSpc>
              <a:spcBef>
                <a:spcPct val="0"/>
              </a:spcBef>
            </a:pPr>
            <a:r>
              <a:rPr lang="en-US" dirty="0"/>
              <a:t>Click to add text</a:t>
            </a:r>
          </a:p>
        </p:txBody>
      </p:sp>
      <p:sp>
        <p:nvSpPr>
          <p:cNvPr id="36" name="Text Placeholder 25"/>
          <p:cNvSpPr>
            <a:spLocks noGrp="1"/>
          </p:cNvSpPr>
          <p:nvPr>
            <p:ph type="body" sz="quarter" idx="28" hasCustomPrompt="1"/>
          </p:nvPr>
        </p:nvSpPr>
        <p:spPr>
          <a:xfrm>
            <a:off x="414230" y="546497"/>
            <a:ext cx="3725687"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Tree>
    <p:extLst>
      <p:ext uri="{BB962C8B-B14F-4D97-AF65-F5344CB8AC3E}">
        <p14:creationId xmlns:p14="http://schemas.microsoft.com/office/powerpoint/2010/main" val="359435954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o">
    <p:spTree>
      <p:nvGrpSpPr>
        <p:cNvPr id="1" name=""/>
        <p:cNvGrpSpPr/>
        <p:nvPr/>
      </p:nvGrpSpPr>
      <p:grpSpPr>
        <a:xfrm>
          <a:off x="0" y="0"/>
          <a:ext cx="0" cy="0"/>
          <a:chOff x="0" y="0"/>
          <a:chExt cx="0" cy="0"/>
        </a:xfrm>
      </p:grpSpPr>
      <p:sp>
        <p:nvSpPr>
          <p:cNvPr id="12" name="Rectangle 11"/>
          <p:cNvSpPr/>
          <p:nvPr userDrawn="1"/>
        </p:nvSpPr>
        <p:spPr>
          <a:xfrm>
            <a:off x="6083774" y="2571750"/>
            <a:ext cx="3060226"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3" name="Date Placeholder 2"/>
          <p:cNvSpPr>
            <a:spLocks noGrp="1"/>
          </p:cNvSpPr>
          <p:nvPr>
            <p:ph type="dt" sz="half" idx="10"/>
          </p:nvPr>
        </p:nvSpPr>
        <p:spPr/>
        <p:txBody>
          <a:bodyPr/>
          <a:lstStyle/>
          <a:p>
            <a:fld id="{D4559940-DECE-47F4-9CFC-F8FA3E09F4F2}" type="datetime1">
              <a:rPr lang="fi-FI" smtClean="0"/>
              <a:t>6.11.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
        <p:nvSpPr>
          <p:cNvPr id="9" name="Picture Placeholder 2"/>
          <p:cNvSpPr>
            <a:spLocks noGrp="1"/>
          </p:cNvSpPr>
          <p:nvPr>
            <p:ph type="pic" idx="13"/>
          </p:nvPr>
        </p:nvSpPr>
        <p:spPr>
          <a:xfrm>
            <a:off x="6083774" y="2"/>
            <a:ext cx="3060226" cy="2571749"/>
          </a:xfrm>
          <a:solidFill>
            <a:schemeClr val="bg2">
              <a:lumMod val="20000"/>
              <a:lumOff val="80000"/>
            </a:schemeClr>
          </a:solidFill>
        </p:spPr>
        <p:txBody>
          <a:bodyPr/>
          <a:lstStyle>
            <a:lvl1pPr marL="0" indent="0">
              <a:buNone/>
              <a:defRPr sz="1050"/>
            </a:lvl1pPr>
            <a:lvl2pPr marL="342809" indent="0">
              <a:buNone/>
              <a:defRPr sz="2099"/>
            </a:lvl2pPr>
            <a:lvl3pPr marL="685617" indent="0">
              <a:buNone/>
              <a:defRPr sz="1800"/>
            </a:lvl3pPr>
            <a:lvl4pPr marL="1028426" indent="0">
              <a:buNone/>
              <a:defRPr sz="1500"/>
            </a:lvl4pPr>
            <a:lvl5pPr marL="1371234" indent="0">
              <a:buNone/>
              <a:defRPr sz="1500"/>
            </a:lvl5pPr>
            <a:lvl6pPr marL="1714043" indent="0">
              <a:buNone/>
              <a:defRPr sz="1500"/>
            </a:lvl6pPr>
            <a:lvl7pPr marL="2056851" indent="0">
              <a:buNone/>
              <a:defRPr sz="1500"/>
            </a:lvl7pPr>
            <a:lvl8pPr marL="2399660" indent="0">
              <a:buNone/>
              <a:defRPr sz="1500"/>
            </a:lvl8pPr>
            <a:lvl9pPr marL="2742468" indent="0">
              <a:buNone/>
              <a:defRPr sz="1500"/>
            </a:lvl9pPr>
          </a:lstStyle>
          <a:p>
            <a:r>
              <a:rPr lang="en-US"/>
              <a:t>Click icon to add picture</a:t>
            </a:r>
            <a:endParaRPr lang="en-US" dirty="0"/>
          </a:p>
        </p:txBody>
      </p:sp>
      <p:sp>
        <p:nvSpPr>
          <p:cNvPr id="13" name="Content Placeholder 12"/>
          <p:cNvSpPr>
            <a:spLocks noGrp="1"/>
          </p:cNvSpPr>
          <p:nvPr>
            <p:ph sz="quarter" idx="14" hasCustomPrompt="1"/>
          </p:nvPr>
        </p:nvSpPr>
        <p:spPr>
          <a:xfrm>
            <a:off x="414229" y="1221564"/>
            <a:ext cx="5453613" cy="3186131"/>
          </a:xfrm>
        </p:spPr>
        <p:txBody>
          <a:bodyPr/>
          <a:lstStyle>
            <a:lvl1pPr marL="0" indent="0">
              <a:buFontTx/>
              <a:buNone/>
              <a:defRPr sz="1050"/>
            </a:lvl1pPr>
            <a:lvl2pPr marL="199972" indent="-199972">
              <a:buFont typeface="Arial" panose="020B0604020202020204" pitchFamily="34" charset="0"/>
              <a:buChar char="•"/>
              <a:defRPr sz="900"/>
            </a:lvl2pPr>
            <a:lvl3pPr marL="404705" indent="-204733">
              <a:buFont typeface="Arial" panose="020B0604020202020204" pitchFamily="34" charset="0"/>
              <a:buChar char="–"/>
              <a:defRPr sz="825"/>
            </a:lvl3pPr>
            <a:lvl4pPr marL="604676" indent="-199972">
              <a:buFont typeface="Arial" panose="020B0604020202020204" pitchFamily="34" charset="0"/>
              <a:buChar char="•"/>
              <a:defRPr sz="750"/>
            </a:lvl4pPr>
            <a:lvl5pPr marL="803458" indent="-198782">
              <a:buFont typeface="Arial" panose="020B0604020202020204" pitchFamily="34" charset="0"/>
              <a:buChar char="–"/>
              <a:defRPr sz="75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5" hasCustomPrompt="1"/>
          </p:nvPr>
        </p:nvSpPr>
        <p:spPr>
          <a:xfrm>
            <a:off x="6353733" y="2895796"/>
            <a:ext cx="2537920" cy="1511899"/>
          </a:xfrm>
          <a:prstGeom prst="rect">
            <a:avLst/>
          </a:prstGeom>
        </p:spPr>
        <p:txBody>
          <a:bodyPr lIns="0" tIns="0" rIns="0" bIns="0"/>
          <a:lstStyle>
            <a:lvl1pPr marL="0" indent="0">
              <a:buFontTx/>
              <a:buNone/>
              <a:defRPr sz="1200" b="1">
                <a:solidFill>
                  <a:schemeClr val="bg1"/>
                </a:solidFill>
              </a:defRPr>
            </a:lvl1pPr>
            <a:lvl2pPr marL="136886" indent="-136886">
              <a:buFont typeface="Arial" panose="020B0604020202020204" pitchFamily="34" charset="0"/>
              <a:buChar char="•"/>
              <a:defRPr sz="1050" b="1">
                <a:solidFill>
                  <a:schemeClr val="bg1"/>
                </a:solidFill>
              </a:defRPr>
            </a:lvl2pPr>
            <a:lvl3pPr marL="267820" indent="-130934">
              <a:defRPr sz="900" b="1">
                <a:solidFill>
                  <a:schemeClr val="bg1"/>
                </a:solidFill>
              </a:defRPr>
            </a:lvl3pPr>
            <a:lvl4pPr marL="404705" indent="-136886">
              <a:defRPr sz="825" b="1">
                <a:solidFill>
                  <a:schemeClr val="bg1"/>
                </a:solidFill>
              </a:defRPr>
            </a:lvl4pPr>
            <a:lvl5pPr marL="535638" indent="-130934">
              <a:defRPr sz="825" b="1">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Isosceles Triangle 7"/>
          <p:cNvSpPr/>
          <p:nvPr userDrawn="1"/>
        </p:nvSpPr>
        <p:spPr>
          <a:xfrm flipV="1">
            <a:off x="7406747" y="2571750"/>
            <a:ext cx="432060" cy="162023"/>
          </a:xfrm>
          <a:prstGeom prst="triangle">
            <a:avLst/>
          </a:prstGeom>
          <a:solidFill>
            <a:srgbClr val="E09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2"/>
          </a:p>
        </p:txBody>
      </p:sp>
      <p:sp>
        <p:nvSpPr>
          <p:cNvPr id="2" name="Title 1"/>
          <p:cNvSpPr>
            <a:spLocks noGrp="1"/>
          </p:cNvSpPr>
          <p:nvPr>
            <p:ph type="title" hasCustomPrompt="1"/>
          </p:nvPr>
        </p:nvSpPr>
        <p:spPr>
          <a:xfrm>
            <a:off x="0" y="573882"/>
            <a:ext cx="5867842" cy="456902"/>
          </a:xfrm>
          <a:solidFill>
            <a:srgbClr val="B1059D"/>
          </a:solidFill>
        </p:spPr>
        <p:txBody>
          <a:bodyPr/>
          <a:lstStyle>
            <a:lvl1pPr>
              <a:defRPr sz="2249"/>
            </a:lvl1pPr>
          </a:lstStyle>
          <a:p>
            <a:r>
              <a:rPr lang="en-US" dirty="0"/>
              <a:t>Insert Name</a:t>
            </a:r>
            <a:endParaRPr lang="fi-FI" dirty="0"/>
          </a:p>
        </p:txBody>
      </p:sp>
    </p:spTree>
    <p:extLst>
      <p:ext uri="{BB962C8B-B14F-4D97-AF65-F5344CB8AC3E}">
        <p14:creationId xmlns:p14="http://schemas.microsoft.com/office/powerpoint/2010/main" val="25588714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ustom layou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175"/>
            <a:ext cx="2086323" cy="353155"/>
          </a:xfrm>
          <a:solidFill>
            <a:srgbClr val="B1059D"/>
          </a:solidFill>
        </p:spPr>
        <p:txBody>
          <a:bodyPr wrap="none" lIns="324000" rIns="324000" anchor="ctr"/>
          <a:lstStyle>
            <a:lvl1pPr>
              <a:defRPr sz="1500"/>
            </a:lvl1pPr>
          </a:lstStyle>
          <a:p>
            <a:r>
              <a:rPr lang="en-US" dirty="0"/>
              <a:t>Click to add title</a:t>
            </a:r>
          </a:p>
        </p:txBody>
      </p:sp>
      <p:sp>
        <p:nvSpPr>
          <p:cNvPr id="4" name="Date Placeholder 3"/>
          <p:cNvSpPr>
            <a:spLocks noGrp="1"/>
          </p:cNvSpPr>
          <p:nvPr>
            <p:ph type="dt" sz="half" idx="10"/>
          </p:nvPr>
        </p:nvSpPr>
        <p:spPr/>
        <p:txBody>
          <a:bodyPr/>
          <a:lstStyle/>
          <a:p>
            <a:fld id="{5F04A4A6-8F0B-4EE0-A205-F3CC694F274C}"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7" name="Text Placeholder 6"/>
          <p:cNvSpPr>
            <a:spLocks noGrp="1"/>
          </p:cNvSpPr>
          <p:nvPr>
            <p:ph type="body" sz="quarter" idx="13" hasCustomPrompt="1"/>
          </p:nvPr>
        </p:nvSpPr>
        <p:spPr>
          <a:xfrm>
            <a:off x="1224407" y="1059230"/>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11" name="Text Placeholder 10"/>
          <p:cNvSpPr>
            <a:spLocks noGrp="1"/>
          </p:cNvSpPr>
          <p:nvPr>
            <p:ph type="body" sz="quarter" idx="22"/>
          </p:nvPr>
        </p:nvSpPr>
        <p:spPr>
          <a:xfrm>
            <a:off x="252348" y="1059304"/>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3" name="Text Placeholder 10"/>
          <p:cNvSpPr>
            <a:spLocks noGrp="1"/>
          </p:cNvSpPr>
          <p:nvPr>
            <p:ph type="body" sz="quarter" idx="23"/>
          </p:nvPr>
        </p:nvSpPr>
        <p:spPr>
          <a:xfrm>
            <a:off x="252348" y="2193356"/>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4" name="Text Placeholder 10"/>
          <p:cNvSpPr>
            <a:spLocks noGrp="1"/>
          </p:cNvSpPr>
          <p:nvPr>
            <p:ph type="body" sz="quarter" idx="24"/>
          </p:nvPr>
        </p:nvSpPr>
        <p:spPr>
          <a:xfrm>
            <a:off x="252348" y="3327705"/>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5" name="Text Placeholder 10"/>
          <p:cNvSpPr>
            <a:spLocks noGrp="1"/>
          </p:cNvSpPr>
          <p:nvPr>
            <p:ph type="body" sz="quarter" idx="25"/>
          </p:nvPr>
        </p:nvSpPr>
        <p:spPr>
          <a:xfrm>
            <a:off x="1224407" y="789503"/>
            <a:ext cx="2555506" cy="216030"/>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6" name="Text Placeholder 10"/>
          <p:cNvSpPr>
            <a:spLocks noGrp="1"/>
          </p:cNvSpPr>
          <p:nvPr>
            <p:ph type="body" sz="quarter" idx="26"/>
          </p:nvPr>
        </p:nvSpPr>
        <p:spPr>
          <a:xfrm>
            <a:off x="3816091" y="789504"/>
            <a:ext cx="2484697"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7" name="Text Placeholder 10"/>
          <p:cNvSpPr>
            <a:spLocks noGrp="1"/>
          </p:cNvSpPr>
          <p:nvPr>
            <p:ph type="body" sz="quarter" idx="27"/>
          </p:nvPr>
        </p:nvSpPr>
        <p:spPr>
          <a:xfrm>
            <a:off x="6372200" y="789504"/>
            <a:ext cx="2519453"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50" name="Text Placeholder 6"/>
          <p:cNvSpPr>
            <a:spLocks noGrp="1"/>
          </p:cNvSpPr>
          <p:nvPr>
            <p:ph type="body" sz="quarter" idx="28" hasCustomPrompt="1"/>
          </p:nvPr>
        </p:nvSpPr>
        <p:spPr>
          <a:xfrm>
            <a:off x="3816092" y="1059230"/>
            <a:ext cx="2483697"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1" name="Text Placeholder 6"/>
          <p:cNvSpPr>
            <a:spLocks noGrp="1"/>
          </p:cNvSpPr>
          <p:nvPr>
            <p:ph type="body" sz="quarter" idx="29" hasCustomPrompt="1"/>
          </p:nvPr>
        </p:nvSpPr>
        <p:spPr>
          <a:xfrm>
            <a:off x="6353783" y="1059230"/>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2" name="Text Placeholder 6"/>
          <p:cNvSpPr>
            <a:spLocks noGrp="1"/>
          </p:cNvSpPr>
          <p:nvPr>
            <p:ph type="body" sz="quarter" idx="30" hasCustomPrompt="1"/>
          </p:nvPr>
        </p:nvSpPr>
        <p:spPr>
          <a:xfrm>
            <a:off x="1224407" y="2193356"/>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3" name="Text Placeholder 6"/>
          <p:cNvSpPr>
            <a:spLocks noGrp="1"/>
          </p:cNvSpPr>
          <p:nvPr>
            <p:ph type="body" sz="quarter" idx="31" hasCustomPrompt="1"/>
          </p:nvPr>
        </p:nvSpPr>
        <p:spPr>
          <a:xfrm>
            <a:off x="3816092" y="2193356"/>
            <a:ext cx="2483699"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4" name="Text Placeholder 6"/>
          <p:cNvSpPr>
            <a:spLocks noGrp="1"/>
          </p:cNvSpPr>
          <p:nvPr>
            <p:ph type="body" sz="quarter" idx="32" hasCustomPrompt="1"/>
          </p:nvPr>
        </p:nvSpPr>
        <p:spPr>
          <a:xfrm>
            <a:off x="6353783" y="2193356"/>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5" name="Text Placeholder 6"/>
          <p:cNvSpPr>
            <a:spLocks noGrp="1"/>
          </p:cNvSpPr>
          <p:nvPr>
            <p:ph type="body" sz="quarter" idx="33" hasCustomPrompt="1"/>
          </p:nvPr>
        </p:nvSpPr>
        <p:spPr>
          <a:xfrm>
            <a:off x="1224407" y="3327482"/>
            <a:ext cx="2537691"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6" name="Text Placeholder 6"/>
          <p:cNvSpPr>
            <a:spLocks noGrp="1"/>
          </p:cNvSpPr>
          <p:nvPr>
            <p:ph type="body" sz="quarter" idx="34" hasCustomPrompt="1"/>
          </p:nvPr>
        </p:nvSpPr>
        <p:spPr>
          <a:xfrm>
            <a:off x="3816092" y="3327482"/>
            <a:ext cx="2483698"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7" name="Text Placeholder 6"/>
          <p:cNvSpPr>
            <a:spLocks noGrp="1"/>
          </p:cNvSpPr>
          <p:nvPr>
            <p:ph type="body" sz="quarter" idx="35" hasCustomPrompt="1"/>
          </p:nvPr>
        </p:nvSpPr>
        <p:spPr>
          <a:xfrm>
            <a:off x="6353783" y="3327482"/>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83092584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Body slide - 2 text columns ">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880" y="294871"/>
            <a:ext cx="8497093" cy="748378"/>
          </a:xfrm>
          <a:prstGeom prst="rect">
            <a:avLst/>
          </a:prstGeom>
        </p:spPr>
        <p:txBody>
          <a:bodyPr lIns="0" tIns="0" rIns="0" bIns="0" anchor="t"/>
          <a:lstStyle>
            <a:lvl1pPr marL="0" indent="0">
              <a:lnSpc>
                <a:spcPct val="100000"/>
              </a:lnSpc>
              <a:buNone/>
              <a:defRPr sz="36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13" name="Text Placeholder 3"/>
          <p:cNvSpPr>
            <a:spLocks noGrp="1"/>
          </p:cNvSpPr>
          <p:nvPr>
            <p:ph type="body" sz="half" idx="11" hasCustomPrompt="1"/>
          </p:nvPr>
        </p:nvSpPr>
        <p:spPr>
          <a:xfrm>
            <a:off x="287339" y="1347789"/>
            <a:ext cx="4150122"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1" name="Text Placeholder 3"/>
          <p:cNvSpPr>
            <a:spLocks noGrp="1"/>
          </p:cNvSpPr>
          <p:nvPr>
            <p:ph type="body" sz="half" idx="12" hasCustomPrompt="1"/>
          </p:nvPr>
        </p:nvSpPr>
        <p:spPr>
          <a:xfrm>
            <a:off x="4706541" y="1347789"/>
            <a:ext cx="4078684"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3" name="Päivämäärän paikkamerkki 2">
            <a:extLst>
              <a:ext uri="{FF2B5EF4-FFF2-40B4-BE49-F238E27FC236}">
                <a16:creationId xmlns:a16="http://schemas.microsoft.com/office/drawing/2014/main" id="{0ACE9B33-D0C7-4AF1-A02A-1559773A78AC}"/>
              </a:ext>
            </a:extLst>
          </p:cNvPr>
          <p:cNvSpPr>
            <a:spLocks noGrp="1"/>
          </p:cNvSpPr>
          <p:nvPr>
            <p:ph type="dt" sz="half" idx="13"/>
          </p:nvPr>
        </p:nvSpPr>
        <p:spPr/>
        <p:txBody>
          <a:bodyPr/>
          <a:lstStyle/>
          <a:p>
            <a:r>
              <a:rPr lang="fi-FI" dirty="0"/>
              <a:t>dd.mm.yyyy</a:t>
            </a:r>
            <a:endParaRPr lang="en-US" dirty="0"/>
          </a:p>
        </p:txBody>
      </p:sp>
      <p:sp>
        <p:nvSpPr>
          <p:cNvPr id="4" name="Alatunnisteen paikkamerkki 3">
            <a:extLst>
              <a:ext uri="{FF2B5EF4-FFF2-40B4-BE49-F238E27FC236}">
                <a16:creationId xmlns:a16="http://schemas.microsoft.com/office/drawing/2014/main" id="{8F7430A1-7AEB-4722-97B3-51719F60574B}"/>
              </a:ext>
            </a:extLst>
          </p:cNvPr>
          <p:cNvSpPr>
            <a:spLocks noGrp="1"/>
          </p:cNvSpPr>
          <p:nvPr>
            <p:ph type="ftr" sz="quarter" idx="14"/>
          </p:nvPr>
        </p:nvSpPr>
        <p:spPr/>
        <p:txBody>
          <a:bodyPr/>
          <a:lstStyle/>
          <a:p>
            <a:r>
              <a:rPr lang="fi-FI" dirty="0"/>
              <a:t>Your text here</a:t>
            </a:r>
          </a:p>
        </p:txBody>
      </p:sp>
      <p:sp>
        <p:nvSpPr>
          <p:cNvPr id="5" name="Dian numeron paikkamerkki 4">
            <a:extLst>
              <a:ext uri="{FF2B5EF4-FFF2-40B4-BE49-F238E27FC236}">
                <a16:creationId xmlns:a16="http://schemas.microsoft.com/office/drawing/2014/main" id="{75B56DD1-CE07-4F8B-9EEB-5CFC86C5CCF2}"/>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guide id="8" pos="181" userDrawn="1">
          <p15:clr>
            <a:srgbClr val="FBAE40"/>
          </p15:clr>
        </p15:guide>
        <p15:guide id="9" orient="horz" pos="849"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DFDAFA6-A79C-4473-9965-FC0B670A98FB}" type="datetime1">
              <a:rPr lang="fi-FI" smtClean="0"/>
              <a:t>6.11.2023</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80763377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pic>
        <p:nvPicPr>
          <p:cNvPr id="2" name="Picture 19" descr="logo_title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1" y="411956"/>
            <a:ext cx="44799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0226" y="1226345"/>
            <a:ext cx="4803775" cy="391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525116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Title and Content Green">
    <p:spTree>
      <p:nvGrpSpPr>
        <p:cNvPr id="1" name=""/>
        <p:cNvGrpSpPr/>
        <p:nvPr/>
      </p:nvGrpSpPr>
      <p:grpSpPr>
        <a:xfrm>
          <a:off x="0" y="0"/>
          <a:ext cx="0" cy="0"/>
          <a:chOff x="0" y="0"/>
          <a:chExt cx="0" cy="0"/>
        </a:xfrm>
      </p:grpSpPr>
      <p:cxnSp>
        <p:nvCxnSpPr>
          <p:cNvPr id="4" name="Straight Connector 3"/>
          <p:cNvCxnSpPr/>
          <p:nvPr userDrawn="1"/>
        </p:nvCxnSpPr>
        <p:spPr>
          <a:xfrm>
            <a:off x="228600" y="584597"/>
            <a:ext cx="4302125" cy="0"/>
          </a:xfrm>
          <a:prstGeom prst="line">
            <a:avLst/>
          </a:prstGeom>
          <a:ln w="28575" cmpd="sng">
            <a:solidFill>
              <a:srgbClr val="00CA9B"/>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228600" y="4722020"/>
            <a:ext cx="311150" cy="3119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012" dirty="0"/>
          </a:p>
        </p:txBody>
      </p:sp>
      <p:sp>
        <p:nvSpPr>
          <p:cNvPr id="6" name="TextBox 5"/>
          <p:cNvSpPr txBox="1"/>
          <p:nvPr userDrawn="1"/>
        </p:nvSpPr>
        <p:spPr>
          <a:xfrm>
            <a:off x="212725" y="4767264"/>
            <a:ext cx="338138" cy="184547"/>
          </a:xfrm>
          <a:prstGeom prst="rect">
            <a:avLst/>
          </a:prstGeom>
        </p:spPr>
        <p:txBody>
          <a:bodyPr anchor="ctr"/>
          <a:lstStyle>
            <a:defPPr>
              <a:defRPr lang="id-ID"/>
            </a:defPPr>
            <a:lvl1pPr algn="ctr">
              <a:defRPr sz="1000" b="1">
                <a:solidFill>
                  <a:schemeClr val="bg1"/>
                </a:solidFill>
              </a:defRPr>
            </a:lvl1pPr>
          </a:lstStyle>
          <a:p>
            <a:pPr>
              <a:defRPr/>
            </a:pPr>
            <a:fld id="{6589890B-BD98-4D8C-B8F1-4375E47E2841}" type="slidenum">
              <a:rPr lang="en-US" sz="750" smtClean="0"/>
              <a:pPr>
                <a:defRPr/>
              </a:pPr>
              <a:t>‹#›</a:t>
            </a:fld>
            <a:endParaRPr lang="en-US" sz="750" dirty="0"/>
          </a:p>
        </p:txBody>
      </p:sp>
      <p:pic>
        <p:nvPicPr>
          <p:cNvPr id="7" name="Picture 9" descr="mw_logo_landscap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20013" y="301230"/>
            <a:ext cx="1249362" cy="145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 1"/>
          <p:cNvSpPr>
            <a:spLocks noGrp="1"/>
          </p:cNvSpPr>
          <p:nvPr>
            <p:ph type="title"/>
          </p:nvPr>
        </p:nvSpPr>
        <p:spPr>
          <a:xfrm>
            <a:off x="228195" y="221900"/>
            <a:ext cx="7886700" cy="322723"/>
          </a:xfrm>
          <a:ln>
            <a:noFill/>
          </a:ln>
        </p:spPr>
        <p:txBody>
          <a:bodyPr>
            <a:normAutofit/>
          </a:bodyPr>
          <a:lstStyle>
            <a:lvl1pPr algn="l">
              <a:defRPr sz="1800"/>
            </a:lvl1pPr>
          </a:lstStyle>
          <a:p>
            <a:r>
              <a:rPr lang="en-US"/>
              <a:t>Click to edit Master title style</a:t>
            </a:r>
            <a:endParaRPr lang="en-US" dirty="0"/>
          </a:p>
        </p:txBody>
      </p:sp>
      <p:sp>
        <p:nvSpPr>
          <p:cNvPr id="10" name="Content Placeholder 11"/>
          <p:cNvSpPr>
            <a:spLocks noGrp="1"/>
          </p:cNvSpPr>
          <p:nvPr>
            <p:ph sz="quarter" idx="13"/>
          </p:nvPr>
        </p:nvSpPr>
        <p:spPr>
          <a:xfrm>
            <a:off x="213088" y="988423"/>
            <a:ext cx="7315200" cy="3175397"/>
          </a:xfrm>
        </p:spPr>
        <p:txBody>
          <a:bodyPr>
            <a:normAutofit/>
          </a:bodyPr>
          <a:lstStyle>
            <a:lvl1pPr>
              <a:buClr>
                <a:srgbClr val="00CA9B"/>
              </a:buClr>
              <a:defRPr sz="18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816359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D22E3-FE4B-4803-93CF-DB5DAA67C633}"/>
              </a:ext>
            </a:extLst>
          </p:cNvPr>
          <p:cNvSpPr>
            <a:spLocks noGrp="1"/>
          </p:cNvSpPr>
          <p:nvPr>
            <p:ph type="ctrTitle"/>
          </p:nvPr>
        </p:nvSpPr>
        <p:spPr>
          <a:xfrm>
            <a:off x="1143000" y="1240827"/>
            <a:ext cx="6858000" cy="1391645"/>
          </a:xfrm>
        </p:spPr>
        <p:txBody>
          <a:bodyPr anchor="b"/>
          <a:lstStyle>
            <a:lvl1pPr algn="ctr">
              <a:defRPr sz="4499"/>
            </a:lvl1pPr>
          </a:lstStyle>
          <a:p>
            <a:r>
              <a:rPr lang="en-US"/>
              <a:t>Click to edit Master title style</a:t>
            </a:r>
            <a:endParaRPr lang="LID4096"/>
          </a:p>
        </p:txBody>
      </p:sp>
      <p:sp>
        <p:nvSpPr>
          <p:cNvPr id="3" name="Subtitle 2">
            <a:extLst>
              <a:ext uri="{FF2B5EF4-FFF2-40B4-BE49-F238E27FC236}">
                <a16:creationId xmlns:a16="http://schemas.microsoft.com/office/drawing/2014/main" id="{604013CF-DE0A-4B98-BCD8-2ABC9A828FD0}"/>
              </a:ext>
            </a:extLst>
          </p:cNvPr>
          <p:cNvSpPr>
            <a:spLocks noGrp="1"/>
          </p:cNvSpPr>
          <p:nvPr>
            <p:ph type="subTitle" idx="1"/>
          </p:nvPr>
        </p:nvSpPr>
        <p:spPr>
          <a:xfrm>
            <a:off x="1143000" y="2701528"/>
            <a:ext cx="6858000" cy="1241822"/>
          </a:xfrm>
        </p:spPr>
        <p:txBody>
          <a:bodyPr/>
          <a:lstStyle>
            <a:lvl1pPr marL="0" indent="0" algn="ctr">
              <a:buNone/>
              <a:defRPr sz="1800"/>
            </a:lvl1pPr>
            <a:lvl2pPr marL="342809" indent="0" algn="ctr">
              <a:buNone/>
              <a:defRPr sz="1500"/>
            </a:lvl2pPr>
            <a:lvl3pPr marL="685617" indent="0" algn="ctr">
              <a:buNone/>
              <a:defRPr sz="1350"/>
            </a:lvl3pPr>
            <a:lvl4pPr marL="1028426" indent="0" algn="ctr">
              <a:buNone/>
              <a:defRPr sz="1200"/>
            </a:lvl4pPr>
            <a:lvl5pPr marL="1371234" indent="0" algn="ctr">
              <a:buNone/>
              <a:defRPr sz="1200"/>
            </a:lvl5pPr>
            <a:lvl6pPr marL="1714043" indent="0" algn="ctr">
              <a:buNone/>
              <a:defRPr sz="1200"/>
            </a:lvl6pPr>
            <a:lvl7pPr marL="2056851" indent="0" algn="ctr">
              <a:buNone/>
              <a:defRPr sz="1200"/>
            </a:lvl7pPr>
            <a:lvl8pPr marL="2399660" indent="0" algn="ctr">
              <a:buNone/>
              <a:defRPr sz="1200"/>
            </a:lvl8pPr>
            <a:lvl9pPr marL="2742468" indent="0" algn="ctr">
              <a:buNone/>
              <a:defRPr sz="1200"/>
            </a:lvl9pPr>
          </a:lstStyle>
          <a:p>
            <a:r>
              <a:rPr lang="en-US"/>
              <a:t>Click to edit Master subtitle style</a:t>
            </a:r>
            <a:endParaRPr lang="LID4096"/>
          </a:p>
        </p:txBody>
      </p:sp>
      <p:sp>
        <p:nvSpPr>
          <p:cNvPr id="4" name="Date Placeholder 3">
            <a:extLst>
              <a:ext uri="{FF2B5EF4-FFF2-40B4-BE49-F238E27FC236}">
                <a16:creationId xmlns:a16="http://schemas.microsoft.com/office/drawing/2014/main" id="{98B03B7F-F46D-46BF-8DDD-25D977B4DF02}"/>
              </a:ext>
            </a:extLst>
          </p:cNvPr>
          <p:cNvSpPr>
            <a:spLocks noGrp="1"/>
          </p:cNvSpPr>
          <p:nvPr>
            <p:ph type="dt" sz="half" idx="10"/>
          </p:nvPr>
        </p:nvSpPr>
        <p:spPr/>
        <p:txBody>
          <a:bodyPr/>
          <a:lstStyle/>
          <a:p>
            <a:fld id="{A836C3FD-1432-4E81-8E55-96D3F9D8DDA2}" type="datetimeFigureOut">
              <a:rPr lang="LID4096" smtClean="0"/>
              <a:t>11/06/2023</a:t>
            </a:fld>
            <a:endParaRPr lang="LID4096"/>
          </a:p>
        </p:txBody>
      </p:sp>
      <p:sp>
        <p:nvSpPr>
          <p:cNvPr id="5" name="Footer Placeholder 4">
            <a:extLst>
              <a:ext uri="{FF2B5EF4-FFF2-40B4-BE49-F238E27FC236}">
                <a16:creationId xmlns:a16="http://schemas.microsoft.com/office/drawing/2014/main" id="{D08346FD-0A35-4D8D-AA77-26274F9B3E79}"/>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0FA3AA79-228E-4E98-A1D2-5F0E2C062B02}"/>
              </a:ext>
            </a:extLst>
          </p:cNvPr>
          <p:cNvSpPr>
            <a:spLocks noGrp="1"/>
          </p:cNvSpPr>
          <p:nvPr>
            <p:ph type="sldNum" sz="quarter" idx="12"/>
          </p:nvPr>
        </p:nvSpPr>
        <p:spPr/>
        <p:txBody>
          <a:bodyPr/>
          <a:lstStyle/>
          <a:p>
            <a:fld id="{59F0011D-B26C-474C-80F4-1667695A632B}" type="slidenum">
              <a:rPr lang="LID4096" smtClean="0"/>
              <a:t>‹#›</a:t>
            </a:fld>
            <a:endParaRPr lang="LID4096"/>
          </a:p>
        </p:txBody>
      </p:sp>
    </p:spTree>
    <p:extLst>
      <p:ext uri="{BB962C8B-B14F-4D97-AF65-F5344CB8AC3E}">
        <p14:creationId xmlns:p14="http://schemas.microsoft.com/office/powerpoint/2010/main" val="7282297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 Header Slide - Red">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431800" y="1638135"/>
            <a:ext cx="7948556" cy="663264"/>
          </a:xfrm>
          <a:prstGeom prst="rect">
            <a:avLst/>
          </a:prstGeom>
        </p:spPr>
        <p:txBody>
          <a:bodyPr lIns="0" rIns="0" anchor="b"/>
          <a:lstStyle>
            <a:lvl1pPr marL="0" indent="0">
              <a:lnSpc>
                <a:spcPct val="100000"/>
              </a:lnSpc>
              <a:buNone/>
              <a:defRPr sz="44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Headline</a:t>
            </a:r>
          </a:p>
        </p:txBody>
      </p:sp>
      <p:sp>
        <p:nvSpPr>
          <p:cNvPr id="8" name="Text Placeholder 3"/>
          <p:cNvSpPr>
            <a:spLocks noGrp="1"/>
          </p:cNvSpPr>
          <p:nvPr>
            <p:ph type="body" sz="half" idx="2" hasCustomPrompt="1"/>
          </p:nvPr>
        </p:nvSpPr>
        <p:spPr>
          <a:xfrm>
            <a:off x="431800" y="2571750"/>
            <a:ext cx="7998597" cy="501388"/>
          </a:xfrm>
          <a:prstGeom prst="rect">
            <a:avLst/>
          </a:prstGeom>
        </p:spPr>
        <p:txBody>
          <a:bodyPr lIns="0" rIns="0"/>
          <a:lstStyle>
            <a:lvl1pPr marL="0" indent="0">
              <a:lnSpc>
                <a:spcPct val="100000"/>
              </a:lnSpc>
              <a:buNone/>
              <a:defRPr sz="24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o Image - Sub</a:t>
            </a:r>
          </a:p>
        </p:txBody>
      </p:sp>
      <p:sp>
        <p:nvSpPr>
          <p:cNvPr id="9" name="Text Placeholder 3"/>
          <p:cNvSpPr>
            <a:spLocks noGrp="1"/>
          </p:cNvSpPr>
          <p:nvPr>
            <p:ph type="body" sz="half" idx="12" hasCustomPrompt="1"/>
          </p:nvPr>
        </p:nvSpPr>
        <p:spPr>
          <a:xfrm>
            <a:off x="5966372" y="4215388"/>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1" name="Text Placeholder 3"/>
          <p:cNvSpPr>
            <a:spLocks noGrp="1"/>
          </p:cNvSpPr>
          <p:nvPr>
            <p:ph type="body" sz="half" idx="13" hasCustomPrompt="1"/>
          </p:nvPr>
        </p:nvSpPr>
        <p:spPr>
          <a:xfrm>
            <a:off x="5966372" y="4509807"/>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4" name="Kuva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073823447"/>
      </p:ext>
    </p:extLst>
  </p:cSld>
  <p:clrMapOvr>
    <a:masterClrMapping/>
  </p:clrMapOvr>
  <p:extLst>
    <p:ext uri="{DCECCB84-F9BA-43D5-87BE-67443E8EF086}">
      <p15:sldGuideLst xmlns:p15="http://schemas.microsoft.com/office/powerpoint/2012/main">
        <p15:guide id="1" orient="horz" pos="295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81298"/>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sp>
        <p:nvSpPr>
          <p:cNvPr id="14" name="Picture Placeholder 2"/>
          <p:cNvSpPr>
            <a:spLocks noGrp="1"/>
          </p:cNvSpPr>
          <p:nvPr>
            <p:ph type="pic" idx="13" hasCustomPrompt="1"/>
          </p:nvPr>
        </p:nvSpPr>
        <p:spPr>
          <a:xfrm>
            <a:off x="4564419" y="0"/>
            <a:ext cx="4579582"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i="0"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p>
          <a:p>
            <a:r>
              <a:rPr lang="fi-FI" dirty="0"/>
              <a:t>Fit the image to frame </a:t>
            </a:r>
            <a:br>
              <a:rPr lang="fi-FI" dirty="0"/>
            </a:br>
            <a:r>
              <a:rPr lang="fi-FI" dirty="0"/>
              <a:t>by choosing: </a:t>
            </a:r>
            <a:br>
              <a:rPr lang="fi-FI" dirty="0"/>
            </a:br>
            <a:r>
              <a:rPr lang="fi-FI" dirty="0"/>
              <a:t>crop&gt;fit / rajaa&gt;sovita</a:t>
            </a:r>
            <a:endParaRPr lang="en-US" dirty="0"/>
          </a:p>
        </p:txBody>
      </p:sp>
      <p:pic>
        <p:nvPicPr>
          <p:cNvPr id="17" name="Kuva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1224092726"/>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241467"/>
            <a:ext cx="8492897" cy="304946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 name="Päivämäärän paikkamerkki 1">
            <a:extLst>
              <a:ext uri="{FF2B5EF4-FFF2-40B4-BE49-F238E27FC236}">
                <a16:creationId xmlns:a16="http://schemas.microsoft.com/office/drawing/2014/main" id="{4C366827-B13F-41D2-9BB1-86D6952FE74F}"/>
              </a:ext>
            </a:extLst>
          </p:cNvPr>
          <p:cNvSpPr>
            <a:spLocks noGrp="1"/>
          </p:cNvSpPr>
          <p:nvPr>
            <p:ph type="dt" sz="half" idx="12"/>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B081CECA-2419-49BC-A865-E26F838DFBF9}"/>
              </a:ext>
            </a:extLst>
          </p:cNvPr>
          <p:cNvSpPr>
            <a:spLocks noGrp="1"/>
          </p:cNvSpPr>
          <p:nvPr>
            <p:ph type="ftr" sz="quarter" idx="13"/>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75CA6814-F1E3-4289-929D-E2AEACCAF6C2}"/>
              </a:ext>
            </a:extLst>
          </p:cNvPr>
          <p:cNvSpPr>
            <a:spLocks noGrp="1"/>
          </p:cNvSpPr>
          <p:nvPr>
            <p:ph type="sldNum" sz="quarter" idx="14"/>
          </p:nvPr>
        </p:nvSpPr>
        <p:spPr/>
        <p:txBody>
          <a:bodyPr/>
          <a:lstStyle/>
          <a:p>
            <a:fld id="{28F7F04C-F568-F649-A2AE-EA61C66B69B4}" type="slidenum">
              <a:rPr lang="en-US" smtClean="0"/>
              <a:pPr/>
              <a:t>‹#›</a:t>
            </a:fld>
            <a:endParaRPr lang="en-US" dirty="0"/>
          </a:p>
        </p:txBody>
      </p:sp>
      <p:pic>
        <p:nvPicPr>
          <p:cNvPr id="8" name="Kuva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935461488"/>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 Body slide with Subheadlin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1"/>
            <a:ext cx="8492897" cy="733140"/>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635678"/>
            <a:ext cx="8492897" cy="264832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000" b="1" baseline="0">
                <a:solidFill>
                  <a:schemeClr val="tx1"/>
                </a:solidFill>
              </a:defRPr>
            </a:lvl1pPr>
            <a:lvl2pPr marL="628650" indent="-271463">
              <a:buFont typeface="Arial" panose="020B0604020202020204" pitchFamily="34" charset="0"/>
              <a:buChar char="•"/>
              <a:defRPr sz="2000"/>
            </a:lvl2pPr>
            <a:lvl3pPr marL="804863" indent="-176213">
              <a:buFont typeface="Arial" panose="020B0604020202020204" pitchFamily="34" charset="0"/>
              <a:buChar char="•"/>
              <a:defRPr sz="14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7" name="Text Placeholder 3"/>
          <p:cNvSpPr>
            <a:spLocks noGrp="1"/>
          </p:cNvSpPr>
          <p:nvPr>
            <p:ph type="body" sz="half" idx="12" hasCustomPrompt="1"/>
          </p:nvPr>
        </p:nvSpPr>
        <p:spPr>
          <a:xfrm>
            <a:off x="292328" y="1028011"/>
            <a:ext cx="8492897" cy="60766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sz="2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a:p>
            <a:pPr lvl="0"/>
            <a:endParaRPr lang="en-US" dirty="0"/>
          </a:p>
        </p:txBody>
      </p:sp>
      <p:sp>
        <p:nvSpPr>
          <p:cNvPr id="2" name="Päivämäärän paikkamerkki 1">
            <a:extLst>
              <a:ext uri="{FF2B5EF4-FFF2-40B4-BE49-F238E27FC236}">
                <a16:creationId xmlns:a16="http://schemas.microsoft.com/office/drawing/2014/main" id="{15F98E76-565B-438E-BE24-AF36CE784A61}"/>
              </a:ext>
            </a:extLst>
          </p:cNvPr>
          <p:cNvSpPr>
            <a:spLocks noGrp="1"/>
          </p:cNvSpPr>
          <p:nvPr>
            <p:ph type="dt" sz="half" idx="13"/>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0477500B-A8BC-45B6-BA85-A082FC8528F3}"/>
              </a:ext>
            </a:extLst>
          </p:cNvPr>
          <p:cNvSpPr>
            <a:spLocks noGrp="1"/>
          </p:cNvSpPr>
          <p:nvPr>
            <p:ph type="ftr" sz="quarter" idx="14"/>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4A736A4D-A5BC-4E4F-9FD0-C4BC6EEC989C}"/>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2118715812"/>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 Body slide - 2 text columns ">
    <p:spTree>
      <p:nvGrpSpPr>
        <p:cNvPr id="1" name=""/>
        <p:cNvGrpSpPr/>
        <p:nvPr/>
      </p:nvGrpSpPr>
      <p:grpSpPr>
        <a:xfrm>
          <a:off x="0" y="0"/>
          <a:ext cx="0" cy="0"/>
          <a:chOff x="0" y="0"/>
          <a:chExt cx="0" cy="0"/>
        </a:xfrm>
      </p:grpSpPr>
      <p:sp>
        <p:nvSpPr>
          <p:cNvPr id="13" name="Text Placeholder 3"/>
          <p:cNvSpPr>
            <a:spLocks noGrp="1"/>
          </p:cNvSpPr>
          <p:nvPr>
            <p:ph type="body" sz="half" idx="11" hasCustomPrompt="1"/>
          </p:nvPr>
        </p:nvSpPr>
        <p:spPr>
          <a:xfrm>
            <a:off x="287339" y="1347789"/>
            <a:ext cx="4150122"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1" name="Text Placeholder 3"/>
          <p:cNvSpPr>
            <a:spLocks noGrp="1"/>
          </p:cNvSpPr>
          <p:nvPr>
            <p:ph type="body" sz="half" idx="12" hasCustomPrompt="1"/>
          </p:nvPr>
        </p:nvSpPr>
        <p:spPr>
          <a:xfrm>
            <a:off x="4706541" y="1347789"/>
            <a:ext cx="4078684"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3" name="Päivämäärän paikkamerkki 2">
            <a:extLst>
              <a:ext uri="{FF2B5EF4-FFF2-40B4-BE49-F238E27FC236}">
                <a16:creationId xmlns:a16="http://schemas.microsoft.com/office/drawing/2014/main" id="{0ACE9B33-D0C7-4AF1-A02A-1559773A78AC}"/>
              </a:ext>
            </a:extLst>
          </p:cNvPr>
          <p:cNvSpPr>
            <a:spLocks noGrp="1"/>
          </p:cNvSpPr>
          <p:nvPr>
            <p:ph type="dt" sz="half" idx="13"/>
          </p:nvPr>
        </p:nvSpPr>
        <p:spPr/>
        <p:txBody>
          <a:bodyPr/>
          <a:lstStyle/>
          <a:p>
            <a:r>
              <a:rPr lang="fi-FI" dirty="0"/>
              <a:t>dd.mm.yyyy</a:t>
            </a:r>
            <a:endParaRPr lang="en-US" dirty="0"/>
          </a:p>
        </p:txBody>
      </p:sp>
      <p:sp>
        <p:nvSpPr>
          <p:cNvPr id="4" name="Alatunnisteen paikkamerkki 3">
            <a:extLst>
              <a:ext uri="{FF2B5EF4-FFF2-40B4-BE49-F238E27FC236}">
                <a16:creationId xmlns:a16="http://schemas.microsoft.com/office/drawing/2014/main" id="{8F7430A1-7AEB-4722-97B3-51719F60574B}"/>
              </a:ext>
            </a:extLst>
          </p:cNvPr>
          <p:cNvSpPr>
            <a:spLocks noGrp="1"/>
          </p:cNvSpPr>
          <p:nvPr>
            <p:ph type="ftr" sz="quarter" idx="14"/>
          </p:nvPr>
        </p:nvSpPr>
        <p:spPr/>
        <p:txBody>
          <a:bodyPr/>
          <a:lstStyle/>
          <a:p>
            <a:r>
              <a:rPr lang="fi-FI" dirty="0"/>
              <a:t>Your text here</a:t>
            </a:r>
          </a:p>
        </p:txBody>
      </p:sp>
      <p:sp>
        <p:nvSpPr>
          <p:cNvPr id="5" name="Dian numeron paikkamerkki 4">
            <a:extLst>
              <a:ext uri="{FF2B5EF4-FFF2-40B4-BE49-F238E27FC236}">
                <a16:creationId xmlns:a16="http://schemas.microsoft.com/office/drawing/2014/main" id="{75B56DD1-CE07-4F8B-9EEB-5CFC86C5CCF2}"/>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9" name="Text Placeholder 3">
            <a:extLst>
              <a:ext uri="{FF2B5EF4-FFF2-40B4-BE49-F238E27FC236}">
                <a16:creationId xmlns:a16="http://schemas.microsoft.com/office/drawing/2014/main" id="{0205D507-836E-42FE-B4E3-5A81DA77FB72}"/>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335181395"/>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pos="181">
          <p15:clr>
            <a:srgbClr val="FBAE40"/>
          </p15:clr>
        </p15:guide>
        <p15:guide id="9" orient="horz" pos="84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 Body slide - Black text - Image">
    <p:spTree>
      <p:nvGrpSpPr>
        <p:cNvPr id="1" name=""/>
        <p:cNvGrpSpPr/>
        <p:nvPr/>
      </p:nvGrpSpPr>
      <p:grpSpPr>
        <a:xfrm>
          <a:off x="0" y="0"/>
          <a:ext cx="0" cy="0"/>
          <a:chOff x="0" y="0"/>
          <a:chExt cx="0" cy="0"/>
        </a:xfrm>
      </p:grpSpPr>
      <p:sp>
        <p:nvSpPr>
          <p:cNvPr id="8" name="Picture Placeholder 2"/>
          <p:cNvSpPr>
            <a:spLocks noGrp="1"/>
          </p:cNvSpPr>
          <p:nvPr>
            <p:ph type="pic" idx="11" hasCustomPrompt="1"/>
          </p:nvPr>
        </p:nvSpPr>
        <p:spPr>
          <a:xfrm>
            <a:off x="4710793" y="0"/>
            <a:ext cx="4433207" cy="5143500"/>
          </a:xfrm>
          <a:prstGeom prst="rect">
            <a:avLst/>
          </a:prstGeom>
        </p:spPr>
        <p:txBody>
          <a:bodyPr/>
          <a:lstStyle>
            <a:lvl1pPr marL="0" indent="0">
              <a:buNone/>
              <a:defRPr sz="2400" b="1" baseline="0">
                <a:solidFill>
                  <a:schemeClr val="bg1">
                    <a:lumMod val="85000"/>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fi-FI" dirty="0"/>
              <a:t>Click icon to add image</a:t>
            </a:r>
            <a:br>
              <a:rPr lang="fi-FI" dirty="0"/>
            </a:br>
            <a:br>
              <a:rPr lang="fi-FI"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Text Placeholder 3"/>
          <p:cNvSpPr>
            <a:spLocks noGrp="1"/>
          </p:cNvSpPr>
          <p:nvPr>
            <p:ph type="body" sz="half" idx="2" hasCustomPrompt="1"/>
          </p:nvPr>
        </p:nvSpPr>
        <p:spPr>
          <a:xfrm>
            <a:off x="287338" y="1358537"/>
            <a:ext cx="4052221" cy="2925463"/>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Päivämäärän paikkamerkki 5"/>
          <p:cNvSpPr>
            <a:spLocks noGrp="1"/>
          </p:cNvSpPr>
          <p:nvPr>
            <p:ph type="dt" sz="half" idx="12"/>
          </p:nvPr>
        </p:nvSpPr>
        <p:spPr/>
        <p:txBody>
          <a:bodyPr/>
          <a:lstStyle/>
          <a:p>
            <a:r>
              <a:rPr lang="fi-FI" dirty="0"/>
              <a:t>dd.mm.yyyy</a:t>
            </a:r>
            <a:endParaRPr lang="en-US" dirty="0"/>
          </a:p>
        </p:txBody>
      </p:sp>
      <p:sp>
        <p:nvSpPr>
          <p:cNvPr id="9" name="Alatunnisteen paikkamerkki 8"/>
          <p:cNvSpPr>
            <a:spLocks noGrp="1"/>
          </p:cNvSpPr>
          <p:nvPr>
            <p:ph type="ftr" sz="quarter" idx="13"/>
          </p:nvPr>
        </p:nvSpPr>
        <p:spPr/>
        <p:txBody>
          <a:bodyPr/>
          <a:lstStyle/>
          <a:p>
            <a:r>
              <a:rPr lang="fi-FI" dirty="0"/>
              <a:t>Your text here</a:t>
            </a:r>
          </a:p>
        </p:txBody>
      </p:sp>
      <p:sp>
        <p:nvSpPr>
          <p:cNvPr id="10" name="Dian numeron paikkamerkki 9"/>
          <p:cNvSpPr>
            <a:spLocks noGrp="1"/>
          </p:cNvSpPr>
          <p:nvPr>
            <p:ph type="sldNum" sz="quarter" idx="14"/>
          </p:nvPr>
        </p:nvSpPr>
        <p:spPr/>
        <p:txBody>
          <a:body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2" name="Text Placeholder 3">
            <a:extLst>
              <a:ext uri="{FF2B5EF4-FFF2-40B4-BE49-F238E27FC236}">
                <a16:creationId xmlns:a16="http://schemas.microsoft.com/office/drawing/2014/main" id="{9C4A373C-D8CA-4B4B-98A3-F9C815226BDA}"/>
              </a:ext>
            </a:extLst>
          </p:cNvPr>
          <p:cNvSpPr>
            <a:spLocks noGrp="1"/>
          </p:cNvSpPr>
          <p:nvPr>
            <p:ph type="body" sz="half" idx="10" hasCustomPrompt="1"/>
          </p:nvPr>
        </p:nvSpPr>
        <p:spPr>
          <a:xfrm>
            <a:off x="292329" y="294870"/>
            <a:ext cx="4047230"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389859065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Body slide - Black text - Image">
    <p:spTree>
      <p:nvGrpSpPr>
        <p:cNvPr id="1" name=""/>
        <p:cNvGrpSpPr/>
        <p:nvPr/>
      </p:nvGrpSpPr>
      <p:grpSpPr>
        <a:xfrm>
          <a:off x="0" y="0"/>
          <a:ext cx="0" cy="0"/>
          <a:chOff x="0" y="0"/>
          <a:chExt cx="0" cy="0"/>
        </a:xfrm>
      </p:grpSpPr>
      <p:sp>
        <p:nvSpPr>
          <p:cNvPr id="8" name="Picture Placeholder 2"/>
          <p:cNvSpPr>
            <a:spLocks noGrp="1"/>
          </p:cNvSpPr>
          <p:nvPr>
            <p:ph type="pic" idx="11" hasCustomPrompt="1"/>
          </p:nvPr>
        </p:nvSpPr>
        <p:spPr>
          <a:xfrm>
            <a:off x="4710793" y="0"/>
            <a:ext cx="4433207" cy="5143500"/>
          </a:xfrm>
          <a:prstGeom prst="rect">
            <a:avLst/>
          </a:prstGeom>
        </p:spPr>
        <p:txBody>
          <a:bodyPr/>
          <a:lstStyle>
            <a:lvl1pPr marL="0" indent="0">
              <a:buNone/>
              <a:defRPr sz="2400" b="1" baseline="0">
                <a:solidFill>
                  <a:schemeClr val="bg1">
                    <a:lumMod val="85000"/>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fi-FI" dirty="0"/>
              <a:t>Click icon to add image</a:t>
            </a:r>
            <a:br>
              <a:rPr lang="fi-FI" dirty="0"/>
            </a:br>
            <a:br>
              <a:rPr lang="fi-FI"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Text Placeholder 3"/>
          <p:cNvSpPr>
            <a:spLocks noGrp="1"/>
          </p:cNvSpPr>
          <p:nvPr>
            <p:ph type="body" sz="half" idx="2" hasCustomPrompt="1"/>
          </p:nvPr>
        </p:nvSpPr>
        <p:spPr>
          <a:xfrm>
            <a:off x="287338" y="1358537"/>
            <a:ext cx="4052221" cy="2925463"/>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11" name="Text Placeholder 3"/>
          <p:cNvSpPr>
            <a:spLocks noGrp="1"/>
          </p:cNvSpPr>
          <p:nvPr>
            <p:ph type="body" sz="half" idx="10" hasCustomPrompt="1"/>
          </p:nvPr>
        </p:nvSpPr>
        <p:spPr>
          <a:xfrm>
            <a:off x="287338" y="34800"/>
            <a:ext cx="4052221" cy="1041475"/>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6" name="Päivämäärän paikkamerkki 5"/>
          <p:cNvSpPr>
            <a:spLocks noGrp="1"/>
          </p:cNvSpPr>
          <p:nvPr>
            <p:ph type="dt" sz="half" idx="12"/>
          </p:nvPr>
        </p:nvSpPr>
        <p:spPr/>
        <p:txBody>
          <a:bodyPr/>
          <a:lstStyle/>
          <a:p>
            <a:r>
              <a:rPr lang="fi-FI" dirty="0"/>
              <a:t>dd.mm.yyyy</a:t>
            </a:r>
            <a:endParaRPr lang="en-US" dirty="0"/>
          </a:p>
        </p:txBody>
      </p:sp>
      <p:sp>
        <p:nvSpPr>
          <p:cNvPr id="9" name="Alatunnisteen paikkamerkki 8"/>
          <p:cNvSpPr>
            <a:spLocks noGrp="1"/>
          </p:cNvSpPr>
          <p:nvPr>
            <p:ph type="ftr" sz="quarter" idx="13"/>
          </p:nvPr>
        </p:nvSpPr>
        <p:spPr/>
        <p:txBody>
          <a:bodyPr/>
          <a:lstStyle/>
          <a:p>
            <a:r>
              <a:rPr lang="fi-FI" dirty="0"/>
              <a:t>Your text here</a:t>
            </a:r>
          </a:p>
        </p:txBody>
      </p:sp>
      <p:sp>
        <p:nvSpPr>
          <p:cNvPr id="10" name="Dian numeron paikkamerkki 9"/>
          <p:cNvSpPr>
            <a:spLocks noGrp="1"/>
          </p:cNvSpPr>
          <p:nvPr>
            <p:ph type="sldNum" sz="quarter" idx="14"/>
          </p:nvPr>
        </p:nvSpPr>
        <p:spPr/>
        <p:txBody>
          <a:body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4106515586"/>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6" name="Picture Placeholder 2"/>
          <p:cNvSpPr>
            <a:spLocks noGrp="1"/>
          </p:cNvSpPr>
          <p:nvPr>
            <p:ph type="pic" idx="11" hasCustomPrompt="1"/>
          </p:nvPr>
        </p:nvSpPr>
        <p:spPr>
          <a:xfrm>
            <a:off x="4710793" y="0"/>
            <a:ext cx="4433207"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br>
              <a:rPr lang="en-US" dirty="0"/>
            </a:br>
            <a:br>
              <a:rPr lang="en-US"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sp>
        <p:nvSpPr>
          <p:cNvPr id="9"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pic>
        <p:nvPicPr>
          <p:cNvPr id="7" name="Kuva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378625889"/>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8. Divider - Red">
    <p:spTree>
      <p:nvGrpSpPr>
        <p:cNvPr id="1" name=""/>
        <p:cNvGrpSpPr/>
        <p:nvPr/>
      </p:nvGrpSpPr>
      <p:grpSpPr>
        <a:xfrm>
          <a:off x="0" y="0"/>
          <a:ext cx="0" cy="0"/>
          <a:chOff x="0" y="0"/>
          <a:chExt cx="0" cy="0"/>
        </a:xfrm>
      </p:grpSpPr>
      <p:sp>
        <p:nvSpPr>
          <p:cNvPr id="5"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755650" y="1759425"/>
            <a:ext cx="7669159" cy="1352265"/>
          </a:xfrm>
          <a:prstGeom prst="rect">
            <a:avLst/>
          </a:prstGeom>
        </p:spPr>
        <p:txBody>
          <a:bodyPr lIns="0" rIns="0"/>
          <a:lstStyle>
            <a:lvl1pPr marL="0" indent="0" algn="l">
              <a:lnSpc>
                <a:spcPct val="100000"/>
              </a:lnSpc>
              <a:spcBef>
                <a:spcPts val="0"/>
              </a:spcBef>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ivider – Headline</a:t>
            </a:r>
          </a:p>
        </p:txBody>
      </p:sp>
      <p:sp>
        <p:nvSpPr>
          <p:cNvPr id="2" name="Päivämäärän paikkamerkki 1">
            <a:extLst>
              <a:ext uri="{FF2B5EF4-FFF2-40B4-BE49-F238E27FC236}">
                <a16:creationId xmlns:a16="http://schemas.microsoft.com/office/drawing/2014/main" id="{37C6C481-D72C-4B89-AA19-AC91EB21FEFA}"/>
              </a:ext>
            </a:extLst>
          </p:cNvPr>
          <p:cNvSpPr>
            <a:spLocks noGrp="1"/>
          </p:cNvSpPr>
          <p:nvPr>
            <p:ph type="dt" sz="half" idx="12"/>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2A81A4FB-6563-4C02-8A9B-51D830F1EAB1}"/>
              </a:ext>
            </a:extLst>
          </p:cNvPr>
          <p:cNvSpPr>
            <a:spLocks noGrp="1"/>
          </p:cNvSpPr>
          <p:nvPr>
            <p:ph type="ftr" sz="quarter" idx="13"/>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1F6A7C93-158F-48BA-8E95-EC2109A4B4DE}"/>
              </a:ext>
            </a:extLst>
          </p:cNvPr>
          <p:cNvSpPr>
            <a:spLocks noGrp="1"/>
          </p:cNvSpPr>
          <p:nvPr>
            <p:ph type="sldNum" sz="quarter" idx="14"/>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0" name="Kuva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03976844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 Body slide - Text - Red title left">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287339" y="2615909"/>
            <a:ext cx="3015456" cy="1645144"/>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1" name="Text Placeholder 3"/>
          <p:cNvSpPr>
            <a:spLocks noGrp="1"/>
          </p:cNvSpPr>
          <p:nvPr>
            <p:ph type="body" sz="half" idx="10" hasCustomPrompt="1"/>
          </p:nvPr>
        </p:nvSpPr>
        <p:spPr>
          <a:xfrm>
            <a:off x="287339" y="401354"/>
            <a:ext cx="3015456" cy="1747969"/>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21" name="Text Placeholder 3"/>
          <p:cNvSpPr>
            <a:spLocks noGrp="1"/>
          </p:cNvSpPr>
          <p:nvPr>
            <p:ph type="body" sz="half" idx="12" hasCustomPrompt="1"/>
          </p:nvPr>
        </p:nvSpPr>
        <p:spPr>
          <a:xfrm>
            <a:off x="3654029" y="463696"/>
            <a:ext cx="5130402" cy="3797357"/>
          </a:xfrm>
          <a:prstGeom prst="rect">
            <a:avLst/>
          </a:prstGeom>
        </p:spPr>
        <p:txBody>
          <a:bodyPr wrap="square"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US" sz="2100" b="1" kern="1200" dirty="0">
                <a:solidFill>
                  <a:schemeClr val="tx1"/>
                </a:solidFill>
                <a:latin typeface="+mn-lt"/>
                <a:ea typeface="+mn-ea"/>
                <a:cs typeface="+mn-cs"/>
              </a:defRPr>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Slide Number Placeholder 5">
            <a:extLst>
              <a:ext uri="{FF2B5EF4-FFF2-40B4-BE49-F238E27FC236}">
                <a16:creationId xmlns:a16="http://schemas.microsoft.com/office/drawing/2014/main" id="{479062E6-8B0E-4DB4-8209-4E7EB4F3FAA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5DE37A55-AE2A-40CC-8240-F6FD4F5BD0F6}"/>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AD81B084-A59A-450A-B69B-00DEBAF84E3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2123659658"/>
      </p:ext>
    </p:extLst>
  </p:cSld>
  <p:clrMapOvr>
    <a:masterClrMapping/>
  </p:clrMapOvr>
  <p:extLst>
    <p:ext uri="{DCECCB84-F9BA-43D5-87BE-67443E8EF086}">
      <p15:sldGuideLst xmlns:p15="http://schemas.microsoft.com/office/powerpoint/2012/main">
        <p15:guide id="1" pos="2081">
          <p15:clr>
            <a:srgbClr val="FBAE40"/>
          </p15:clr>
        </p15:guide>
        <p15:guide id="2" pos="2302">
          <p15:clr>
            <a:srgbClr val="FBAE40"/>
          </p15:clr>
        </p15:guide>
        <p15:guide id="3" pos="553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0. Body slide - Text - Full bleed image">
    <p:bg>
      <p:bgPr>
        <a:solidFill>
          <a:schemeClr val="bg1"/>
        </a:solidFill>
        <a:effectLst/>
      </p:bgPr>
    </p:bg>
    <p:spTree>
      <p:nvGrpSpPr>
        <p:cNvPr id="1" name=""/>
        <p:cNvGrpSpPr/>
        <p:nvPr/>
      </p:nvGrpSpPr>
      <p:grpSpPr>
        <a:xfrm>
          <a:off x="0" y="0"/>
          <a:ext cx="0" cy="0"/>
          <a:chOff x="0" y="0"/>
          <a:chExt cx="0" cy="0"/>
        </a:xfrm>
      </p:grpSpPr>
      <p:sp>
        <p:nvSpPr>
          <p:cNvPr id="12"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 name="Text Placeholder 3"/>
          <p:cNvSpPr>
            <a:spLocks noGrp="1"/>
          </p:cNvSpPr>
          <p:nvPr>
            <p:ph type="body" sz="half" idx="2" hasCustomPrompt="1"/>
          </p:nvPr>
        </p:nvSpPr>
        <p:spPr>
          <a:xfrm>
            <a:off x="287339" y="1347789"/>
            <a:ext cx="4150122" cy="2938911"/>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11" name="Text Placeholder 3"/>
          <p:cNvSpPr>
            <a:spLocks noGrp="1"/>
          </p:cNvSpPr>
          <p:nvPr>
            <p:ph type="body" sz="half" idx="10" hasCustomPrompt="1"/>
          </p:nvPr>
        </p:nvSpPr>
        <p:spPr>
          <a:xfrm>
            <a:off x="287338" y="21510"/>
            <a:ext cx="8497093" cy="1153455"/>
          </a:xfrm>
          <a:prstGeom prst="rect">
            <a:avLst/>
          </a:prstGeom>
        </p:spPr>
        <p:txBody>
          <a:bodyPr lIns="0" tIns="0" rIns="0" bIns="0"/>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8" name="Text Placeholder 3"/>
          <p:cNvSpPr>
            <a:spLocks noGrp="1"/>
          </p:cNvSpPr>
          <p:nvPr>
            <p:ph type="body" sz="half" idx="11" hasCustomPrompt="1"/>
          </p:nvPr>
        </p:nvSpPr>
        <p:spPr>
          <a:xfrm>
            <a:off x="4706540" y="1347788"/>
            <a:ext cx="4077891" cy="294060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000" b="1">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2" name="Päivämäärän paikkamerkki 1">
            <a:extLst>
              <a:ext uri="{FF2B5EF4-FFF2-40B4-BE49-F238E27FC236}">
                <a16:creationId xmlns:a16="http://schemas.microsoft.com/office/drawing/2014/main" id="{62DDC196-D49A-4DB6-A68D-238E3C73DA3B}"/>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51265EED-F2E6-43DA-B5C9-706015FF2F76}"/>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6" name="Dian numeron paikkamerkki 5">
            <a:extLst>
              <a:ext uri="{FF2B5EF4-FFF2-40B4-BE49-F238E27FC236}">
                <a16:creationId xmlns:a16="http://schemas.microsoft.com/office/drawing/2014/main" id="{E5011BD5-68CE-472A-A314-532B85BA474D}"/>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52155714"/>
      </p:ext>
    </p:extLst>
  </p:cSld>
  <p:clrMapOvr>
    <a:masterClrMapping/>
  </p:clrMapOvr>
  <p:extLst>
    <p:ext uri="{DCECCB84-F9BA-43D5-87BE-67443E8EF086}">
      <p15:sldGuideLst xmlns:p15="http://schemas.microsoft.com/office/powerpoint/2012/main">
        <p15:guide id="1" pos="2795">
          <p15:clr>
            <a:srgbClr val="FBAE40"/>
          </p15:clr>
        </p15:guide>
        <p15:guide id="2" pos="2965">
          <p15:clr>
            <a:srgbClr val="FBAE40"/>
          </p15:clr>
        </p15:guide>
        <p15:guide id="3" orient="horz" pos="84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1. Body slide - Table">
    <p:spTree>
      <p:nvGrpSpPr>
        <p:cNvPr id="1" name=""/>
        <p:cNvGrpSpPr/>
        <p:nvPr/>
      </p:nvGrpSpPr>
      <p:grpSpPr>
        <a:xfrm>
          <a:off x="0" y="0"/>
          <a:ext cx="0" cy="0"/>
          <a:chOff x="0" y="0"/>
          <a:chExt cx="0" cy="0"/>
        </a:xfrm>
      </p:grpSpPr>
      <p:sp>
        <p:nvSpPr>
          <p:cNvPr id="6" name="Table Placeholder 12">
            <a:extLst>
              <a:ext uri="{FF2B5EF4-FFF2-40B4-BE49-F238E27FC236}">
                <a16:creationId xmlns:a16="http://schemas.microsoft.com/office/drawing/2014/main" id="{D90CC8CD-0F46-F240-AF4E-99DE2A9ECF91}"/>
              </a:ext>
            </a:extLst>
          </p:cNvPr>
          <p:cNvSpPr>
            <a:spLocks noGrp="1"/>
          </p:cNvSpPr>
          <p:nvPr>
            <p:ph type="tbl" sz="quarter" idx="13" hasCustomPrompt="1"/>
          </p:nvPr>
        </p:nvSpPr>
        <p:spPr>
          <a:xfrm>
            <a:off x="287338" y="1208314"/>
            <a:ext cx="8497093" cy="3075686"/>
          </a:xfrm>
          <a:prstGeom prst="rect">
            <a:avLst/>
          </a:prstGeom>
        </p:spPr>
        <p:txBody>
          <a:bodyPr/>
          <a:lstStyle>
            <a:lvl1pPr marL="0" indent="0" algn="ctr">
              <a:buNone/>
              <a:defRPr b="1">
                <a:solidFill>
                  <a:schemeClr val="bg1">
                    <a:lumMod val="85000"/>
                  </a:schemeClr>
                </a:solidFill>
              </a:defRPr>
            </a:lvl1pPr>
          </a:lstStyle>
          <a:p>
            <a:r>
              <a:rPr lang="fi-FI" dirty="0"/>
              <a:t>Click icon to add table</a:t>
            </a:r>
          </a:p>
        </p:txBody>
      </p:sp>
      <p:sp>
        <p:nvSpPr>
          <p:cNvPr id="5" name="Slide Number Placeholder 5">
            <a:extLst>
              <a:ext uri="{FF2B5EF4-FFF2-40B4-BE49-F238E27FC236}">
                <a16:creationId xmlns:a16="http://schemas.microsoft.com/office/drawing/2014/main" id="{2D4CDEE4-AFAC-4BB1-B02E-FDE939F20DC1}"/>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32C686F0-0C1B-46BD-9DE7-A93BAA6AC898}"/>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4338FCB4-9412-423F-84B9-91EDDBA25087}"/>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0" name="Text Placeholder 3">
            <a:extLst>
              <a:ext uri="{FF2B5EF4-FFF2-40B4-BE49-F238E27FC236}">
                <a16:creationId xmlns:a16="http://schemas.microsoft.com/office/drawing/2014/main" id="{8584B93E-056F-4250-ABC4-7262B56069C0}"/>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1365029957"/>
      </p:ext>
    </p:extLst>
  </p:cSld>
  <p:clrMapOvr>
    <a:masterClrMapping/>
  </p:clrMapOvr>
  <p:extLst>
    <p:ext uri="{DCECCB84-F9BA-43D5-87BE-67443E8EF086}">
      <p15:sldGuideLst xmlns:p15="http://schemas.microsoft.com/office/powerpoint/2012/main">
        <p15:guide id="1" orient="horz" pos="3100">
          <p15:clr>
            <a:srgbClr val="FBAE40"/>
          </p15:clr>
        </p15:guide>
        <p15:guide id="4" pos="5534">
          <p15:clr>
            <a:srgbClr val="FBAE40"/>
          </p15:clr>
        </p15:guide>
        <p15:guide id="5" orient="horz" pos="327">
          <p15:clr>
            <a:srgbClr val="FBAE40"/>
          </p15:clr>
        </p15:guide>
        <p15:guide id="6" pos="2795">
          <p15:clr>
            <a:srgbClr val="FBAE40"/>
          </p15:clr>
        </p15:guide>
        <p15:guide id="7" pos="2965">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2. Body slide - 2 tables">
    <p:spTree>
      <p:nvGrpSpPr>
        <p:cNvPr id="1" name=""/>
        <p:cNvGrpSpPr/>
        <p:nvPr/>
      </p:nvGrpSpPr>
      <p:grpSpPr>
        <a:xfrm>
          <a:off x="0" y="0"/>
          <a:ext cx="0" cy="0"/>
          <a:chOff x="0" y="0"/>
          <a:chExt cx="0" cy="0"/>
        </a:xfrm>
      </p:grpSpPr>
      <p:sp>
        <p:nvSpPr>
          <p:cNvPr id="14" name="Table Placeholder 12">
            <a:extLst>
              <a:ext uri="{FF2B5EF4-FFF2-40B4-BE49-F238E27FC236}">
                <a16:creationId xmlns:a16="http://schemas.microsoft.com/office/drawing/2014/main" id="{BBBD8CFA-2274-400B-84ED-AD95B6C224E6}"/>
              </a:ext>
            </a:extLst>
          </p:cNvPr>
          <p:cNvSpPr>
            <a:spLocks noGrp="1"/>
          </p:cNvSpPr>
          <p:nvPr>
            <p:ph type="tbl" sz="quarter" idx="13" hasCustomPrompt="1"/>
          </p:nvPr>
        </p:nvSpPr>
        <p:spPr>
          <a:xfrm>
            <a:off x="287338" y="1198547"/>
            <a:ext cx="5486014" cy="1443772"/>
          </a:xfrm>
          <a:prstGeom prst="rect">
            <a:avLst/>
          </a:prstGeom>
        </p:spPr>
        <p:txBody>
          <a:bodyPr/>
          <a:lstStyle>
            <a:lvl1pPr marL="0" indent="0">
              <a:buNone/>
              <a:defRPr b="1">
                <a:solidFill>
                  <a:schemeClr val="bg1">
                    <a:lumMod val="85000"/>
                  </a:schemeClr>
                </a:solidFill>
              </a:defRPr>
            </a:lvl1pPr>
          </a:lstStyle>
          <a:p>
            <a:r>
              <a:rPr lang="fi-FI" dirty="0"/>
              <a:t>Click icon to add table</a:t>
            </a:r>
          </a:p>
        </p:txBody>
      </p:sp>
      <p:sp>
        <p:nvSpPr>
          <p:cNvPr id="13" name="Table Placeholder 12">
            <a:extLst>
              <a:ext uri="{FF2B5EF4-FFF2-40B4-BE49-F238E27FC236}">
                <a16:creationId xmlns:a16="http://schemas.microsoft.com/office/drawing/2014/main" id="{93B047F6-3228-402F-9203-526F72E0AFAD}"/>
              </a:ext>
            </a:extLst>
          </p:cNvPr>
          <p:cNvSpPr>
            <a:spLocks noGrp="1"/>
          </p:cNvSpPr>
          <p:nvPr>
            <p:ph type="tbl" sz="quarter" idx="12" hasCustomPrompt="1"/>
          </p:nvPr>
        </p:nvSpPr>
        <p:spPr>
          <a:xfrm>
            <a:off x="287338" y="2803849"/>
            <a:ext cx="5486014" cy="1480151"/>
          </a:xfrm>
          <a:prstGeom prst="rect">
            <a:avLst/>
          </a:prstGeom>
        </p:spPr>
        <p:txBody>
          <a:bodyPr/>
          <a:lstStyle>
            <a:lvl1pPr marL="0" indent="0">
              <a:buNone/>
              <a:defRPr b="1" baseline="0">
                <a:solidFill>
                  <a:schemeClr val="bg1">
                    <a:lumMod val="85000"/>
                  </a:schemeClr>
                </a:solidFill>
              </a:defRPr>
            </a:lvl1pPr>
          </a:lstStyle>
          <a:p>
            <a:r>
              <a:rPr lang="fi-FI" dirty="0"/>
              <a:t>Click icon to add table</a:t>
            </a:r>
          </a:p>
        </p:txBody>
      </p:sp>
      <p:sp>
        <p:nvSpPr>
          <p:cNvPr id="2" name="Suorakulmio 1"/>
          <p:cNvSpPr/>
          <p:nvPr userDrawn="1"/>
        </p:nvSpPr>
        <p:spPr>
          <a:xfrm>
            <a:off x="6288119" y="1198545"/>
            <a:ext cx="2167128" cy="31120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3" dirty="0"/>
          </a:p>
        </p:txBody>
      </p:sp>
      <p:sp>
        <p:nvSpPr>
          <p:cNvPr id="8" name="Text Placeholder 7">
            <a:extLst>
              <a:ext uri="{FF2B5EF4-FFF2-40B4-BE49-F238E27FC236}">
                <a16:creationId xmlns:a16="http://schemas.microsoft.com/office/drawing/2014/main" id="{B84722C4-26CA-4157-95A3-B7176EEF8B13}"/>
              </a:ext>
            </a:extLst>
          </p:cNvPr>
          <p:cNvSpPr>
            <a:spLocks noGrp="1"/>
          </p:cNvSpPr>
          <p:nvPr>
            <p:ph type="body" sz="quarter" idx="11" hasCustomPrompt="1"/>
          </p:nvPr>
        </p:nvSpPr>
        <p:spPr>
          <a:xfrm>
            <a:off x="6558279" y="1450909"/>
            <a:ext cx="1624668" cy="2623549"/>
          </a:xfrm>
          <a:prstGeom prst="rect">
            <a:avLst/>
          </a:prstGeom>
        </p:spPr>
        <p:txBody>
          <a:bodyPr lIns="0" tIns="0" rIns="0" bIns="0"/>
          <a:lstStyle>
            <a:lvl1pPr marL="0" indent="0">
              <a:lnSpc>
                <a:spcPct val="100000"/>
              </a:lnSpc>
              <a:buNone/>
              <a:defRPr lang="en-US" sz="1700" b="1" kern="1200" dirty="0" smtClean="0">
                <a:solidFill>
                  <a:schemeClr val="bg1"/>
                </a:solidFill>
                <a:latin typeface="+mn-lt"/>
                <a:ea typeface="Arial Hebrew Scholar" charset="-79"/>
                <a:cs typeface="Arial Hebrew Scholar" charset="-79"/>
              </a:defRPr>
            </a:lvl1pPr>
            <a:lvl2pPr>
              <a:defRPr lang="en-US" sz="1500" b="1" kern="1200" dirty="0" smtClean="0">
                <a:solidFill>
                  <a:schemeClr val="bg1"/>
                </a:solidFill>
                <a:latin typeface="+mn-lt"/>
                <a:ea typeface="Arial Hebrew Scholar" charset="-79"/>
                <a:cs typeface="Arial Hebrew Scholar" charset="-79"/>
              </a:defRPr>
            </a:lvl2pPr>
            <a:lvl3pPr>
              <a:defRPr lang="en-US" sz="1500" b="1" kern="1200" dirty="0" smtClean="0">
                <a:solidFill>
                  <a:schemeClr val="bg1"/>
                </a:solidFill>
                <a:latin typeface="+mn-lt"/>
                <a:ea typeface="Arial Hebrew Scholar" charset="-79"/>
                <a:cs typeface="Arial Hebrew Scholar" charset="-79"/>
              </a:defRPr>
            </a:lvl3pPr>
            <a:lvl4pPr>
              <a:defRPr lang="en-US" sz="1500" b="1" kern="1200" dirty="0" smtClean="0">
                <a:solidFill>
                  <a:schemeClr val="bg1"/>
                </a:solidFill>
                <a:latin typeface="+mn-lt"/>
                <a:ea typeface="Arial Hebrew Scholar" charset="-79"/>
                <a:cs typeface="Arial Hebrew Scholar" charset="-79"/>
              </a:defRPr>
            </a:lvl4pPr>
            <a:lvl5pPr>
              <a:defRPr lang="fi-FI" sz="1500" b="1" kern="1200" dirty="0">
                <a:solidFill>
                  <a:schemeClr val="bg1"/>
                </a:solidFill>
                <a:latin typeface="+mn-lt"/>
                <a:ea typeface="Arial Hebrew Scholar" charset="-79"/>
                <a:cs typeface="Arial Hebrew Scholar" charset="-79"/>
              </a:defRPr>
            </a:lvl5pPr>
          </a:lstStyle>
          <a:p>
            <a:pPr lvl="0"/>
            <a:r>
              <a:rPr lang="en-US" dirty="0"/>
              <a:t>Insert text here</a:t>
            </a:r>
          </a:p>
        </p:txBody>
      </p:sp>
      <p:sp>
        <p:nvSpPr>
          <p:cNvPr id="10" name="Slide Number Placeholder 5">
            <a:extLst>
              <a:ext uri="{FF2B5EF4-FFF2-40B4-BE49-F238E27FC236}">
                <a16:creationId xmlns:a16="http://schemas.microsoft.com/office/drawing/2014/main" id="{9ADAB2CE-4212-44E9-B137-C1C680FB619A}"/>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2" name="Date Placeholder 3">
            <a:extLst>
              <a:ext uri="{FF2B5EF4-FFF2-40B4-BE49-F238E27FC236}">
                <a16:creationId xmlns:a16="http://schemas.microsoft.com/office/drawing/2014/main" id="{F4E096FB-FCA1-4B5C-ACD6-0CEFB3F91793}"/>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5" name="Alatunnisteen paikkamerkki 1">
            <a:extLst>
              <a:ext uri="{FF2B5EF4-FFF2-40B4-BE49-F238E27FC236}">
                <a16:creationId xmlns:a16="http://schemas.microsoft.com/office/drawing/2014/main" id="{3C30B25E-7918-4E31-B8C8-B2EDDFA118E6}"/>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8" name="Kuva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6" name="Text Placeholder 3">
            <a:extLst>
              <a:ext uri="{FF2B5EF4-FFF2-40B4-BE49-F238E27FC236}">
                <a16:creationId xmlns:a16="http://schemas.microsoft.com/office/drawing/2014/main" id="{B6534A76-76D5-4FCA-8B07-5925C06AC326}"/>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1574243465"/>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3. Body slide - Black and red text - Chart">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66B642BD-45BB-4F77-82AA-AE37473CB2B3}"/>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1" name="Date Placeholder 3">
            <a:extLst>
              <a:ext uri="{FF2B5EF4-FFF2-40B4-BE49-F238E27FC236}">
                <a16:creationId xmlns:a16="http://schemas.microsoft.com/office/drawing/2014/main" id="{81652838-FE86-4ABD-9F9D-AFD4E96BB5D0}"/>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2" name="Alatunnisteen paikkamerkki 1">
            <a:extLst>
              <a:ext uri="{FF2B5EF4-FFF2-40B4-BE49-F238E27FC236}">
                <a16:creationId xmlns:a16="http://schemas.microsoft.com/office/drawing/2014/main" id="{0B96DB4D-EBEA-407A-A811-A01FA90FCD3C}"/>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6" name="Chart Placeholder 2">
            <a:extLst>
              <a:ext uri="{FF2B5EF4-FFF2-40B4-BE49-F238E27FC236}">
                <a16:creationId xmlns:a16="http://schemas.microsoft.com/office/drawing/2014/main" id="{09161BE7-F8D2-4ACD-83CC-1D9839ED404B}"/>
              </a:ext>
            </a:extLst>
          </p:cNvPr>
          <p:cNvSpPr>
            <a:spLocks noGrp="1"/>
          </p:cNvSpPr>
          <p:nvPr>
            <p:ph type="chart" sz="quarter" idx="12" hasCustomPrompt="1"/>
          </p:nvPr>
        </p:nvSpPr>
        <p:spPr>
          <a:xfrm>
            <a:off x="3654028" y="519112"/>
            <a:ext cx="5130403" cy="4153628"/>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b="1">
                <a:solidFill>
                  <a:schemeClr val="tx1">
                    <a:alpha val="17000"/>
                  </a:schemeClr>
                </a:solidFill>
              </a:defRPr>
            </a:lvl1pPr>
          </a:lstStyle>
          <a:p>
            <a:r>
              <a:rPr lang="fi-FI" dirty="0"/>
              <a:t>Click icon to add chart</a:t>
            </a:r>
          </a:p>
        </p:txBody>
      </p:sp>
      <p:sp>
        <p:nvSpPr>
          <p:cNvPr id="7" name="Text Placeholder 3">
            <a:extLst>
              <a:ext uri="{FF2B5EF4-FFF2-40B4-BE49-F238E27FC236}">
                <a16:creationId xmlns:a16="http://schemas.microsoft.com/office/drawing/2014/main" id="{9BF71F6C-31BF-8A4F-AA9D-13A108C26B84}"/>
              </a:ext>
            </a:extLst>
          </p:cNvPr>
          <p:cNvSpPr>
            <a:spLocks noGrp="1"/>
          </p:cNvSpPr>
          <p:nvPr>
            <p:ph type="body" sz="half" idx="2" hasCustomPrompt="1"/>
          </p:nvPr>
        </p:nvSpPr>
        <p:spPr>
          <a:xfrm>
            <a:off x="287339" y="2615909"/>
            <a:ext cx="3015455" cy="1668091"/>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8" name="Text Placeholder 3">
            <a:extLst>
              <a:ext uri="{FF2B5EF4-FFF2-40B4-BE49-F238E27FC236}">
                <a16:creationId xmlns:a16="http://schemas.microsoft.com/office/drawing/2014/main" id="{8818ADAA-0D73-2649-A90F-A489016A1095}"/>
              </a:ext>
            </a:extLst>
          </p:cNvPr>
          <p:cNvSpPr>
            <a:spLocks noGrp="1"/>
          </p:cNvSpPr>
          <p:nvPr>
            <p:ph type="body" sz="half" idx="10" hasCustomPrompt="1"/>
          </p:nvPr>
        </p:nvSpPr>
        <p:spPr>
          <a:xfrm>
            <a:off x="287339" y="394855"/>
            <a:ext cx="3015456" cy="1872227"/>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pic>
        <p:nvPicPr>
          <p:cNvPr id="15" name="Kuva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289337874"/>
      </p:ext>
    </p:extLst>
  </p:cSld>
  <p:clrMapOvr>
    <a:masterClrMapping/>
  </p:clrMapOvr>
  <p:extLst>
    <p:ext uri="{DCECCB84-F9BA-43D5-87BE-67443E8EF086}">
      <p15:sldGuideLst xmlns:p15="http://schemas.microsoft.com/office/powerpoint/2012/main">
        <p15:guide id="1" pos="2081">
          <p15:clr>
            <a:srgbClr val="FBAE40"/>
          </p15:clr>
        </p15:guide>
        <p15:guide id="2" pos="2302">
          <p15:clr>
            <a:srgbClr val="FBAE40"/>
          </p15:clr>
        </p15:guide>
        <p15:guide id="3" pos="553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4. Process slide - Red">
    <p:bg>
      <p:bgPr>
        <a:solidFill>
          <a:schemeClr val="tx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36A9AB-7FD4-4A4D-8EF5-3255560CFBFE}"/>
              </a:ext>
            </a:extLst>
          </p:cNvPr>
          <p:cNvSpPr>
            <a:spLocks noGrp="1"/>
          </p:cNvSpPr>
          <p:nvPr>
            <p:ph type="body" sz="quarter" idx="11" hasCustomPrompt="1"/>
          </p:nvPr>
        </p:nvSpPr>
        <p:spPr>
          <a:xfrm>
            <a:off x="290831" y="2534491"/>
            <a:ext cx="1539000" cy="1753903"/>
          </a:xfrm>
          <a:prstGeom prst="rect">
            <a:avLst/>
          </a:prstGeom>
        </p:spPr>
        <p:txBody>
          <a:bodyPr lIns="0" tIns="0" rIns="0" bIns="0"/>
          <a:lstStyle>
            <a:lvl1pPr marL="81000" indent="-81000" algn="l" defTabSz="514436" rtl="0" eaLnBrk="1" latinLnBrk="0" hangingPunct="1">
              <a:lnSpc>
                <a:spcPct val="100000"/>
              </a:lnSpc>
              <a:buFont typeface="Arial" charset="0"/>
              <a:buChar char="•"/>
              <a:defRPr sz="1400" b="1">
                <a:solidFill>
                  <a:schemeClr val="bg1"/>
                </a:solidFill>
              </a:defRPr>
            </a:lvl1pPr>
            <a:lvl2pPr marL="0" indent="0">
              <a:lnSpc>
                <a:spcPts val="1500"/>
              </a:lnSpc>
              <a:buNone/>
              <a:defRPr lang="en-US" sz="1350" b="1" kern="1200" dirty="0" smtClean="0">
                <a:solidFill>
                  <a:schemeClr val="bg1"/>
                </a:solidFill>
                <a:latin typeface="+mn-lt"/>
                <a:ea typeface="Arial" charset="0"/>
                <a:cs typeface="Arial" charset="0"/>
              </a:defRPr>
            </a:lvl2pPr>
            <a:lvl3pPr>
              <a:buClr>
                <a:schemeClr val="bg1"/>
              </a:buClr>
              <a:defRPr sz="788">
                <a:solidFill>
                  <a:schemeClr val="bg1"/>
                </a:solidFill>
              </a:defRPr>
            </a:lvl3pPr>
          </a:lstStyle>
          <a:p>
            <a:pPr marL="81000" lvl="0" indent="-81000" algn="l" defTabSz="514436" rtl="0" eaLnBrk="1" latinLnBrk="0" hangingPunct="1">
              <a:lnSpc>
                <a:spcPts val="975"/>
              </a:lnSpc>
              <a:buFont typeface="Arial" charset="0"/>
              <a:buChar char="•"/>
            </a:pPr>
            <a:r>
              <a:rPr lang="fi-FI" dirty="0"/>
              <a:t>Add text</a:t>
            </a:r>
          </a:p>
        </p:txBody>
      </p:sp>
      <p:sp>
        <p:nvSpPr>
          <p:cNvPr id="18" name="Text Placeholder 5">
            <a:extLst>
              <a:ext uri="{FF2B5EF4-FFF2-40B4-BE49-F238E27FC236}">
                <a16:creationId xmlns:a16="http://schemas.microsoft.com/office/drawing/2014/main" id="{89987C57-966C-4855-9310-5E356BB3CB9E}"/>
              </a:ext>
            </a:extLst>
          </p:cNvPr>
          <p:cNvSpPr>
            <a:spLocks noGrp="1"/>
          </p:cNvSpPr>
          <p:nvPr>
            <p:ph type="body" sz="quarter" idx="12" hasCustomPrompt="1"/>
          </p:nvPr>
        </p:nvSpPr>
        <p:spPr>
          <a:xfrm>
            <a:off x="203997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4" name="Text Placeholder 23">
            <a:extLst>
              <a:ext uri="{FF2B5EF4-FFF2-40B4-BE49-F238E27FC236}">
                <a16:creationId xmlns:a16="http://schemas.microsoft.com/office/drawing/2014/main" id="{EAC2BD28-BA40-4C62-9684-204677B491A2}"/>
              </a:ext>
            </a:extLst>
          </p:cNvPr>
          <p:cNvSpPr>
            <a:spLocks noGrp="1"/>
          </p:cNvSpPr>
          <p:nvPr>
            <p:ph type="body" sz="quarter" idx="16" hasCustomPrompt="1"/>
          </p:nvPr>
        </p:nvSpPr>
        <p:spPr>
          <a:xfrm>
            <a:off x="460020"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4</a:t>
            </a:r>
          </a:p>
        </p:txBody>
      </p:sp>
      <p:sp>
        <p:nvSpPr>
          <p:cNvPr id="26" name="Text Placeholder 23">
            <a:extLst>
              <a:ext uri="{FF2B5EF4-FFF2-40B4-BE49-F238E27FC236}">
                <a16:creationId xmlns:a16="http://schemas.microsoft.com/office/drawing/2014/main" id="{0E8425B5-2F4C-4E05-8123-3A8B01FC8702}"/>
              </a:ext>
            </a:extLst>
          </p:cNvPr>
          <p:cNvSpPr>
            <a:spLocks noGrp="1"/>
          </p:cNvSpPr>
          <p:nvPr>
            <p:ph type="body" sz="quarter" idx="17" hasCustomPrompt="1"/>
          </p:nvPr>
        </p:nvSpPr>
        <p:spPr>
          <a:xfrm>
            <a:off x="2209168"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5</a:t>
            </a:r>
          </a:p>
        </p:txBody>
      </p:sp>
      <p:sp>
        <p:nvSpPr>
          <p:cNvPr id="27" name="Text Placeholder 23">
            <a:extLst>
              <a:ext uri="{FF2B5EF4-FFF2-40B4-BE49-F238E27FC236}">
                <a16:creationId xmlns:a16="http://schemas.microsoft.com/office/drawing/2014/main" id="{DC20D224-7563-4C76-AD81-513A7C8829B2}"/>
              </a:ext>
            </a:extLst>
          </p:cNvPr>
          <p:cNvSpPr>
            <a:spLocks noGrp="1"/>
          </p:cNvSpPr>
          <p:nvPr>
            <p:ph type="body" sz="quarter" idx="18" hasCustomPrompt="1"/>
          </p:nvPr>
        </p:nvSpPr>
        <p:spPr>
          <a:xfrm>
            <a:off x="3953649"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6</a:t>
            </a:r>
          </a:p>
        </p:txBody>
      </p:sp>
      <p:sp>
        <p:nvSpPr>
          <p:cNvPr id="28" name="Text Placeholder 23">
            <a:extLst>
              <a:ext uri="{FF2B5EF4-FFF2-40B4-BE49-F238E27FC236}">
                <a16:creationId xmlns:a16="http://schemas.microsoft.com/office/drawing/2014/main" id="{E06BCED4-D727-4040-AD5B-6450A58ED4DF}"/>
              </a:ext>
            </a:extLst>
          </p:cNvPr>
          <p:cNvSpPr>
            <a:spLocks noGrp="1"/>
          </p:cNvSpPr>
          <p:nvPr>
            <p:ph type="body" sz="quarter" idx="19" hasCustomPrompt="1"/>
          </p:nvPr>
        </p:nvSpPr>
        <p:spPr>
          <a:xfrm>
            <a:off x="5684135"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7</a:t>
            </a:r>
          </a:p>
        </p:txBody>
      </p:sp>
      <p:sp>
        <p:nvSpPr>
          <p:cNvPr id="29" name="Text Placeholder 23">
            <a:extLst>
              <a:ext uri="{FF2B5EF4-FFF2-40B4-BE49-F238E27FC236}">
                <a16:creationId xmlns:a16="http://schemas.microsoft.com/office/drawing/2014/main" id="{294EAA4E-E8D4-4CC5-BDD1-70053B25FE63}"/>
              </a:ext>
            </a:extLst>
          </p:cNvPr>
          <p:cNvSpPr>
            <a:spLocks noGrp="1"/>
          </p:cNvSpPr>
          <p:nvPr>
            <p:ph type="body" sz="quarter" idx="20" hasCustomPrompt="1"/>
          </p:nvPr>
        </p:nvSpPr>
        <p:spPr>
          <a:xfrm>
            <a:off x="7414621"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8</a:t>
            </a:r>
          </a:p>
        </p:txBody>
      </p:sp>
      <p:sp>
        <p:nvSpPr>
          <p:cNvPr id="17" name="Text Placeholder 5">
            <a:extLst>
              <a:ext uri="{FF2B5EF4-FFF2-40B4-BE49-F238E27FC236}">
                <a16:creationId xmlns:a16="http://schemas.microsoft.com/office/drawing/2014/main" id="{A827BBD5-9E69-4D6A-ACDE-EC26CFE2F6DA}"/>
              </a:ext>
            </a:extLst>
          </p:cNvPr>
          <p:cNvSpPr>
            <a:spLocks noGrp="1"/>
          </p:cNvSpPr>
          <p:nvPr>
            <p:ph type="body" sz="quarter" idx="23" hasCustomPrompt="1"/>
          </p:nvPr>
        </p:nvSpPr>
        <p:spPr>
          <a:xfrm>
            <a:off x="3771501"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2" name="Text Placeholder 5">
            <a:extLst>
              <a:ext uri="{FF2B5EF4-FFF2-40B4-BE49-F238E27FC236}">
                <a16:creationId xmlns:a16="http://schemas.microsoft.com/office/drawing/2014/main" id="{1BA48B8B-BD2C-4A39-82AF-63EB5DF45DE4}"/>
              </a:ext>
            </a:extLst>
          </p:cNvPr>
          <p:cNvSpPr>
            <a:spLocks noGrp="1"/>
          </p:cNvSpPr>
          <p:nvPr>
            <p:ph type="body" sz="quarter" idx="24" hasCustomPrompt="1"/>
          </p:nvPr>
        </p:nvSpPr>
        <p:spPr>
          <a:xfrm>
            <a:off x="5515995"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3" name="Text Placeholder 5">
            <a:extLst>
              <a:ext uri="{FF2B5EF4-FFF2-40B4-BE49-F238E27FC236}">
                <a16:creationId xmlns:a16="http://schemas.microsoft.com/office/drawing/2014/main" id="{FDACDC4A-3163-4169-8C73-15CC127E50C8}"/>
              </a:ext>
            </a:extLst>
          </p:cNvPr>
          <p:cNvSpPr>
            <a:spLocks noGrp="1"/>
          </p:cNvSpPr>
          <p:nvPr>
            <p:ph type="body" sz="quarter" idx="25" hasCustomPrompt="1"/>
          </p:nvPr>
        </p:nvSpPr>
        <p:spPr>
          <a:xfrm>
            <a:off x="724751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 name="Päivämäärän paikkamerkki 1">
            <a:extLst>
              <a:ext uri="{FF2B5EF4-FFF2-40B4-BE49-F238E27FC236}">
                <a16:creationId xmlns:a16="http://schemas.microsoft.com/office/drawing/2014/main" id="{17A6B884-331F-40FA-8908-119224136FDB}"/>
              </a:ext>
            </a:extLst>
          </p:cNvPr>
          <p:cNvSpPr>
            <a:spLocks noGrp="1"/>
          </p:cNvSpPr>
          <p:nvPr>
            <p:ph type="dt" sz="half" idx="26"/>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A749CABA-9FF3-45EA-9953-7B719CB699D9}"/>
              </a:ext>
            </a:extLst>
          </p:cNvPr>
          <p:cNvSpPr>
            <a:spLocks noGrp="1"/>
          </p:cNvSpPr>
          <p:nvPr>
            <p:ph type="ftr" sz="quarter" idx="27"/>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FF271C0B-E7D3-474B-A483-3CBA7656076F}"/>
              </a:ext>
            </a:extLst>
          </p:cNvPr>
          <p:cNvSpPr>
            <a:spLocks noGrp="1"/>
          </p:cNvSpPr>
          <p:nvPr>
            <p:ph type="sldNum" sz="quarter" idx="28"/>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20" name="Kuva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
        <p:nvSpPr>
          <p:cNvPr id="19" name="Text Placeholder 3">
            <a:extLst>
              <a:ext uri="{FF2B5EF4-FFF2-40B4-BE49-F238E27FC236}">
                <a16:creationId xmlns:a16="http://schemas.microsoft.com/office/drawing/2014/main" id="{68BC71D3-693E-4C10-9279-0086C54FAE9E}"/>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accent6"/>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642561098"/>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5. Process slide - White">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D9F47391-4AC0-4F7E-BFA1-6D69FD78437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6" name="Date Placeholder 3">
            <a:extLst>
              <a:ext uri="{FF2B5EF4-FFF2-40B4-BE49-F238E27FC236}">
                <a16:creationId xmlns:a16="http://schemas.microsoft.com/office/drawing/2014/main" id="{FEF0705C-E100-4768-B5FA-237B27E15CFD}"/>
              </a:ext>
            </a:extLst>
          </p:cNvPr>
          <p:cNvSpPr>
            <a:spLocks noGrp="1"/>
          </p:cNvSpPr>
          <p:nvPr>
            <p:ph type="dt" sz="half" idx="25"/>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7" name="Alatunnisteen paikkamerkki 1">
            <a:extLst>
              <a:ext uri="{FF2B5EF4-FFF2-40B4-BE49-F238E27FC236}">
                <a16:creationId xmlns:a16="http://schemas.microsoft.com/office/drawing/2014/main" id="{84C2D171-9BD9-4BE0-A001-56E7273902C0}"/>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24" name="Text Placeholder 23">
            <a:extLst>
              <a:ext uri="{FF2B5EF4-FFF2-40B4-BE49-F238E27FC236}">
                <a16:creationId xmlns:a16="http://schemas.microsoft.com/office/drawing/2014/main" id="{EAC2BD28-BA40-4C62-9684-204677B491A2}"/>
              </a:ext>
            </a:extLst>
          </p:cNvPr>
          <p:cNvSpPr>
            <a:spLocks noGrp="1" noChangeAspect="1"/>
          </p:cNvSpPr>
          <p:nvPr>
            <p:ph type="body" sz="quarter" idx="16" hasCustomPrompt="1"/>
          </p:nvPr>
        </p:nvSpPr>
        <p:spPr>
          <a:xfrm>
            <a:off x="63175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1</a:t>
            </a:r>
          </a:p>
        </p:txBody>
      </p:sp>
      <p:sp>
        <p:nvSpPr>
          <p:cNvPr id="26" name="Text Placeholder 23">
            <a:extLst>
              <a:ext uri="{FF2B5EF4-FFF2-40B4-BE49-F238E27FC236}">
                <a16:creationId xmlns:a16="http://schemas.microsoft.com/office/drawing/2014/main" id="{0E8425B5-2F4C-4E05-8123-3A8B01FC8702}"/>
              </a:ext>
            </a:extLst>
          </p:cNvPr>
          <p:cNvSpPr>
            <a:spLocks noGrp="1" noChangeAspect="1"/>
          </p:cNvSpPr>
          <p:nvPr>
            <p:ph type="body" sz="quarter" idx="17" hasCustomPrompt="1"/>
          </p:nvPr>
        </p:nvSpPr>
        <p:spPr>
          <a:xfrm>
            <a:off x="2385879"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a:t>
            </a:r>
          </a:p>
        </p:txBody>
      </p:sp>
      <p:sp>
        <p:nvSpPr>
          <p:cNvPr id="27" name="Text Placeholder 23">
            <a:extLst>
              <a:ext uri="{FF2B5EF4-FFF2-40B4-BE49-F238E27FC236}">
                <a16:creationId xmlns:a16="http://schemas.microsoft.com/office/drawing/2014/main" id="{DC20D224-7563-4C76-AD81-513A7C8829B2}"/>
              </a:ext>
            </a:extLst>
          </p:cNvPr>
          <p:cNvSpPr>
            <a:spLocks noGrp="1" noChangeAspect="1"/>
          </p:cNvSpPr>
          <p:nvPr>
            <p:ph type="body" sz="quarter" idx="18" hasCustomPrompt="1"/>
          </p:nvPr>
        </p:nvSpPr>
        <p:spPr>
          <a:xfrm>
            <a:off x="412600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3</a:t>
            </a:r>
          </a:p>
        </p:txBody>
      </p:sp>
      <p:sp>
        <p:nvSpPr>
          <p:cNvPr id="28" name="Text Placeholder 23">
            <a:extLst>
              <a:ext uri="{FF2B5EF4-FFF2-40B4-BE49-F238E27FC236}">
                <a16:creationId xmlns:a16="http://schemas.microsoft.com/office/drawing/2014/main" id="{E06BCED4-D727-4040-AD5B-6450A58ED4DF}"/>
              </a:ext>
            </a:extLst>
          </p:cNvPr>
          <p:cNvSpPr>
            <a:spLocks noGrp="1" noChangeAspect="1"/>
          </p:cNvSpPr>
          <p:nvPr>
            <p:ph type="body" sz="quarter" idx="19" hasCustomPrompt="1"/>
          </p:nvPr>
        </p:nvSpPr>
        <p:spPr>
          <a:xfrm>
            <a:off x="5856800"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4</a:t>
            </a:r>
          </a:p>
        </p:txBody>
      </p:sp>
      <p:sp>
        <p:nvSpPr>
          <p:cNvPr id="29" name="Text Placeholder 23">
            <a:extLst>
              <a:ext uri="{FF2B5EF4-FFF2-40B4-BE49-F238E27FC236}">
                <a16:creationId xmlns:a16="http://schemas.microsoft.com/office/drawing/2014/main" id="{294EAA4E-E8D4-4CC5-BDD1-70053B25FE63}"/>
              </a:ext>
            </a:extLst>
          </p:cNvPr>
          <p:cNvSpPr>
            <a:spLocks noGrp="1" noChangeAspect="1"/>
          </p:cNvSpPr>
          <p:nvPr>
            <p:ph type="body" sz="quarter" idx="20" hasCustomPrompt="1"/>
          </p:nvPr>
        </p:nvSpPr>
        <p:spPr>
          <a:xfrm>
            <a:off x="7582931"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5</a:t>
            </a:r>
          </a:p>
        </p:txBody>
      </p:sp>
      <p:sp>
        <p:nvSpPr>
          <p:cNvPr id="33" name="Text Placeholder 3">
            <a:extLst>
              <a:ext uri="{FF2B5EF4-FFF2-40B4-BE49-F238E27FC236}">
                <a16:creationId xmlns:a16="http://schemas.microsoft.com/office/drawing/2014/main" id="{8B20109F-4A5D-AF40-A937-1636D1D64A39}"/>
              </a:ext>
            </a:extLst>
          </p:cNvPr>
          <p:cNvSpPr>
            <a:spLocks noGrp="1"/>
          </p:cNvSpPr>
          <p:nvPr>
            <p:ph type="body" sz="half" idx="2" hasCustomPrompt="1"/>
          </p:nvPr>
        </p:nvSpPr>
        <p:spPr>
          <a:xfrm>
            <a:off x="294254" y="2304305"/>
            <a:ext cx="1539000" cy="1979695"/>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1</a:t>
            </a:r>
          </a:p>
        </p:txBody>
      </p:sp>
      <p:sp>
        <p:nvSpPr>
          <p:cNvPr id="34" name="Text Placeholder 3">
            <a:extLst>
              <a:ext uri="{FF2B5EF4-FFF2-40B4-BE49-F238E27FC236}">
                <a16:creationId xmlns:a16="http://schemas.microsoft.com/office/drawing/2014/main" id="{B1A38691-037D-394F-800A-B98CC5204D3A}"/>
              </a:ext>
            </a:extLst>
          </p:cNvPr>
          <p:cNvSpPr>
            <a:spLocks noGrp="1"/>
          </p:cNvSpPr>
          <p:nvPr>
            <p:ph type="body" sz="half" idx="21" hasCustomPrompt="1"/>
          </p:nvPr>
        </p:nvSpPr>
        <p:spPr>
          <a:xfrm>
            <a:off x="2048379" y="2318301"/>
            <a:ext cx="1539000" cy="196570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2</a:t>
            </a:r>
          </a:p>
        </p:txBody>
      </p:sp>
      <p:sp>
        <p:nvSpPr>
          <p:cNvPr id="35" name="Text Placeholder 3">
            <a:extLst>
              <a:ext uri="{FF2B5EF4-FFF2-40B4-BE49-F238E27FC236}">
                <a16:creationId xmlns:a16="http://schemas.microsoft.com/office/drawing/2014/main" id="{591022EE-194A-0147-A4C1-5527DCEE10B9}"/>
              </a:ext>
            </a:extLst>
          </p:cNvPr>
          <p:cNvSpPr>
            <a:spLocks noGrp="1"/>
          </p:cNvSpPr>
          <p:nvPr>
            <p:ph type="body" sz="half" idx="22" hasCustomPrompt="1"/>
          </p:nvPr>
        </p:nvSpPr>
        <p:spPr>
          <a:xfrm>
            <a:off x="3788504" y="2318300"/>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3</a:t>
            </a:r>
          </a:p>
        </p:txBody>
      </p:sp>
      <p:sp>
        <p:nvSpPr>
          <p:cNvPr id="36" name="Text Placeholder 3">
            <a:extLst>
              <a:ext uri="{FF2B5EF4-FFF2-40B4-BE49-F238E27FC236}">
                <a16:creationId xmlns:a16="http://schemas.microsoft.com/office/drawing/2014/main" id="{59974140-1C49-A14E-96F4-B74CDFC7AA87}"/>
              </a:ext>
            </a:extLst>
          </p:cNvPr>
          <p:cNvSpPr>
            <a:spLocks noGrp="1"/>
          </p:cNvSpPr>
          <p:nvPr>
            <p:ph type="body" sz="half" idx="23" hasCustomPrompt="1"/>
          </p:nvPr>
        </p:nvSpPr>
        <p:spPr>
          <a:xfrm>
            <a:off x="5519300" y="2318299"/>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sp>
        <p:nvSpPr>
          <p:cNvPr id="37" name="Text Placeholder 3">
            <a:extLst>
              <a:ext uri="{FF2B5EF4-FFF2-40B4-BE49-F238E27FC236}">
                <a16:creationId xmlns:a16="http://schemas.microsoft.com/office/drawing/2014/main" id="{5A54D1A0-56C3-904B-A447-7E1980F40DB9}"/>
              </a:ext>
            </a:extLst>
          </p:cNvPr>
          <p:cNvSpPr>
            <a:spLocks noGrp="1"/>
          </p:cNvSpPr>
          <p:nvPr>
            <p:ph type="body" sz="half" idx="24" hasCustomPrompt="1"/>
          </p:nvPr>
        </p:nvSpPr>
        <p:spPr>
          <a:xfrm>
            <a:off x="7245431" y="2318299"/>
            <a:ext cx="1539000" cy="1965704"/>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pic>
        <p:nvPicPr>
          <p:cNvPr id="19" name="Kuva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8" name="Text Placeholder 3">
            <a:extLst>
              <a:ext uri="{FF2B5EF4-FFF2-40B4-BE49-F238E27FC236}">
                <a16:creationId xmlns:a16="http://schemas.microsoft.com/office/drawing/2014/main" id="{6B9DCDBA-301D-45E5-9477-380D1CB1B590}"/>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1569495062"/>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6. Closing slide - Red - Social media icons">
    <p:spTree>
      <p:nvGrpSpPr>
        <p:cNvPr id="1" name=""/>
        <p:cNvGrpSpPr/>
        <p:nvPr/>
      </p:nvGrpSpPr>
      <p:grpSpPr>
        <a:xfrm>
          <a:off x="0" y="0"/>
          <a:ext cx="0" cy="0"/>
          <a:chOff x="0" y="0"/>
          <a:chExt cx="0" cy="0"/>
        </a:xfrm>
      </p:grpSpPr>
      <p:sp>
        <p:nvSpPr>
          <p:cNvPr id="5" name="Rectangle 4"/>
          <p:cNvSpPr/>
          <p:nvPr userDrawn="1"/>
        </p:nvSpPr>
        <p:spPr>
          <a:xfrm>
            <a:off x="-16450" y="0"/>
            <a:ext cx="9160449"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20" dirty="0"/>
          </a:p>
        </p:txBody>
      </p:sp>
      <p:sp>
        <p:nvSpPr>
          <p:cNvPr id="12" name="Otsikko 1">
            <a:hlinkClick r:id="rId2"/>
          </p:cNvPr>
          <p:cNvSpPr txBox="1">
            <a:spLocks/>
          </p:cNvSpPr>
          <p:nvPr userDrawn="1"/>
        </p:nvSpPr>
        <p:spPr>
          <a:xfrm>
            <a:off x="3717365" y="3568351"/>
            <a:ext cx="1709289" cy="364352"/>
          </a:xfrm>
          <a:prstGeom prst="rect">
            <a:avLst/>
          </a:prstGeom>
        </p:spPr>
        <p:txBody>
          <a:bodyPr lIns="0" tIns="0" rIns="0" bIns="0" anchor="t" anchorCtr="0">
            <a:noAutofit/>
          </a:bodyPr>
          <a:lstStyle>
            <a:lvl1pPr algn="l" defTabSz="457200" rtl="0" eaLnBrk="0" fontAlgn="base" hangingPunct="0">
              <a:lnSpc>
                <a:spcPct val="85000"/>
              </a:lnSpc>
              <a:spcBef>
                <a:spcPct val="0"/>
              </a:spcBef>
              <a:spcAft>
                <a:spcPct val="0"/>
              </a:spcAft>
              <a:defRPr sz="3600" b="1" kern="1200" spc="-100">
                <a:solidFill>
                  <a:srgbClr val="FFFFFF"/>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algn="ctr"/>
            <a:r>
              <a:rPr lang="fi-FI" sz="1800" spc="0" baseline="0" dirty="0">
                <a:latin typeface="Arial"/>
                <a:cs typeface="Arial"/>
              </a:rPr>
              <a:t>aalto.fi</a:t>
            </a:r>
          </a:p>
        </p:txBody>
      </p:sp>
      <p:grpSp>
        <p:nvGrpSpPr>
          <p:cNvPr id="6" name="Group 5"/>
          <p:cNvGrpSpPr/>
          <p:nvPr userDrawn="1"/>
        </p:nvGrpSpPr>
        <p:grpSpPr>
          <a:xfrm>
            <a:off x="3094339" y="2868216"/>
            <a:ext cx="2955323" cy="353760"/>
            <a:chOff x="4484925" y="3824288"/>
            <a:chExt cx="3940431" cy="471680"/>
          </a:xfrm>
        </p:grpSpPr>
        <p:pic>
          <p:nvPicPr>
            <p:cNvPr id="7" name="Picture 6" descr="FB.png">
              <a:hlinkClick r:id="rId3"/>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4925" y="3824416"/>
              <a:ext cx="471553" cy="471552"/>
            </a:xfrm>
            <a:prstGeom prst="rect">
              <a:avLst/>
            </a:prstGeom>
          </p:spPr>
        </p:pic>
        <p:pic>
          <p:nvPicPr>
            <p:cNvPr id="8" name="Picture 7" descr="IG.png">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64502" y="3824416"/>
              <a:ext cx="471553" cy="471552"/>
            </a:xfrm>
            <a:prstGeom prst="rect">
              <a:avLst/>
            </a:prstGeom>
          </p:spPr>
        </p:pic>
        <p:pic>
          <p:nvPicPr>
            <p:cNvPr id="9" name="Picture 8" descr="Twitter.png">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844079" y="3824416"/>
              <a:ext cx="471553" cy="471552"/>
            </a:xfrm>
            <a:prstGeom prst="rect">
              <a:avLst/>
            </a:prstGeom>
          </p:spPr>
        </p:pic>
        <p:pic>
          <p:nvPicPr>
            <p:cNvPr id="10" name="Picture 9" descr="Youtube.png">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523656" y="3824416"/>
              <a:ext cx="471553" cy="471552"/>
            </a:xfrm>
            <a:prstGeom prst="rect">
              <a:avLst/>
            </a:prstGeom>
          </p:spPr>
        </p:pic>
        <p:pic>
          <p:nvPicPr>
            <p:cNvPr id="11" name="Picture 10" descr="SC.png">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203233" y="3824416"/>
              <a:ext cx="471553" cy="471552"/>
            </a:xfrm>
            <a:prstGeom prst="rect">
              <a:avLst/>
            </a:prstGeom>
          </p:spPr>
        </p:pic>
        <p:pic>
          <p:nvPicPr>
            <p:cNvPr id="3" name="Picture 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882812" y="3824288"/>
              <a:ext cx="542544" cy="457200"/>
            </a:xfrm>
            <a:prstGeom prst="rect">
              <a:avLst/>
            </a:prstGeom>
          </p:spPr>
        </p:pic>
      </p:grpSp>
      <p:sp>
        <p:nvSpPr>
          <p:cNvPr id="16" name="Tekstin paikkamerkki 2">
            <a:extLst>
              <a:ext uri="{FF2B5EF4-FFF2-40B4-BE49-F238E27FC236}">
                <a16:creationId xmlns:a16="http://schemas.microsoft.com/office/drawing/2014/main" id="{B67CF44B-9D5D-46DC-B676-986416FB8384}"/>
              </a:ext>
            </a:extLst>
          </p:cNvPr>
          <p:cNvSpPr>
            <a:spLocks noGrp="1"/>
          </p:cNvSpPr>
          <p:nvPr>
            <p:ph type="body" sz="quarter" idx="10" hasCustomPrompt="1"/>
          </p:nvPr>
        </p:nvSpPr>
        <p:spPr>
          <a:xfrm>
            <a:off x="1576388" y="1364641"/>
            <a:ext cx="5995987" cy="1306097"/>
          </a:xfrm>
          <a:prstGeom prst="rect">
            <a:avLst/>
          </a:prstGeom>
        </p:spPr>
        <p:txBody>
          <a:bodyPr anchor="b" anchorCtr="0"/>
          <a:lstStyle>
            <a:lvl1pPr marL="0" indent="0" algn="ctr">
              <a:lnSpc>
                <a:spcPct val="100000"/>
              </a:lnSpc>
              <a:buNone/>
              <a:defRPr sz="4000" b="1">
                <a:solidFill>
                  <a:srgbClr val="FFFFFF"/>
                </a:solidFill>
                <a:latin typeface="+mj-lt"/>
              </a:defRPr>
            </a:lvl1pPr>
            <a:lvl2pPr marL="342900" indent="0">
              <a:buNone/>
              <a:defRPr/>
            </a:lvl2pPr>
          </a:lstStyle>
          <a:p>
            <a:pPr lvl="0"/>
            <a:r>
              <a:rPr lang="fi-FI" dirty="0"/>
              <a:t>Add text</a:t>
            </a:r>
          </a:p>
        </p:txBody>
      </p:sp>
      <p:pic>
        <p:nvPicPr>
          <p:cNvPr id="17" name="Kuva 1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4232209968"/>
      </p:ext>
    </p:extLst>
  </p:cSld>
  <p:clrMapOvr>
    <a:masterClrMapping/>
  </p:clrMapOvr>
  <p:extLst>
    <p:ext uri="{DCECCB84-F9BA-43D5-87BE-67443E8EF086}">
      <p15:sldGuideLst xmlns:p15="http://schemas.microsoft.com/office/powerpoint/2012/main">
        <p15:guide id="1" orient="horz" pos="1807">
          <p15:clr>
            <a:srgbClr val="FBAE40"/>
          </p15:clr>
        </p15:guide>
        <p15:guide id="2" orient="horz" pos="20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6" name="Picture Placeholder 2"/>
          <p:cNvSpPr>
            <a:spLocks noGrp="1"/>
          </p:cNvSpPr>
          <p:nvPr>
            <p:ph type="pic" idx="11" hasCustomPrompt="1"/>
          </p:nvPr>
        </p:nvSpPr>
        <p:spPr>
          <a:xfrm>
            <a:off x="4710793" y="0"/>
            <a:ext cx="4433207"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br>
              <a:rPr lang="en-US" dirty="0"/>
            </a:br>
            <a:br>
              <a:rPr lang="en-US"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sp>
        <p:nvSpPr>
          <p:cNvPr id="9"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pic>
        <p:nvPicPr>
          <p:cNvPr id="7" name="Kuva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62416079"/>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33917" r="16133"/>
          <a:stretch/>
        </p:blipFill>
        <p:spPr>
          <a:xfrm>
            <a:off x="4576713" y="0"/>
            <a:ext cx="4567287" cy="5143500"/>
          </a:xfrm>
          <a:prstGeom prst="rect">
            <a:avLst/>
          </a:prstGeom>
        </p:spPr>
      </p:pic>
      <p:pic>
        <p:nvPicPr>
          <p:cNvPr id="17" name="Kuva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65962614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20670" r="20132"/>
          <a:stretch/>
        </p:blipFill>
        <p:spPr>
          <a:xfrm>
            <a:off x="4572000"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7"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8"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328690051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3" name="Kuva 2"/>
          <p:cNvPicPr>
            <a:picLocks noChangeAspect="1"/>
          </p:cNvPicPr>
          <p:nvPr userDrawn="1"/>
        </p:nvPicPr>
        <p:blipFill rotWithShape="1">
          <a:blip r:embed="rId2">
            <a:extLst>
              <a:ext uri="{28A0092B-C50C-407E-A947-70E740481C1C}">
                <a14:useLocalDpi xmlns:a14="http://schemas.microsoft.com/office/drawing/2010/main" val="0"/>
              </a:ext>
            </a:extLst>
          </a:blip>
          <a:srcRect l="8677" t="22626" r="52630"/>
          <a:stretch/>
        </p:blipFill>
        <p:spPr>
          <a:xfrm>
            <a:off x="4576712"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3"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7"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6" name="Kuva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1144494441"/>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2" name="Kuva 11"/>
          <p:cNvPicPr>
            <a:picLocks noChangeAspect="1"/>
          </p:cNvPicPr>
          <p:nvPr userDrawn="1"/>
        </p:nvPicPr>
        <p:blipFill rotWithShape="1">
          <a:blip r:embed="rId2">
            <a:extLst>
              <a:ext uri="{28A0092B-C50C-407E-A947-70E740481C1C}">
                <a14:useLocalDpi xmlns:a14="http://schemas.microsoft.com/office/drawing/2010/main" val="0"/>
              </a:ext>
            </a:extLst>
          </a:blip>
          <a:srcRect l="31644" r="19861"/>
          <a:stretch/>
        </p:blipFill>
        <p:spPr>
          <a:xfrm>
            <a:off x="4715165" y="0"/>
            <a:ext cx="4428835"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623361296"/>
      </p:ext>
    </p:extLst>
  </p:cSld>
  <p:clrMapOvr>
    <a:masterClrMapping/>
  </p:clrMapOvr>
  <p:extLst>
    <p:ext uri="{DCECCB84-F9BA-43D5-87BE-67443E8EF086}">
      <p15:sldGuideLst xmlns:p15="http://schemas.microsoft.com/office/powerpoint/2012/main">
        <p15:guide id="1" pos="297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rotWithShape="1">
          <a:blip r:embed="rId2">
            <a:extLst>
              <a:ext uri="{28A0092B-C50C-407E-A947-70E740481C1C}">
                <a14:useLocalDpi xmlns:a14="http://schemas.microsoft.com/office/drawing/2010/main" val="0"/>
              </a:ext>
            </a:extLst>
          </a:blip>
          <a:srcRect l="33485" r="9199"/>
          <a:stretch/>
        </p:blipFill>
        <p:spPr>
          <a:xfrm>
            <a:off x="4722829" y="0"/>
            <a:ext cx="4421171"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991104278"/>
      </p:ext>
    </p:extLst>
  </p:cSld>
  <p:clrMapOvr>
    <a:masterClrMapping/>
  </p:clrMapOvr>
  <p:extLst>
    <p:ext uri="{DCECCB84-F9BA-43D5-87BE-67443E8EF086}">
      <p15:sldGuideLst xmlns:p15="http://schemas.microsoft.com/office/powerpoint/2012/main">
        <p15:guide id="1" pos="297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consequ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3" name="Kuva 12"/>
          <p:cNvPicPr>
            <a:picLocks noChangeAspect="1"/>
          </p:cNvPicPr>
          <p:nvPr userDrawn="1"/>
        </p:nvPicPr>
        <p:blipFill rotWithShape="1">
          <a:blip r:embed="rId2">
            <a:extLst>
              <a:ext uri="{28A0092B-C50C-407E-A947-70E740481C1C}">
                <a14:useLocalDpi xmlns:a14="http://schemas.microsoft.com/office/drawing/2010/main" val="0"/>
              </a:ext>
            </a:extLst>
          </a:blip>
          <a:srcRect l="17808" r="17631"/>
          <a:stretch/>
        </p:blipFill>
        <p:spPr>
          <a:xfrm>
            <a:off x="4713402" y="0"/>
            <a:ext cx="4430598"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222706376"/>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4231" y="2301720"/>
            <a:ext cx="7072852" cy="1944216"/>
          </a:xfrm>
        </p:spPr>
        <p:txBody>
          <a:bodyPr/>
          <a:lstStyle>
            <a:lvl1pPr marL="0" indent="0" algn="l">
              <a:buNone/>
              <a:defRPr sz="3299">
                <a:solidFill>
                  <a:schemeClr val="tx1"/>
                </a:solidFill>
              </a:defRPr>
            </a:lvl1pPr>
            <a:lvl2pPr marL="342797" indent="0" algn="ctr">
              <a:buNone/>
              <a:defRPr>
                <a:solidFill>
                  <a:schemeClr val="tx1">
                    <a:tint val="75000"/>
                  </a:schemeClr>
                </a:solidFill>
              </a:defRPr>
            </a:lvl2pPr>
            <a:lvl3pPr marL="685595" indent="0" algn="ctr">
              <a:buNone/>
              <a:defRPr>
                <a:solidFill>
                  <a:schemeClr val="tx1">
                    <a:tint val="75000"/>
                  </a:schemeClr>
                </a:solidFill>
              </a:defRPr>
            </a:lvl3pPr>
            <a:lvl4pPr marL="1028392" indent="0" algn="ctr">
              <a:buNone/>
              <a:defRPr>
                <a:solidFill>
                  <a:schemeClr val="tx1">
                    <a:tint val="75000"/>
                  </a:schemeClr>
                </a:solidFill>
              </a:defRPr>
            </a:lvl4pPr>
            <a:lvl5pPr marL="1371188" indent="0" algn="ctr">
              <a:buNone/>
              <a:defRPr>
                <a:solidFill>
                  <a:schemeClr val="tx1">
                    <a:tint val="75000"/>
                  </a:schemeClr>
                </a:solidFill>
              </a:defRPr>
            </a:lvl5pPr>
            <a:lvl6pPr marL="1713986" indent="0" algn="ctr">
              <a:buNone/>
              <a:defRPr>
                <a:solidFill>
                  <a:schemeClr val="tx1">
                    <a:tint val="75000"/>
                  </a:schemeClr>
                </a:solidFill>
              </a:defRPr>
            </a:lvl6pPr>
            <a:lvl7pPr marL="2056783" indent="0" algn="ctr">
              <a:buNone/>
              <a:defRPr>
                <a:solidFill>
                  <a:schemeClr val="tx1">
                    <a:tint val="75000"/>
                  </a:schemeClr>
                </a:solidFill>
              </a:defRPr>
            </a:lvl7pPr>
            <a:lvl8pPr marL="2399580" indent="0" algn="ctr">
              <a:buNone/>
              <a:defRPr>
                <a:solidFill>
                  <a:schemeClr val="tx1">
                    <a:tint val="75000"/>
                  </a:schemeClr>
                </a:solidFill>
              </a:defRPr>
            </a:lvl8pPr>
            <a:lvl9pPr marL="2742377" indent="0" algn="ctr">
              <a:buNone/>
              <a:defRPr>
                <a:solidFill>
                  <a:schemeClr val="tx1">
                    <a:tint val="75000"/>
                  </a:schemeClr>
                </a:solidFill>
              </a:defRPr>
            </a:lvl9pPr>
          </a:lstStyle>
          <a:p>
            <a:r>
              <a:rPr lang="en-US" dirty="0"/>
              <a:t>Click to add presentation subtitle</a:t>
            </a:r>
          </a:p>
        </p:txBody>
      </p:sp>
      <p:sp>
        <p:nvSpPr>
          <p:cNvPr id="11" name="Title 1"/>
          <p:cNvSpPr>
            <a:spLocks noGrp="1"/>
          </p:cNvSpPr>
          <p:nvPr>
            <p:ph type="title" hasCustomPrompt="1"/>
          </p:nvPr>
        </p:nvSpPr>
        <p:spPr>
          <a:xfrm>
            <a:off x="0" y="573881"/>
            <a:ext cx="6920604" cy="602326"/>
          </a:xfrm>
        </p:spPr>
        <p:txBody>
          <a:bodyPr wrap="none"/>
          <a:lstStyle>
            <a:lvl1pPr>
              <a:defRPr baseline="0"/>
            </a:lvl1pPr>
          </a:lstStyle>
          <a:p>
            <a:r>
              <a:rPr lang="en-US" dirty="0"/>
              <a:t>Click to add presentation title</a:t>
            </a:r>
          </a:p>
        </p:txBody>
      </p:sp>
      <p:sp>
        <p:nvSpPr>
          <p:cNvPr id="2" name="Date Placeholder 1"/>
          <p:cNvSpPr>
            <a:spLocks noGrp="1"/>
          </p:cNvSpPr>
          <p:nvPr>
            <p:ph type="dt" sz="half" idx="10"/>
          </p:nvPr>
        </p:nvSpPr>
        <p:spPr/>
        <p:txBody>
          <a:bodyPr/>
          <a:lstStyle>
            <a:lvl1pPr>
              <a:defRPr>
                <a:noFill/>
              </a:defRPr>
            </a:lvl1pPr>
          </a:lstStyle>
          <a:p>
            <a:fld id="{2BE901F9-7290-474C-84D9-D2AF27877403}" type="datetime1">
              <a:rPr lang="fi-FI" smtClean="0"/>
              <a:t>6.11.2023</a:t>
            </a:fld>
            <a:endParaRPr lang="en-US" dirty="0"/>
          </a:p>
        </p:txBody>
      </p:sp>
      <p:sp>
        <p:nvSpPr>
          <p:cNvPr id="4" name="Footer Placeholder 3"/>
          <p:cNvSpPr>
            <a:spLocks noGrp="1"/>
          </p:cNvSpPr>
          <p:nvPr>
            <p:ph type="ftr" sz="quarter" idx="11"/>
          </p:nvPr>
        </p:nvSpPr>
        <p:spPr/>
        <p:txBody>
          <a:bodyPr/>
          <a:lstStyle/>
          <a:p>
            <a:r>
              <a:rPr lang="en-US"/>
              <a:t>© Aalto University Executive Education</a:t>
            </a:r>
            <a:endParaRPr lang="en-US" dirty="0"/>
          </a:p>
        </p:txBody>
      </p:sp>
      <p:sp>
        <p:nvSpPr>
          <p:cNvPr id="5" name="Slide Number Placeholder 4"/>
          <p:cNvSpPr>
            <a:spLocks noGrp="1"/>
          </p:cNvSpPr>
          <p:nvPr>
            <p:ph type="sldNum" sz="quarter" idx="12"/>
          </p:nvPr>
        </p:nvSpPr>
        <p:spPr/>
        <p:txBody>
          <a:bodyPr/>
          <a:lstStyle>
            <a:lvl1pPr>
              <a:defRPr>
                <a:no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86075261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idx="1" hasCustomPrompt="1"/>
          </p:nvPr>
        </p:nvSpPr>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BBED7B8-6E10-436C-840F-8E9F711A0369}"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30720263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secHead" preserve="1">
  <p:cSld name="Section Head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2D335028-5C11-45D8-9C49-9C21ECA166FC}" type="datetime1">
              <a:rPr lang="fi-FI" smtClean="0"/>
              <a:t>6.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7"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332246201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secHead" preserve="1">
  <p:cSld name="Section Header 2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9CED520D-8421-4CF6-AF1D-0C747F0DA6FC}" type="datetime1">
              <a:rPr lang="fi-FI" smtClean="0"/>
              <a:t>6.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368124535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Divider - Red">
    <p:spTree>
      <p:nvGrpSpPr>
        <p:cNvPr id="1" name=""/>
        <p:cNvGrpSpPr/>
        <p:nvPr/>
      </p:nvGrpSpPr>
      <p:grpSpPr>
        <a:xfrm>
          <a:off x="0" y="0"/>
          <a:ext cx="0" cy="0"/>
          <a:chOff x="0" y="0"/>
          <a:chExt cx="0" cy="0"/>
        </a:xfrm>
      </p:grpSpPr>
      <p:sp>
        <p:nvSpPr>
          <p:cNvPr id="5"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755650" y="1759425"/>
            <a:ext cx="7669159" cy="1352265"/>
          </a:xfrm>
          <a:prstGeom prst="rect">
            <a:avLst/>
          </a:prstGeom>
        </p:spPr>
        <p:txBody>
          <a:bodyPr lIns="0" rIns="0"/>
          <a:lstStyle>
            <a:lvl1pPr marL="0" indent="0" algn="l">
              <a:lnSpc>
                <a:spcPct val="100000"/>
              </a:lnSpc>
              <a:spcBef>
                <a:spcPts val="0"/>
              </a:spcBef>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ivider – Headline</a:t>
            </a:r>
          </a:p>
        </p:txBody>
      </p:sp>
      <p:sp>
        <p:nvSpPr>
          <p:cNvPr id="2" name="Päivämäärän paikkamerkki 1">
            <a:extLst>
              <a:ext uri="{FF2B5EF4-FFF2-40B4-BE49-F238E27FC236}">
                <a16:creationId xmlns:a16="http://schemas.microsoft.com/office/drawing/2014/main" id="{37C6C481-D72C-4B89-AA19-AC91EB21FEFA}"/>
              </a:ext>
            </a:extLst>
          </p:cNvPr>
          <p:cNvSpPr>
            <a:spLocks noGrp="1"/>
          </p:cNvSpPr>
          <p:nvPr>
            <p:ph type="dt" sz="half" idx="12"/>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2A81A4FB-6563-4C02-8A9B-51D830F1EAB1}"/>
              </a:ext>
            </a:extLst>
          </p:cNvPr>
          <p:cNvSpPr>
            <a:spLocks noGrp="1"/>
          </p:cNvSpPr>
          <p:nvPr>
            <p:ph type="ftr" sz="quarter" idx="13"/>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1F6A7C93-158F-48BA-8E95-EC2109A4B4DE}"/>
              </a:ext>
            </a:extLst>
          </p:cNvPr>
          <p:cNvSpPr>
            <a:spLocks noGrp="1"/>
          </p:cNvSpPr>
          <p:nvPr>
            <p:ph type="sldNum" sz="quarter" idx="14"/>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0" name="Kuva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803549555"/>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secHead" preserve="1">
  <p:cSld name="Section Header 3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B8709EDD-CFFC-4EFE-A246-61EE6663AA23}" type="datetime1">
              <a:rPr lang="fi-FI" smtClean="0"/>
              <a:t>6.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132585774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secHead" preserve="1">
  <p:cSld name="Section Header 4t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4D5D504E-EDA1-4FB2-9CCE-0AD2A7B2CDC2}" type="datetime1">
              <a:rPr lang="fi-FI" smtClean="0"/>
              <a:t>6.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7"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279189687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obj" preserve="1">
  <p:cSld name="Introductio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283"/>
            <a:ext cx="7487081" cy="2538413"/>
          </a:xfrm>
          <a:solidFill>
            <a:srgbClr val="B1059D"/>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sp>
        <p:nvSpPr>
          <p:cNvPr id="7" name="Date Placeholder 6"/>
          <p:cNvSpPr>
            <a:spLocks noGrp="1"/>
          </p:cNvSpPr>
          <p:nvPr>
            <p:ph type="dt" sz="half" idx="10"/>
          </p:nvPr>
        </p:nvSpPr>
        <p:spPr/>
        <p:txBody>
          <a:bodyPr/>
          <a:lstStyle>
            <a:lvl1pPr>
              <a:defRPr>
                <a:solidFill>
                  <a:schemeClr val="bg1"/>
                </a:solidFill>
              </a:defRPr>
            </a:lvl1pPr>
          </a:lstStyle>
          <a:p>
            <a:fld id="{5F1BDA99-5F31-43AE-BDD2-CFE4F36082F2}" type="datetime1">
              <a:rPr lang="fi-FI" smtClean="0"/>
              <a:t>6.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7" name="Group 16"/>
          <p:cNvGrpSpPr>
            <a:grpSpLocks noChangeAspect="1"/>
          </p:cNvGrpSpPr>
          <p:nvPr userDrawn="1"/>
        </p:nvGrpSpPr>
        <p:grpSpPr>
          <a:xfrm>
            <a:off x="7595548" y="249492"/>
            <a:ext cx="1294117" cy="199800"/>
            <a:chOff x="4067175" y="114301"/>
            <a:chExt cx="3630613" cy="560388"/>
          </a:xfrm>
          <a:solidFill>
            <a:schemeClr val="bg1"/>
          </a:solidFill>
          <a:effectLst>
            <a:outerShdw blurRad="190500" algn="ctr" rotWithShape="0">
              <a:prstClr val="black">
                <a:alpha val="30000"/>
              </a:prstClr>
            </a:outerShdw>
          </a:effectLst>
        </p:grpSpPr>
        <p:sp>
          <p:nvSpPr>
            <p:cNvPr id="18"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9"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0"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1"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138585907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obj" preserve="1">
  <p:cSld name="Introduction CYA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00B0CA"/>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4"/>
            <a:ext cx="7487081" cy="2538022"/>
          </a:xfrm>
          <a:solidFill>
            <a:srgbClr val="00B0CA"/>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7" name="Date Placeholder 6"/>
          <p:cNvSpPr>
            <a:spLocks noGrp="1"/>
          </p:cNvSpPr>
          <p:nvPr>
            <p:ph type="dt" sz="half" idx="10"/>
          </p:nvPr>
        </p:nvSpPr>
        <p:spPr/>
        <p:txBody>
          <a:bodyPr/>
          <a:lstStyle>
            <a:lvl1pPr>
              <a:defRPr>
                <a:solidFill>
                  <a:schemeClr val="bg1"/>
                </a:solidFill>
              </a:defRPr>
            </a:lvl1pPr>
          </a:lstStyle>
          <a:p>
            <a:fld id="{3CD59280-13FD-49DF-885F-8A3B48E3246F}" type="datetime1">
              <a:rPr lang="fi-FI" smtClean="0"/>
              <a:t>6.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21940932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obj" preserve="1">
  <p:cSld name="Introduction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FF7900"/>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4"/>
            <a:ext cx="7487081" cy="2538022"/>
          </a:xfrm>
          <a:solidFill>
            <a:srgbClr val="FF7900"/>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7" name="Date Placeholder 6"/>
          <p:cNvSpPr>
            <a:spLocks noGrp="1"/>
          </p:cNvSpPr>
          <p:nvPr>
            <p:ph type="dt" sz="half" idx="10"/>
          </p:nvPr>
        </p:nvSpPr>
        <p:spPr/>
        <p:txBody>
          <a:bodyPr/>
          <a:lstStyle>
            <a:lvl1pPr>
              <a:defRPr>
                <a:solidFill>
                  <a:schemeClr val="bg1"/>
                </a:solidFill>
              </a:defRPr>
            </a:lvl1pPr>
          </a:lstStyle>
          <a:p>
            <a:fld id="{BFC846AA-585E-4E2B-956E-249E469F82E7}" type="datetime1">
              <a:rPr lang="fi-FI" smtClean="0"/>
              <a:t>6.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289409255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obj" preserve="1">
  <p:cSld name="Introduction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69BE28"/>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4"/>
            <a:ext cx="7487081" cy="2538022"/>
          </a:xfrm>
          <a:solidFill>
            <a:srgbClr val="69BE28"/>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7" name="Date Placeholder 6"/>
          <p:cNvSpPr>
            <a:spLocks noGrp="1"/>
          </p:cNvSpPr>
          <p:nvPr>
            <p:ph type="dt" sz="half" idx="10"/>
          </p:nvPr>
        </p:nvSpPr>
        <p:spPr/>
        <p:txBody>
          <a:bodyPr/>
          <a:lstStyle>
            <a:lvl1pPr>
              <a:defRPr>
                <a:solidFill>
                  <a:schemeClr val="bg1"/>
                </a:solidFill>
              </a:defRPr>
            </a:lvl1pPr>
          </a:lstStyle>
          <a:p>
            <a:fld id="{874C9300-8D31-40BF-9AA5-957D6CB64534}" type="datetime1">
              <a:rPr lang="fi-FI" smtClean="0"/>
              <a:t>6.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46089801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sz="half" idx="1" hasCustomPrompt="1"/>
          </p:nvPr>
        </p:nvSpPr>
        <p:spPr>
          <a:xfrm>
            <a:off x="414231" y="1869282"/>
            <a:ext cx="4049786" cy="2538413"/>
          </a:xfrm>
        </p:spPr>
        <p:txBody>
          <a:bodyPr/>
          <a:lstStyle>
            <a:lvl1pPr>
              <a:defRPr sz="1499"/>
            </a:lvl1pPr>
            <a:lvl2pPr>
              <a:defRPr sz="1349"/>
            </a:lvl2pPr>
            <a:lvl3pPr>
              <a:defRPr sz="1200"/>
            </a:lvl3pPr>
            <a:lvl4pPr>
              <a:defRPr sz="1050"/>
            </a:lvl4pPr>
            <a:lvl5pPr>
              <a:defRPr sz="1050"/>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79984" y="1869282"/>
            <a:ext cx="4049787" cy="2538413"/>
          </a:xfrm>
        </p:spPr>
        <p:txBody>
          <a:bodyPr/>
          <a:lstStyle>
            <a:lvl1pPr>
              <a:defRPr sz="1499"/>
            </a:lvl1pPr>
            <a:lvl2pPr>
              <a:defRPr sz="1349"/>
            </a:lvl2pPr>
            <a:lvl3pPr>
              <a:defRPr sz="1200"/>
            </a:lvl3pPr>
            <a:lvl4pPr>
              <a:defRPr sz="1050"/>
            </a:lvl4pPr>
            <a:lvl5pPr>
              <a:defRPr sz="1050"/>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F842D18A-B818-4014-96A3-9460F9384D50}" type="datetime1">
              <a:rPr lang="fi-FI" smtClean="0"/>
              <a:t>6.11.2023</a:t>
            </a:fld>
            <a:endParaRPr lang="en-US"/>
          </a:p>
        </p:txBody>
      </p:sp>
      <p:sp>
        <p:nvSpPr>
          <p:cNvPr id="6" name="Footer Placeholder 5"/>
          <p:cNvSpPr>
            <a:spLocks noGrp="1"/>
          </p:cNvSpPr>
          <p:nvPr>
            <p:ph type="ftr" sz="quarter" idx="11"/>
          </p:nvPr>
        </p:nvSpPr>
        <p:spPr/>
        <p:txBody>
          <a:body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78893494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14231" y="1545431"/>
            <a:ext cx="4049786" cy="323850"/>
          </a:xfrm>
        </p:spPr>
        <p:txBody>
          <a:bodyPr anchor="b"/>
          <a:lstStyle>
            <a:lvl1pPr marL="0" indent="0">
              <a:buNone/>
              <a:defRPr sz="1349" b="0">
                <a:solidFill>
                  <a:schemeClr val="accent2"/>
                </a:solidFill>
              </a:defRPr>
            </a:lvl1pPr>
            <a:lvl2pPr marL="342797" indent="0">
              <a:buNone/>
              <a:defRPr sz="1499" b="1"/>
            </a:lvl2pPr>
            <a:lvl3pPr marL="685595" indent="0">
              <a:buNone/>
              <a:defRPr sz="1349" b="1"/>
            </a:lvl3pPr>
            <a:lvl4pPr marL="1028392" indent="0">
              <a:buNone/>
              <a:defRPr sz="1200" b="1"/>
            </a:lvl4pPr>
            <a:lvl5pPr marL="1371188" indent="0">
              <a:buNone/>
              <a:defRPr sz="1200" b="1"/>
            </a:lvl5pPr>
            <a:lvl6pPr marL="1713986" indent="0">
              <a:buNone/>
              <a:defRPr sz="1200" b="1"/>
            </a:lvl6pPr>
            <a:lvl7pPr marL="2056783" indent="0">
              <a:buNone/>
              <a:defRPr sz="1200" b="1"/>
            </a:lvl7pPr>
            <a:lvl8pPr marL="2399580" indent="0">
              <a:buNone/>
              <a:defRPr sz="1200" b="1"/>
            </a:lvl8pPr>
            <a:lvl9pPr marL="2742377" indent="0">
              <a:buNone/>
              <a:defRPr sz="1200" b="1"/>
            </a:lvl9pPr>
          </a:lstStyle>
          <a:p>
            <a:pPr lvl="0"/>
            <a:r>
              <a:rPr lang="en-US" dirty="0"/>
              <a:t>Click to add text</a:t>
            </a:r>
          </a:p>
        </p:txBody>
      </p:sp>
      <p:sp>
        <p:nvSpPr>
          <p:cNvPr id="4" name="Content Placeholder 3"/>
          <p:cNvSpPr>
            <a:spLocks noGrp="1"/>
          </p:cNvSpPr>
          <p:nvPr>
            <p:ph sz="half" idx="2" hasCustomPrompt="1"/>
          </p:nvPr>
        </p:nvSpPr>
        <p:spPr>
          <a:xfrm>
            <a:off x="414231" y="1869282"/>
            <a:ext cx="4049786" cy="2538413"/>
          </a:xfrm>
        </p:spPr>
        <p:txBody>
          <a:bodyPr/>
          <a:lstStyle>
            <a:lvl1pPr>
              <a:defRPr sz="1499"/>
            </a:lvl1pPr>
            <a:lvl2pPr>
              <a:defRPr sz="1349"/>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679984" y="1545431"/>
            <a:ext cx="4049787" cy="323850"/>
          </a:xfrm>
        </p:spPr>
        <p:txBody>
          <a:bodyPr anchor="b"/>
          <a:lstStyle>
            <a:lvl1pPr marL="0" indent="0">
              <a:buNone/>
              <a:defRPr sz="1349" b="0">
                <a:solidFill>
                  <a:schemeClr val="accent2"/>
                </a:solidFill>
              </a:defRPr>
            </a:lvl1pPr>
            <a:lvl2pPr marL="342797" indent="0">
              <a:buNone/>
              <a:defRPr sz="1499" b="1"/>
            </a:lvl2pPr>
            <a:lvl3pPr marL="685595" indent="0">
              <a:buNone/>
              <a:defRPr sz="1349" b="1"/>
            </a:lvl3pPr>
            <a:lvl4pPr marL="1028392" indent="0">
              <a:buNone/>
              <a:defRPr sz="1200" b="1"/>
            </a:lvl4pPr>
            <a:lvl5pPr marL="1371188" indent="0">
              <a:buNone/>
              <a:defRPr sz="1200" b="1"/>
            </a:lvl5pPr>
            <a:lvl6pPr marL="1713986" indent="0">
              <a:buNone/>
              <a:defRPr sz="1200" b="1"/>
            </a:lvl6pPr>
            <a:lvl7pPr marL="2056783" indent="0">
              <a:buNone/>
              <a:defRPr sz="1200" b="1"/>
            </a:lvl7pPr>
            <a:lvl8pPr marL="2399580" indent="0">
              <a:buNone/>
              <a:defRPr sz="1200" b="1"/>
            </a:lvl8pPr>
            <a:lvl9pPr marL="2742377" indent="0">
              <a:buNone/>
              <a:defRPr sz="1200" b="1"/>
            </a:lvl9pPr>
          </a:lstStyle>
          <a:p>
            <a:pPr lvl="0"/>
            <a:r>
              <a:rPr lang="en-US" dirty="0"/>
              <a:t>Click to add text</a:t>
            </a:r>
          </a:p>
        </p:txBody>
      </p:sp>
      <p:sp>
        <p:nvSpPr>
          <p:cNvPr id="6" name="Content Placeholder 5"/>
          <p:cNvSpPr>
            <a:spLocks noGrp="1"/>
          </p:cNvSpPr>
          <p:nvPr>
            <p:ph sz="quarter" idx="4" hasCustomPrompt="1"/>
          </p:nvPr>
        </p:nvSpPr>
        <p:spPr>
          <a:xfrm>
            <a:off x="4679984" y="1869282"/>
            <a:ext cx="4049787" cy="2538413"/>
          </a:xfrm>
        </p:spPr>
        <p:txBody>
          <a:bodyPr/>
          <a:lstStyle>
            <a:lvl1pPr>
              <a:defRPr sz="1499"/>
            </a:lvl1pPr>
            <a:lvl2pPr>
              <a:defRPr sz="1349"/>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84BA04C4-8537-40D1-9461-53B174481FF5}" type="datetime1">
              <a:rPr lang="fi-FI" smtClean="0"/>
              <a:t>6.11.2023</a:t>
            </a:fld>
            <a:endParaRPr lang="en-US"/>
          </a:p>
        </p:txBody>
      </p:sp>
      <p:sp>
        <p:nvSpPr>
          <p:cNvPr id="8" name="Footer Placeholder 7"/>
          <p:cNvSpPr>
            <a:spLocks noGrp="1"/>
          </p:cNvSpPr>
          <p:nvPr>
            <p:ph type="ftr" sz="quarter" idx="11"/>
          </p:nvPr>
        </p:nvSpPr>
        <p:spPr/>
        <p:txBody>
          <a:bodyPr/>
          <a:lstStyle/>
          <a:p>
            <a:r>
              <a:rPr lang="en-US"/>
              <a:t>© Aalto University Executive Education</a:t>
            </a:r>
          </a:p>
        </p:txBody>
      </p:sp>
      <p:sp>
        <p:nvSpPr>
          <p:cNvPr id="9" name="Slide Number Placeholder 8"/>
          <p:cNvSpPr>
            <a:spLocks noGrp="1"/>
          </p:cNvSpPr>
          <p:nvPr>
            <p:ph type="sldNum" sz="quarter" idx="12"/>
          </p:nvPr>
        </p:nvSpPr>
        <p:spPr/>
        <p:txBody>
          <a:bodyPr/>
          <a:lstStyle/>
          <a:p>
            <a:fld id="{FCCA222D-FCF7-48C1-A274-EBDDEF75DC66}" type="slidenum">
              <a:rPr lang="en-US" smtClean="0"/>
              <a:t>‹#›</a:t>
            </a:fld>
            <a:endParaRPr lang="en-US"/>
          </a:p>
        </p:txBody>
      </p:sp>
      <p:sp>
        <p:nvSpPr>
          <p:cNvPr id="10" name="Title 1"/>
          <p:cNvSpPr>
            <a:spLocks noGrp="1"/>
          </p:cNvSpPr>
          <p:nvPr>
            <p:ph type="title" hasCustomPrompt="1"/>
          </p:nvPr>
        </p:nvSpPr>
        <p:spPr>
          <a:xfrm>
            <a:off x="0" y="573882"/>
            <a:ext cx="8729771" cy="456902"/>
          </a:xfrm>
          <a:solidFill>
            <a:schemeClr val="accent2"/>
          </a:solidFill>
        </p:spPr>
        <p:txBody>
          <a:bodyPr/>
          <a:lstStyle>
            <a:lvl1pPr>
              <a:defRPr sz="2249"/>
            </a:lvl1pPr>
          </a:lstStyle>
          <a:p>
            <a:r>
              <a:rPr lang="en-US" dirty="0"/>
              <a:t>Click to add title</a:t>
            </a:r>
          </a:p>
        </p:txBody>
      </p:sp>
    </p:spTree>
    <p:extLst>
      <p:ext uri="{BB962C8B-B14F-4D97-AF65-F5344CB8AC3E}">
        <p14:creationId xmlns:p14="http://schemas.microsoft.com/office/powerpoint/2010/main" val="134541522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obj" preserve="1">
  <p:cSld name="Small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3" name="Content Placeholder 2"/>
          <p:cNvSpPr>
            <a:spLocks noGrp="1"/>
          </p:cNvSpPr>
          <p:nvPr>
            <p:ph idx="1" hasCustomPrompt="1"/>
          </p:nvPr>
        </p:nvSpPr>
        <p:spPr>
          <a:xfrm>
            <a:off x="414230" y="1545432"/>
            <a:ext cx="8315541"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C2D0442-C4A3-4453-9BE2-10F92029009F}"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13273063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Date Placeholder 2"/>
          <p:cNvSpPr>
            <a:spLocks noGrp="1"/>
          </p:cNvSpPr>
          <p:nvPr>
            <p:ph type="dt" sz="half" idx="10"/>
          </p:nvPr>
        </p:nvSpPr>
        <p:spPr/>
        <p:txBody>
          <a:bodyPr/>
          <a:lstStyle/>
          <a:p>
            <a:fld id="{672666DA-8E81-4CE6-9981-96AB2942B629}" type="datetime1">
              <a:rPr lang="fi-FI" smtClean="0"/>
              <a:t>6.11.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88144236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 Body slide - Text - Red title left">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287339" y="2615909"/>
            <a:ext cx="3015456" cy="1645144"/>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1" name="Text Placeholder 3"/>
          <p:cNvSpPr>
            <a:spLocks noGrp="1"/>
          </p:cNvSpPr>
          <p:nvPr>
            <p:ph type="body" sz="half" idx="10" hasCustomPrompt="1"/>
          </p:nvPr>
        </p:nvSpPr>
        <p:spPr>
          <a:xfrm>
            <a:off x="287339" y="401354"/>
            <a:ext cx="3015456" cy="1747969"/>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21" name="Text Placeholder 3"/>
          <p:cNvSpPr>
            <a:spLocks noGrp="1"/>
          </p:cNvSpPr>
          <p:nvPr>
            <p:ph type="body" sz="half" idx="12" hasCustomPrompt="1"/>
          </p:nvPr>
        </p:nvSpPr>
        <p:spPr>
          <a:xfrm>
            <a:off x="3654029" y="463696"/>
            <a:ext cx="5130402" cy="3797357"/>
          </a:xfrm>
          <a:prstGeom prst="rect">
            <a:avLst/>
          </a:prstGeom>
        </p:spPr>
        <p:txBody>
          <a:bodyPr wrap="square"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US" sz="2100" b="1" kern="1200" dirty="0">
                <a:solidFill>
                  <a:schemeClr val="tx1"/>
                </a:solidFill>
                <a:latin typeface="+mn-lt"/>
                <a:ea typeface="+mn-ea"/>
                <a:cs typeface="+mn-cs"/>
              </a:defRPr>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Slide Number Placeholder 5">
            <a:extLst>
              <a:ext uri="{FF2B5EF4-FFF2-40B4-BE49-F238E27FC236}">
                <a16:creationId xmlns:a16="http://schemas.microsoft.com/office/drawing/2014/main" id="{479062E6-8B0E-4DB4-8209-4E7EB4F3FAA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5DE37A55-AE2A-40CC-8240-F6FD4F5BD0F6}"/>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AD81B084-A59A-450A-B69B-00DEBAF84E3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1" pos="2081" userDrawn="1">
          <p15:clr>
            <a:srgbClr val="FBAE40"/>
          </p15:clr>
        </p15:guide>
        <p15:guide id="2" pos="2302" userDrawn="1">
          <p15:clr>
            <a:srgbClr val="FBAE40"/>
          </p15:clr>
        </p15:guide>
        <p15:guide id="3" pos="5534"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9F29C8DB-8864-495E-945C-E8E237C3EE93}" type="datetime1">
              <a:rPr lang="fi-FI" smtClean="0"/>
              <a:t>6.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4" y="1869281"/>
            <a:ext cx="4049787" cy="253841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332857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299"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CE226531-C9F9-483A-B5FE-CD598EBE2D3B}" type="datetime1">
              <a:rPr lang="fi-FI" smtClean="0"/>
              <a:t>6.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4" y="1869281"/>
            <a:ext cx="5453577" cy="2538413"/>
          </a:xfrm>
        </p:spPr>
        <p:txBody>
          <a:bodyPr/>
          <a:lstStyle>
            <a:lvl1pPr marL="0" indent="0">
              <a:buFontTx/>
              <a:buNone/>
              <a:defRPr b="1">
                <a:solidFill>
                  <a:schemeClr val="accent2"/>
                </a:solidFill>
              </a:defRPr>
            </a:lvl1pPr>
            <a:lvl2pPr marL="199965" indent="-199965">
              <a:buFont typeface="Arial" panose="020B0604020202020204" pitchFamily="34" charset="0"/>
              <a:buChar char="•"/>
              <a:defRPr sz="1499"/>
            </a:lvl2pPr>
            <a:lvl3pPr marL="404691" indent="-204726">
              <a:buFont typeface="Arial" panose="020B0604020202020204" pitchFamily="34" charset="0"/>
              <a:buChar char="–"/>
              <a:defRPr sz="1349"/>
            </a:lvl3pPr>
            <a:lvl4pPr marL="604656" indent="-199965">
              <a:buFont typeface="Arial" panose="020B0604020202020204" pitchFamily="34" charset="0"/>
              <a:buChar char="•"/>
              <a:defRPr sz="1200"/>
            </a:lvl4pPr>
            <a:lvl5pPr marL="803432" indent="-198775">
              <a:buFont typeface="Arial" panose="020B0604020202020204" pitchFamily="34" charset="0"/>
              <a:buChar char="–"/>
              <a:defRPr/>
            </a:lvl5pPr>
            <a:lvl6pPr marL="1009347" indent="-205917">
              <a:defRPr/>
            </a:lvl6pPr>
            <a:lvl7pPr marL="1209312" indent="-199965">
              <a:defRPr/>
            </a:lvl7pPr>
            <a:lvl8pPr marL="1408088" indent="-198775">
              <a:defRPr/>
            </a:lvl8pPr>
            <a:lvl9pPr marL="1614003" indent="-205917">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26932037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EF7DB285-309F-45E1-955B-34715DA4B4CD}" type="datetime1">
              <a:rPr lang="fi-FI" smtClean="0"/>
              <a:t>6.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4" y="1545431"/>
            <a:ext cx="4049787"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9718302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299"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22642C14-3DE9-4F64-B21D-7CB7D984F8BA}" type="datetime1">
              <a:rPr lang="fi-FI" smtClean="0"/>
              <a:t>6.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4" y="1545431"/>
            <a:ext cx="5453577" cy="2862263"/>
          </a:xfrm>
        </p:spPr>
        <p:txBody>
          <a:bodyPr/>
          <a:lstStyle>
            <a:lvl1pPr marL="0" indent="0">
              <a:buFontTx/>
              <a:buNone/>
              <a:defRPr b="1">
                <a:solidFill>
                  <a:schemeClr val="accent2"/>
                </a:solidFill>
              </a:defRPr>
            </a:lvl1pPr>
            <a:lvl2pPr marL="199965" indent="-199965">
              <a:buFont typeface="Arial" panose="020B0604020202020204" pitchFamily="34" charset="0"/>
              <a:buChar char="•"/>
              <a:defRPr sz="1499"/>
            </a:lvl2pPr>
            <a:lvl3pPr marL="404691" indent="-204726">
              <a:buFont typeface="Arial" panose="020B0604020202020204" pitchFamily="34" charset="0"/>
              <a:buChar char="–"/>
              <a:defRPr sz="1349"/>
            </a:lvl3pPr>
            <a:lvl4pPr marL="604656" indent="-199965">
              <a:buFont typeface="Arial" panose="020B0604020202020204" pitchFamily="34" charset="0"/>
              <a:buChar char="•"/>
              <a:defRPr sz="1200"/>
            </a:lvl4pPr>
            <a:lvl5pPr marL="803432" indent="-198775">
              <a:buFont typeface="Arial" panose="020B0604020202020204" pitchFamily="34" charset="0"/>
              <a:buChar char="–"/>
              <a:defRPr/>
            </a:lvl5pPr>
            <a:lvl6pPr marL="1009347" indent="-205917">
              <a:defRPr/>
            </a:lvl6pPr>
            <a:lvl7pPr marL="1209312" indent="-199965">
              <a:defRPr/>
            </a:lvl7pPr>
            <a:lvl8pPr marL="1408088" indent="-198775">
              <a:defRPr/>
            </a:lvl8pPr>
            <a:lvl9pPr marL="1614003" indent="-205917">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310606260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ntent with Pictur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52DEB47-5D9B-4A82-8E12-5DD09DF8F359}" type="datetime1">
              <a:rPr lang="fi-FI" smtClean="0"/>
              <a:t>6.11.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
        <p:nvSpPr>
          <p:cNvPr id="6"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9" name="Picture Placeholder 2"/>
          <p:cNvSpPr>
            <a:spLocks noGrp="1"/>
          </p:cNvSpPr>
          <p:nvPr>
            <p:ph type="pic" idx="13"/>
          </p:nvPr>
        </p:nvSpPr>
        <p:spPr>
          <a:xfrm>
            <a:off x="7109620" y="1545433"/>
            <a:ext cx="2034380" cy="2862326"/>
          </a:xfrm>
          <a:solidFill>
            <a:schemeClr val="bg2">
              <a:lumMod val="20000"/>
              <a:lumOff val="80000"/>
            </a:schemeClr>
          </a:solidFill>
        </p:spPr>
        <p:txBody>
          <a:bodyPr/>
          <a:lstStyle>
            <a:lvl1pPr marL="0" indent="0">
              <a:buNone/>
              <a:defRPr sz="1050"/>
            </a:lvl1pPr>
            <a:lvl2pPr marL="342797" indent="0">
              <a:buNone/>
              <a:defRPr sz="2099"/>
            </a:lvl2pPr>
            <a:lvl3pPr marL="685595" indent="0">
              <a:buNone/>
              <a:defRPr sz="1799"/>
            </a:lvl3pPr>
            <a:lvl4pPr marL="1028392" indent="0">
              <a:buNone/>
              <a:defRPr sz="1499"/>
            </a:lvl4pPr>
            <a:lvl5pPr marL="1371188" indent="0">
              <a:buNone/>
              <a:defRPr sz="1499"/>
            </a:lvl5pPr>
            <a:lvl6pPr marL="1713986" indent="0">
              <a:buNone/>
              <a:defRPr sz="1499"/>
            </a:lvl6pPr>
            <a:lvl7pPr marL="2056783" indent="0">
              <a:buNone/>
              <a:defRPr sz="1499"/>
            </a:lvl7pPr>
            <a:lvl8pPr marL="2399580" indent="0">
              <a:buNone/>
              <a:defRPr sz="1499"/>
            </a:lvl8pPr>
            <a:lvl9pPr marL="2742377" indent="0">
              <a:buNone/>
              <a:defRPr sz="1499"/>
            </a:lvl9pPr>
          </a:lstStyle>
          <a:p>
            <a:r>
              <a:rPr lang="en-US"/>
              <a:t>Click icon to add picture</a:t>
            </a:r>
          </a:p>
        </p:txBody>
      </p:sp>
      <p:sp>
        <p:nvSpPr>
          <p:cNvPr id="13" name="Content Placeholder 12"/>
          <p:cNvSpPr>
            <a:spLocks noGrp="1"/>
          </p:cNvSpPr>
          <p:nvPr>
            <p:ph sz="quarter" idx="14" hasCustomPrompt="1"/>
          </p:nvPr>
        </p:nvSpPr>
        <p:spPr>
          <a:xfrm>
            <a:off x="414231" y="1545431"/>
            <a:ext cx="6479423"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06399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ase">
    <p:spTree>
      <p:nvGrpSpPr>
        <p:cNvPr id="1" name=""/>
        <p:cNvGrpSpPr/>
        <p:nvPr/>
      </p:nvGrpSpPr>
      <p:grpSpPr>
        <a:xfrm>
          <a:off x="0" y="0"/>
          <a:ext cx="0" cy="0"/>
          <a:chOff x="0" y="0"/>
          <a:chExt cx="0" cy="0"/>
        </a:xfrm>
      </p:grpSpPr>
      <p:sp>
        <p:nvSpPr>
          <p:cNvPr id="9" name="Text Placeholder 8"/>
          <p:cNvSpPr>
            <a:spLocks noGrp="1"/>
          </p:cNvSpPr>
          <p:nvPr>
            <p:ph type="body" sz="quarter" idx="14" hasCustomPrompt="1"/>
          </p:nvPr>
        </p:nvSpPr>
        <p:spPr>
          <a:xfrm>
            <a:off x="4572000" y="2571750"/>
            <a:ext cx="4572000" cy="2571750"/>
          </a:xfrm>
          <a:solidFill>
            <a:schemeClr val="accent2"/>
          </a:solidFill>
        </p:spPr>
        <p:txBody>
          <a:bodyPr lIns="396000" tIns="360000" rIns="396000" bIns="360000"/>
          <a:lstStyle>
            <a:lvl1pPr marL="0" indent="0">
              <a:buNone/>
              <a:defRPr sz="2099" b="1">
                <a:solidFill>
                  <a:schemeClr val="bg1"/>
                </a:solidFill>
              </a:defRPr>
            </a:lvl1pPr>
            <a:lvl2pPr marL="0" indent="0">
              <a:buNone/>
              <a:defRPr sz="1050">
                <a:solidFill>
                  <a:schemeClr val="bg1"/>
                </a:solidFill>
              </a:defRPr>
            </a:lvl2pPr>
            <a:lvl3pPr marL="199965" indent="-199965">
              <a:defRPr sz="900">
                <a:solidFill>
                  <a:schemeClr val="bg1"/>
                </a:solidFill>
              </a:defRPr>
            </a:lvl3pPr>
            <a:lvl4pPr marL="604656" indent="-199965">
              <a:defRPr>
                <a:solidFill>
                  <a:schemeClr val="bg1"/>
                </a:solidFill>
              </a:defRPr>
            </a:lvl4pPr>
            <a:lvl5pPr marL="803432" indent="-198775">
              <a:defRPr>
                <a:solidFill>
                  <a:schemeClr val="bg1"/>
                </a:solidFill>
              </a:defRPr>
            </a:lvl5pPr>
          </a:lstStyle>
          <a:p>
            <a:pPr lvl="0"/>
            <a:r>
              <a:rPr lang="en-US" dirty="0"/>
              <a:t>Click to add text</a:t>
            </a:r>
          </a:p>
          <a:p>
            <a:pPr lvl="1"/>
            <a:r>
              <a:rPr lang="en-US" dirty="0"/>
              <a:t>Second level</a:t>
            </a:r>
          </a:p>
          <a:p>
            <a:pPr lvl="2"/>
            <a:r>
              <a:rPr lang="en-US" dirty="0"/>
              <a:t>Third level</a:t>
            </a:r>
          </a:p>
        </p:txBody>
      </p:sp>
      <p:sp>
        <p:nvSpPr>
          <p:cNvPr id="13" name="Picture Placeholder 12"/>
          <p:cNvSpPr>
            <a:spLocks noGrp="1"/>
          </p:cNvSpPr>
          <p:nvPr>
            <p:ph type="pic" sz="quarter" idx="15"/>
          </p:nvPr>
        </p:nvSpPr>
        <p:spPr>
          <a:xfrm>
            <a:off x="4572000" y="0"/>
            <a:ext cx="4572000" cy="2571750"/>
          </a:xfrm>
          <a:solidFill>
            <a:schemeClr val="bg2">
              <a:lumMod val="20000"/>
              <a:lumOff val="80000"/>
            </a:schemeClr>
          </a:solidFill>
        </p:spPr>
        <p:txBody>
          <a:bodyPr/>
          <a:lstStyle>
            <a:lvl1pPr marL="0" indent="0">
              <a:buNone/>
              <a:defRPr sz="1050"/>
            </a:lvl1pPr>
          </a:lstStyle>
          <a:p>
            <a:r>
              <a:rPr lang="en-US"/>
              <a:t>Click icon to add picture</a:t>
            </a:r>
            <a:endParaRPr lang="fi-FI" dirty="0"/>
          </a:p>
        </p:txBody>
      </p:sp>
      <p:sp>
        <p:nvSpPr>
          <p:cNvPr id="2" name="Title 1"/>
          <p:cNvSpPr>
            <a:spLocks noGrp="1"/>
          </p:cNvSpPr>
          <p:nvPr>
            <p:ph type="title" hasCustomPrompt="1"/>
          </p:nvPr>
        </p:nvSpPr>
        <p:spPr>
          <a:xfrm>
            <a:off x="0" y="573882"/>
            <a:ext cx="4464013" cy="456902"/>
          </a:xfrm>
        </p:spPr>
        <p:txBody>
          <a:bodyPr/>
          <a:lstStyle>
            <a:lvl1pPr>
              <a:defRPr sz="2249" baseline="0"/>
            </a:lvl1pPr>
          </a:lstStyle>
          <a:p>
            <a:r>
              <a:rPr lang="en-US" dirty="0"/>
              <a:t>Click to add title</a:t>
            </a:r>
          </a:p>
        </p:txBody>
      </p:sp>
      <p:sp>
        <p:nvSpPr>
          <p:cNvPr id="3" name="Content Placeholder 2"/>
          <p:cNvSpPr>
            <a:spLocks noGrp="1"/>
          </p:cNvSpPr>
          <p:nvPr>
            <p:ph idx="1" hasCustomPrompt="1"/>
          </p:nvPr>
        </p:nvSpPr>
        <p:spPr>
          <a:xfrm>
            <a:off x="414230" y="1168003"/>
            <a:ext cx="4049786" cy="1079702"/>
          </a:xfrm>
        </p:spPr>
        <p:txBody>
          <a:bodyPr/>
          <a:lstStyle>
            <a:lvl1pPr>
              <a:defRPr sz="1050" b="1"/>
            </a:lvl1pPr>
            <a:lvl2pPr>
              <a:defRPr sz="900"/>
            </a:lvl2pPr>
            <a:lvl3pPr>
              <a:defRPr sz="825"/>
            </a:lvl3pPr>
            <a:lvl4pPr>
              <a:defRPr sz="788"/>
            </a:lvl4pPr>
            <a:lvl5pPr>
              <a:defRPr sz="788"/>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solidFill>
                  <a:srgbClr val="B3B2B2"/>
                </a:solidFill>
              </a:defRPr>
            </a:lvl1pPr>
          </a:lstStyle>
          <a:p>
            <a:fld id="{689A7EC0-9CAF-476F-AFA2-09BEF61B6716}" type="datetime1">
              <a:rPr lang="fi-FI" smtClean="0"/>
              <a:t>6.11.2023</a:t>
            </a:fld>
            <a:endParaRPr lang="en-US"/>
          </a:p>
        </p:txBody>
      </p:sp>
      <p:sp>
        <p:nvSpPr>
          <p:cNvPr id="5" name="Footer Placeholder 4"/>
          <p:cNvSpPr>
            <a:spLocks noGrp="1"/>
          </p:cNvSpPr>
          <p:nvPr>
            <p:ph type="ftr" sz="quarter" idx="11"/>
          </p:nvPr>
        </p:nvSpPr>
        <p:spPr/>
        <p:txBody>
          <a:bodyPr/>
          <a:lstStyle>
            <a:lvl1pPr>
              <a:defRPr>
                <a:noFill/>
              </a:defRPr>
            </a:lvl1pPr>
          </a:lstStyle>
          <a:p>
            <a:r>
              <a:rPr lang="en-US"/>
              <a:t>© Aalto University Executive Educ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a:p>
        </p:txBody>
      </p:sp>
      <p:sp>
        <p:nvSpPr>
          <p:cNvPr id="7" name="Content Placeholder 2"/>
          <p:cNvSpPr>
            <a:spLocks noGrp="1"/>
          </p:cNvSpPr>
          <p:nvPr>
            <p:ph idx="13" hasCustomPrompt="1"/>
          </p:nvPr>
        </p:nvSpPr>
        <p:spPr>
          <a:xfrm>
            <a:off x="414229" y="2355720"/>
            <a:ext cx="4049759" cy="2051975"/>
          </a:xfrm>
        </p:spPr>
        <p:txBody>
          <a:bodyPr/>
          <a:lstStyle>
            <a:lvl1pPr marL="199965" indent="-199965">
              <a:buFont typeface="+mj-lt"/>
              <a:buAutoNum type="arabicPeriod"/>
              <a:defRPr sz="1200" b="1">
                <a:solidFill>
                  <a:schemeClr val="accent2"/>
                </a:solidFill>
              </a:defRPr>
            </a:lvl1pPr>
            <a:lvl2pPr marL="0" indent="0">
              <a:buNone/>
              <a:defRPr sz="1050"/>
            </a:lvl2pPr>
            <a:lvl3pPr marL="199965" indent="-199965">
              <a:defRPr sz="900"/>
            </a:lvl3pPr>
            <a:lvl4pPr marL="404691" indent="-204726">
              <a:defRPr sz="825"/>
            </a:lvl4pPr>
            <a:lvl5pPr marL="604656" indent="-199965">
              <a:defRPr sz="825"/>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047401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2739F984-E3A1-4480-8440-14CE1826A798}"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6"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4"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4" name="Text Placeholder 8"/>
          <p:cNvSpPr>
            <a:spLocks noGrp="1"/>
          </p:cNvSpPr>
          <p:nvPr>
            <p:ph type="body" sz="quarter" idx="19" hasCustomPrompt="1"/>
          </p:nvPr>
        </p:nvSpPr>
        <p:spPr>
          <a:xfrm>
            <a:off x="252346" y="2787254"/>
            <a:ext cx="1458137"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5" name="Text Placeholder 8"/>
          <p:cNvSpPr>
            <a:spLocks noGrp="1"/>
          </p:cNvSpPr>
          <p:nvPr>
            <p:ph type="body" sz="quarter" idx="20" hasCustomPrompt="1"/>
          </p:nvPr>
        </p:nvSpPr>
        <p:spPr>
          <a:xfrm>
            <a:off x="1710484" y="2787254"/>
            <a:ext cx="1403381"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6" name="Text Placeholder 8"/>
          <p:cNvSpPr>
            <a:spLocks noGrp="1"/>
          </p:cNvSpPr>
          <p:nvPr>
            <p:ph type="body" sz="quarter" idx="21" hasCustomPrompt="1"/>
          </p:nvPr>
        </p:nvSpPr>
        <p:spPr>
          <a:xfrm>
            <a:off x="3113864" y="2787254"/>
            <a:ext cx="1458137"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7" name="Text Placeholder 8"/>
          <p:cNvSpPr>
            <a:spLocks noGrp="1"/>
          </p:cNvSpPr>
          <p:nvPr>
            <p:ph type="body" sz="quarter" idx="22" hasCustomPrompt="1"/>
          </p:nvPr>
        </p:nvSpPr>
        <p:spPr>
          <a:xfrm>
            <a:off x="4572001" y="2787254"/>
            <a:ext cx="1458136"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8" name="Text Placeholder 8"/>
          <p:cNvSpPr>
            <a:spLocks noGrp="1"/>
          </p:cNvSpPr>
          <p:nvPr>
            <p:ph type="body" sz="quarter" idx="23" hasCustomPrompt="1"/>
          </p:nvPr>
        </p:nvSpPr>
        <p:spPr>
          <a:xfrm>
            <a:off x="7487081" y="2787254"/>
            <a:ext cx="1404572"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9" name="Text Placeholder 8"/>
          <p:cNvSpPr>
            <a:spLocks noGrp="1"/>
          </p:cNvSpPr>
          <p:nvPr>
            <p:ph type="body" sz="quarter" idx="24" hasCustomPrompt="1"/>
          </p:nvPr>
        </p:nvSpPr>
        <p:spPr>
          <a:xfrm>
            <a:off x="6030136" y="2787254"/>
            <a:ext cx="145694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384471249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9563F5D9-D960-494D-97FB-91F70DCEAA0D}"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6"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4"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114794285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Proces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7D29171-FC86-4412-B9C2-159F0A152F34}"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16" name="Text Placeholder 11"/>
          <p:cNvSpPr>
            <a:spLocks noGrp="1"/>
          </p:cNvSpPr>
          <p:nvPr>
            <p:ph type="body" sz="quarter" idx="13" hasCustomPrompt="1"/>
          </p:nvPr>
        </p:nvSpPr>
        <p:spPr>
          <a:xfrm>
            <a:off x="522492"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7" name="Text Placeholder 11"/>
          <p:cNvSpPr>
            <a:spLocks noGrp="1"/>
          </p:cNvSpPr>
          <p:nvPr>
            <p:ph type="body" sz="quarter" idx="14" hasCustomPrompt="1"/>
          </p:nvPr>
        </p:nvSpPr>
        <p:spPr>
          <a:xfrm>
            <a:off x="25746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8" name="Text Placeholder 11"/>
          <p:cNvSpPr>
            <a:spLocks noGrp="1"/>
          </p:cNvSpPr>
          <p:nvPr>
            <p:ph type="body" sz="quarter" idx="15" hasCustomPrompt="1"/>
          </p:nvPr>
        </p:nvSpPr>
        <p:spPr>
          <a:xfrm>
            <a:off x="4625994"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9" name="Text Placeholder 11"/>
          <p:cNvSpPr>
            <a:spLocks noGrp="1"/>
          </p:cNvSpPr>
          <p:nvPr>
            <p:ph type="body" sz="quarter" idx="16" hasCustomPrompt="1"/>
          </p:nvPr>
        </p:nvSpPr>
        <p:spPr>
          <a:xfrm>
            <a:off x="6678197"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33739603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9" name="Freeform 6"/>
          <p:cNvSpPr>
            <a:spLocks noEditPoints="1"/>
          </p:cNvSpPr>
          <p:nvPr userDrawn="1"/>
        </p:nvSpPr>
        <p:spPr bwMode="auto">
          <a:xfrm>
            <a:off x="900447" y="789502"/>
            <a:ext cx="7343106" cy="3897404"/>
          </a:xfrm>
          <a:custGeom>
            <a:avLst/>
            <a:gdLst>
              <a:gd name="T0" fmla="*/ 5457 w 6532"/>
              <a:gd name="T1" fmla="*/ 2143 h 3466"/>
              <a:gd name="T2" fmla="*/ 5174 w 6532"/>
              <a:gd name="T3" fmla="*/ 2900 h 3466"/>
              <a:gd name="T4" fmla="*/ 5719 w 6532"/>
              <a:gd name="T5" fmla="*/ 3005 h 3466"/>
              <a:gd name="T6" fmla="*/ 5580 w 6532"/>
              <a:gd name="T7" fmla="*/ 2474 h 3466"/>
              <a:gd name="T8" fmla="*/ 5149 w 6532"/>
              <a:gd name="T9" fmla="*/ 2615 h 3466"/>
              <a:gd name="T10" fmla="*/ 6127 w 6532"/>
              <a:gd name="T11" fmla="*/ 3171 h 3466"/>
              <a:gd name="T12" fmla="*/ 6271 w 6532"/>
              <a:gd name="T13" fmla="*/ 3002 h 3466"/>
              <a:gd name="T14" fmla="*/ 5156 w 6532"/>
              <a:gd name="T15" fmla="*/ 2268 h 3466"/>
              <a:gd name="T16" fmla="*/ 4931 w 6532"/>
              <a:gd name="T17" fmla="*/ 2174 h 3466"/>
              <a:gd name="T18" fmla="*/ 5219 w 6532"/>
              <a:gd name="T19" fmla="*/ 1897 h 3466"/>
              <a:gd name="T20" fmla="*/ 1676 w 6532"/>
              <a:gd name="T21" fmla="*/ 1643 h 3466"/>
              <a:gd name="T22" fmla="*/ 5516 w 6532"/>
              <a:gd name="T23" fmla="*/ 1301 h 3466"/>
              <a:gd name="T24" fmla="*/ 5655 w 6532"/>
              <a:gd name="T25" fmla="*/ 839 h 3466"/>
              <a:gd name="T26" fmla="*/ 3083 w 6532"/>
              <a:gd name="T27" fmla="*/ 842 h 3466"/>
              <a:gd name="T28" fmla="*/ 2705 w 6532"/>
              <a:gd name="T29" fmla="*/ 478 h 3466"/>
              <a:gd name="T30" fmla="*/ 2383 w 6532"/>
              <a:gd name="T31" fmla="*/ 2356 h 3466"/>
              <a:gd name="T32" fmla="*/ 1925 w 6532"/>
              <a:gd name="T33" fmla="*/ 1878 h 3466"/>
              <a:gd name="T34" fmla="*/ 1375 w 6532"/>
              <a:gd name="T35" fmla="*/ 1671 h 3466"/>
              <a:gd name="T36" fmla="*/ 1593 w 6532"/>
              <a:gd name="T37" fmla="*/ 1514 h 3466"/>
              <a:gd name="T38" fmla="*/ 1838 w 6532"/>
              <a:gd name="T39" fmla="*/ 1020 h 3466"/>
              <a:gd name="T40" fmla="*/ 1936 w 6532"/>
              <a:gd name="T41" fmla="*/ 877 h 3466"/>
              <a:gd name="T42" fmla="*/ 1790 w 6532"/>
              <a:gd name="T43" fmla="*/ 562 h 3466"/>
              <a:gd name="T44" fmla="*/ 1334 w 6532"/>
              <a:gd name="T45" fmla="*/ 617 h 3466"/>
              <a:gd name="T46" fmla="*/ 1472 w 6532"/>
              <a:gd name="T47" fmla="*/ 375 h 3466"/>
              <a:gd name="T48" fmla="*/ 1166 w 6532"/>
              <a:gd name="T49" fmla="*/ 344 h 3466"/>
              <a:gd name="T50" fmla="*/ 671 w 6532"/>
              <a:gd name="T51" fmla="*/ 272 h 3466"/>
              <a:gd name="T52" fmla="*/ 107 w 6532"/>
              <a:gd name="T53" fmla="*/ 380 h 3466"/>
              <a:gd name="T54" fmla="*/ 160 w 6532"/>
              <a:gd name="T55" fmla="*/ 693 h 3466"/>
              <a:gd name="T56" fmla="*/ 467 w 6532"/>
              <a:gd name="T57" fmla="*/ 589 h 3466"/>
              <a:gd name="T58" fmla="*/ 733 w 6532"/>
              <a:gd name="T59" fmla="*/ 828 h 3466"/>
              <a:gd name="T60" fmla="*/ 1013 w 6532"/>
              <a:gd name="T61" fmla="*/ 1495 h 3466"/>
              <a:gd name="T62" fmla="*/ 1427 w 6532"/>
              <a:gd name="T63" fmla="*/ 1791 h 3466"/>
              <a:gd name="T64" fmla="*/ 1681 w 6532"/>
              <a:gd name="T65" fmla="*/ 2415 h 3466"/>
              <a:gd name="T66" fmla="*/ 1706 w 6532"/>
              <a:gd name="T67" fmla="*/ 3322 h 3466"/>
              <a:gd name="T68" fmla="*/ 1836 w 6532"/>
              <a:gd name="T69" fmla="*/ 3450 h 3466"/>
              <a:gd name="T70" fmla="*/ 1998 w 6532"/>
              <a:gd name="T71" fmla="*/ 2861 h 3466"/>
              <a:gd name="T72" fmla="*/ 3210 w 6532"/>
              <a:gd name="T73" fmla="*/ 1064 h 3466"/>
              <a:gd name="T74" fmla="*/ 3459 w 6532"/>
              <a:gd name="T75" fmla="*/ 1211 h 3466"/>
              <a:gd name="T76" fmla="*/ 3626 w 6532"/>
              <a:gd name="T77" fmla="*/ 1370 h 3466"/>
              <a:gd name="T78" fmla="*/ 2824 w 6532"/>
              <a:gd name="T79" fmla="*/ 1477 h 3466"/>
              <a:gd name="T80" fmla="*/ 3231 w 6532"/>
              <a:gd name="T81" fmla="*/ 2006 h 3466"/>
              <a:gd name="T82" fmla="*/ 3617 w 6532"/>
              <a:gd name="T83" fmla="*/ 2815 h 3466"/>
              <a:gd name="T84" fmla="*/ 3937 w 6532"/>
              <a:gd name="T85" fmla="*/ 1836 h 3466"/>
              <a:gd name="T86" fmla="*/ 3941 w 6532"/>
              <a:gd name="T87" fmla="*/ 1781 h 3466"/>
              <a:gd name="T88" fmla="*/ 4194 w 6532"/>
              <a:gd name="T89" fmla="*/ 1523 h 3466"/>
              <a:gd name="T90" fmla="*/ 4700 w 6532"/>
              <a:gd name="T91" fmla="*/ 1613 h 3466"/>
              <a:gd name="T92" fmla="*/ 4982 w 6532"/>
              <a:gd name="T93" fmla="*/ 1900 h 3466"/>
              <a:gd name="T94" fmla="*/ 5263 w 6532"/>
              <a:gd name="T95" fmla="*/ 1326 h 3466"/>
              <a:gd name="T96" fmla="*/ 5442 w 6532"/>
              <a:gd name="T97" fmla="*/ 1098 h 3466"/>
              <a:gd name="T98" fmla="*/ 5788 w 6532"/>
              <a:gd name="T99" fmla="*/ 631 h 3466"/>
              <a:gd name="T100" fmla="*/ 5959 w 6532"/>
              <a:gd name="T101" fmla="*/ 847 h 3466"/>
              <a:gd name="T102" fmla="*/ 6395 w 6532"/>
              <a:gd name="T103" fmla="*/ 431 h 3466"/>
              <a:gd name="T104" fmla="*/ 5970 w 6532"/>
              <a:gd name="T105" fmla="*/ 252 h 3466"/>
              <a:gd name="T106" fmla="*/ 5456 w 6532"/>
              <a:gd name="T107" fmla="*/ 251 h 3466"/>
              <a:gd name="T108" fmla="*/ 5023 w 6532"/>
              <a:gd name="T109" fmla="*/ 173 h 3466"/>
              <a:gd name="T110" fmla="*/ 4575 w 6532"/>
              <a:gd name="T111" fmla="*/ 206 h 3466"/>
              <a:gd name="T112" fmla="*/ 4436 w 6532"/>
              <a:gd name="T113" fmla="*/ 341 h 3466"/>
              <a:gd name="T114" fmla="*/ 4078 w 6532"/>
              <a:gd name="T115" fmla="*/ 343 h 3466"/>
              <a:gd name="T116" fmla="*/ 3819 w 6532"/>
              <a:gd name="T117" fmla="*/ 368 h 3466"/>
              <a:gd name="T118" fmla="*/ 3402 w 6532"/>
              <a:gd name="T119" fmla="*/ 304 h 3466"/>
              <a:gd name="T120" fmla="*/ 3175 w 6532"/>
              <a:gd name="T121" fmla="*/ 652 h 3466"/>
              <a:gd name="T122" fmla="*/ 3496 w 6532"/>
              <a:gd name="T123" fmla="*/ 577 h 3466"/>
              <a:gd name="T124" fmla="*/ 3255 w 6532"/>
              <a:gd name="T125" fmla="*/ 669 h 3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32" h="3466">
                <a:moveTo>
                  <a:pt x="5155" y="2007"/>
                </a:moveTo>
                <a:lnTo>
                  <a:pt x="5152" y="2005"/>
                </a:lnTo>
                <a:lnTo>
                  <a:pt x="5150" y="2005"/>
                </a:lnTo>
                <a:lnTo>
                  <a:pt x="5147" y="2010"/>
                </a:lnTo>
                <a:lnTo>
                  <a:pt x="5141" y="2021"/>
                </a:lnTo>
                <a:lnTo>
                  <a:pt x="5136" y="2031"/>
                </a:lnTo>
                <a:lnTo>
                  <a:pt x="5133" y="2036"/>
                </a:lnTo>
                <a:lnTo>
                  <a:pt x="5132" y="2036"/>
                </a:lnTo>
                <a:lnTo>
                  <a:pt x="5130" y="2037"/>
                </a:lnTo>
                <a:lnTo>
                  <a:pt x="5125" y="2036"/>
                </a:lnTo>
                <a:lnTo>
                  <a:pt x="5121" y="2036"/>
                </a:lnTo>
                <a:lnTo>
                  <a:pt x="5117" y="2036"/>
                </a:lnTo>
                <a:lnTo>
                  <a:pt x="5113" y="2037"/>
                </a:lnTo>
                <a:lnTo>
                  <a:pt x="5110" y="2038"/>
                </a:lnTo>
                <a:lnTo>
                  <a:pt x="5107" y="2039"/>
                </a:lnTo>
                <a:lnTo>
                  <a:pt x="5105" y="2041"/>
                </a:lnTo>
                <a:lnTo>
                  <a:pt x="5102" y="2045"/>
                </a:lnTo>
                <a:lnTo>
                  <a:pt x="5100" y="2050"/>
                </a:lnTo>
                <a:lnTo>
                  <a:pt x="5099" y="2055"/>
                </a:lnTo>
                <a:lnTo>
                  <a:pt x="5098" y="2060"/>
                </a:lnTo>
                <a:lnTo>
                  <a:pt x="5098" y="2065"/>
                </a:lnTo>
                <a:lnTo>
                  <a:pt x="5097" y="2069"/>
                </a:lnTo>
                <a:lnTo>
                  <a:pt x="5083" y="2062"/>
                </a:lnTo>
                <a:lnTo>
                  <a:pt x="5069" y="2055"/>
                </a:lnTo>
                <a:lnTo>
                  <a:pt x="5058" y="2073"/>
                </a:lnTo>
                <a:lnTo>
                  <a:pt x="5055" y="2079"/>
                </a:lnTo>
                <a:lnTo>
                  <a:pt x="5054" y="2081"/>
                </a:lnTo>
                <a:lnTo>
                  <a:pt x="5053" y="2084"/>
                </a:lnTo>
                <a:lnTo>
                  <a:pt x="5053" y="2086"/>
                </a:lnTo>
                <a:lnTo>
                  <a:pt x="5054" y="2089"/>
                </a:lnTo>
                <a:lnTo>
                  <a:pt x="5055" y="2096"/>
                </a:lnTo>
                <a:lnTo>
                  <a:pt x="5060" y="2120"/>
                </a:lnTo>
                <a:lnTo>
                  <a:pt x="5062" y="2121"/>
                </a:lnTo>
                <a:lnTo>
                  <a:pt x="5063" y="2121"/>
                </a:lnTo>
                <a:lnTo>
                  <a:pt x="5063" y="2123"/>
                </a:lnTo>
                <a:lnTo>
                  <a:pt x="5063" y="2124"/>
                </a:lnTo>
                <a:lnTo>
                  <a:pt x="5062" y="2127"/>
                </a:lnTo>
                <a:lnTo>
                  <a:pt x="5060" y="2129"/>
                </a:lnTo>
                <a:lnTo>
                  <a:pt x="5063" y="2128"/>
                </a:lnTo>
                <a:lnTo>
                  <a:pt x="5064" y="2128"/>
                </a:lnTo>
                <a:lnTo>
                  <a:pt x="5067" y="2127"/>
                </a:lnTo>
                <a:lnTo>
                  <a:pt x="5072" y="2123"/>
                </a:lnTo>
                <a:lnTo>
                  <a:pt x="5077" y="2143"/>
                </a:lnTo>
                <a:lnTo>
                  <a:pt x="5083" y="2165"/>
                </a:lnTo>
                <a:lnTo>
                  <a:pt x="5090" y="2166"/>
                </a:lnTo>
                <a:lnTo>
                  <a:pt x="5097" y="2166"/>
                </a:lnTo>
                <a:lnTo>
                  <a:pt x="5103" y="2166"/>
                </a:lnTo>
                <a:lnTo>
                  <a:pt x="5106" y="2166"/>
                </a:lnTo>
                <a:lnTo>
                  <a:pt x="5108" y="2165"/>
                </a:lnTo>
                <a:lnTo>
                  <a:pt x="5111" y="2165"/>
                </a:lnTo>
                <a:lnTo>
                  <a:pt x="5111" y="2174"/>
                </a:lnTo>
                <a:lnTo>
                  <a:pt x="5119" y="2175"/>
                </a:lnTo>
                <a:lnTo>
                  <a:pt x="5125" y="2176"/>
                </a:lnTo>
                <a:lnTo>
                  <a:pt x="5131" y="2171"/>
                </a:lnTo>
                <a:lnTo>
                  <a:pt x="5135" y="2170"/>
                </a:lnTo>
                <a:lnTo>
                  <a:pt x="5143" y="2170"/>
                </a:lnTo>
                <a:lnTo>
                  <a:pt x="5153" y="2171"/>
                </a:lnTo>
                <a:lnTo>
                  <a:pt x="5162" y="2176"/>
                </a:lnTo>
                <a:lnTo>
                  <a:pt x="5160" y="2177"/>
                </a:lnTo>
                <a:lnTo>
                  <a:pt x="5160" y="2178"/>
                </a:lnTo>
                <a:lnTo>
                  <a:pt x="5161" y="2180"/>
                </a:lnTo>
                <a:lnTo>
                  <a:pt x="5164" y="2182"/>
                </a:lnTo>
                <a:lnTo>
                  <a:pt x="5170" y="2178"/>
                </a:lnTo>
                <a:lnTo>
                  <a:pt x="5173" y="2175"/>
                </a:lnTo>
                <a:lnTo>
                  <a:pt x="5176" y="2174"/>
                </a:lnTo>
                <a:lnTo>
                  <a:pt x="5177" y="2174"/>
                </a:lnTo>
                <a:lnTo>
                  <a:pt x="5180" y="2174"/>
                </a:lnTo>
                <a:lnTo>
                  <a:pt x="5182" y="2174"/>
                </a:lnTo>
                <a:lnTo>
                  <a:pt x="5184" y="2174"/>
                </a:lnTo>
                <a:lnTo>
                  <a:pt x="5185" y="2172"/>
                </a:lnTo>
                <a:lnTo>
                  <a:pt x="5186" y="2171"/>
                </a:lnTo>
                <a:lnTo>
                  <a:pt x="5187" y="2167"/>
                </a:lnTo>
                <a:lnTo>
                  <a:pt x="5188" y="2163"/>
                </a:lnTo>
                <a:lnTo>
                  <a:pt x="5190" y="2160"/>
                </a:lnTo>
                <a:lnTo>
                  <a:pt x="5192" y="2156"/>
                </a:lnTo>
                <a:lnTo>
                  <a:pt x="5195" y="2151"/>
                </a:lnTo>
                <a:lnTo>
                  <a:pt x="5200" y="2151"/>
                </a:lnTo>
                <a:lnTo>
                  <a:pt x="5204" y="2151"/>
                </a:lnTo>
                <a:lnTo>
                  <a:pt x="5201" y="2142"/>
                </a:lnTo>
                <a:lnTo>
                  <a:pt x="5198" y="2134"/>
                </a:lnTo>
                <a:lnTo>
                  <a:pt x="5202" y="2131"/>
                </a:lnTo>
                <a:lnTo>
                  <a:pt x="5204" y="2129"/>
                </a:lnTo>
                <a:lnTo>
                  <a:pt x="5209" y="2126"/>
                </a:lnTo>
                <a:lnTo>
                  <a:pt x="5210" y="2120"/>
                </a:lnTo>
                <a:lnTo>
                  <a:pt x="5210" y="2109"/>
                </a:lnTo>
                <a:lnTo>
                  <a:pt x="5209" y="2099"/>
                </a:lnTo>
                <a:lnTo>
                  <a:pt x="5209" y="2092"/>
                </a:lnTo>
                <a:lnTo>
                  <a:pt x="5212" y="2090"/>
                </a:lnTo>
                <a:lnTo>
                  <a:pt x="5215" y="2087"/>
                </a:lnTo>
                <a:lnTo>
                  <a:pt x="5218" y="2085"/>
                </a:lnTo>
                <a:lnTo>
                  <a:pt x="5221" y="2084"/>
                </a:lnTo>
                <a:lnTo>
                  <a:pt x="5223" y="2083"/>
                </a:lnTo>
                <a:lnTo>
                  <a:pt x="5226" y="2084"/>
                </a:lnTo>
                <a:lnTo>
                  <a:pt x="5229" y="2084"/>
                </a:lnTo>
                <a:lnTo>
                  <a:pt x="5232" y="2084"/>
                </a:lnTo>
                <a:lnTo>
                  <a:pt x="5231" y="2083"/>
                </a:lnTo>
                <a:lnTo>
                  <a:pt x="5231" y="2082"/>
                </a:lnTo>
                <a:lnTo>
                  <a:pt x="5231" y="2079"/>
                </a:lnTo>
                <a:lnTo>
                  <a:pt x="5230" y="2077"/>
                </a:lnTo>
                <a:lnTo>
                  <a:pt x="5230" y="2076"/>
                </a:lnTo>
                <a:lnTo>
                  <a:pt x="5229" y="2075"/>
                </a:lnTo>
                <a:lnTo>
                  <a:pt x="5225" y="2073"/>
                </a:lnTo>
                <a:lnTo>
                  <a:pt x="5221" y="2072"/>
                </a:lnTo>
                <a:lnTo>
                  <a:pt x="5219" y="2071"/>
                </a:lnTo>
                <a:lnTo>
                  <a:pt x="5217" y="2070"/>
                </a:lnTo>
                <a:lnTo>
                  <a:pt x="5216" y="2068"/>
                </a:lnTo>
                <a:lnTo>
                  <a:pt x="5215" y="2067"/>
                </a:lnTo>
                <a:lnTo>
                  <a:pt x="5214" y="2064"/>
                </a:lnTo>
                <a:lnTo>
                  <a:pt x="5214" y="2061"/>
                </a:lnTo>
                <a:lnTo>
                  <a:pt x="5214" y="2056"/>
                </a:lnTo>
                <a:lnTo>
                  <a:pt x="5215" y="2050"/>
                </a:lnTo>
                <a:lnTo>
                  <a:pt x="5215" y="2047"/>
                </a:lnTo>
                <a:lnTo>
                  <a:pt x="5215" y="2044"/>
                </a:lnTo>
                <a:lnTo>
                  <a:pt x="5213" y="2041"/>
                </a:lnTo>
                <a:lnTo>
                  <a:pt x="5211" y="2038"/>
                </a:lnTo>
                <a:lnTo>
                  <a:pt x="5208" y="2035"/>
                </a:lnTo>
                <a:lnTo>
                  <a:pt x="5207" y="2033"/>
                </a:lnTo>
                <a:lnTo>
                  <a:pt x="5206" y="2030"/>
                </a:lnTo>
                <a:lnTo>
                  <a:pt x="5207" y="2027"/>
                </a:lnTo>
                <a:lnTo>
                  <a:pt x="5208" y="2024"/>
                </a:lnTo>
                <a:lnTo>
                  <a:pt x="5209" y="2024"/>
                </a:lnTo>
                <a:lnTo>
                  <a:pt x="5210" y="2024"/>
                </a:lnTo>
                <a:lnTo>
                  <a:pt x="5210" y="2023"/>
                </a:lnTo>
                <a:lnTo>
                  <a:pt x="5209" y="2022"/>
                </a:lnTo>
                <a:lnTo>
                  <a:pt x="5209" y="2021"/>
                </a:lnTo>
                <a:lnTo>
                  <a:pt x="5210" y="2021"/>
                </a:lnTo>
                <a:lnTo>
                  <a:pt x="5212" y="2022"/>
                </a:lnTo>
                <a:lnTo>
                  <a:pt x="5209" y="2015"/>
                </a:lnTo>
                <a:lnTo>
                  <a:pt x="5207" y="2010"/>
                </a:lnTo>
                <a:lnTo>
                  <a:pt x="5214" y="2010"/>
                </a:lnTo>
                <a:lnTo>
                  <a:pt x="5218" y="2009"/>
                </a:lnTo>
                <a:lnTo>
                  <a:pt x="5221" y="2008"/>
                </a:lnTo>
                <a:lnTo>
                  <a:pt x="5222" y="2006"/>
                </a:lnTo>
                <a:lnTo>
                  <a:pt x="5223" y="2005"/>
                </a:lnTo>
                <a:lnTo>
                  <a:pt x="5225" y="2002"/>
                </a:lnTo>
                <a:lnTo>
                  <a:pt x="5225" y="2000"/>
                </a:lnTo>
                <a:lnTo>
                  <a:pt x="5225" y="1997"/>
                </a:lnTo>
                <a:lnTo>
                  <a:pt x="5223" y="1993"/>
                </a:lnTo>
                <a:lnTo>
                  <a:pt x="5223" y="1992"/>
                </a:lnTo>
                <a:lnTo>
                  <a:pt x="5223" y="1991"/>
                </a:lnTo>
                <a:lnTo>
                  <a:pt x="5225" y="1991"/>
                </a:lnTo>
                <a:lnTo>
                  <a:pt x="5227" y="1992"/>
                </a:lnTo>
                <a:lnTo>
                  <a:pt x="5229" y="1993"/>
                </a:lnTo>
                <a:lnTo>
                  <a:pt x="5230" y="1994"/>
                </a:lnTo>
                <a:lnTo>
                  <a:pt x="5232" y="1994"/>
                </a:lnTo>
                <a:lnTo>
                  <a:pt x="5237" y="1988"/>
                </a:lnTo>
                <a:lnTo>
                  <a:pt x="5240" y="1988"/>
                </a:lnTo>
                <a:lnTo>
                  <a:pt x="5238" y="1985"/>
                </a:lnTo>
                <a:lnTo>
                  <a:pt x="5236" y="1981"/>
                </a:lnTo>
                <a:lnTo>
                  <a:pt x="5234" y="1977"/>
                </a:lnTo>
                <a:lnTo>
                  <a:pt x="5232" y="1974"/>
                </a:lnTo>
                <a:lnTo>
                  <a:pt x="5228" y="1972"/>
                </a:lnTo>
                <a:lnTo>
                  <a:pt x="5224" y="1971"/>
                </a:lnTo>
                <a:lnTo>
                  <a:pt x="5221" y="1970"/>
                </a:lnTo>
                <a:lnTo>
                  <a:pt x="5219" y="1969"/>
                </a:lnTo>
                <a:lnTo>
                  <a:pt x="5218" y="1968"/>
                </a:lnTo>
                <a:lnTo>
                  <a:pt x="5217" y="1967"/>
                </a:lnTo>
                <a:lnTo>
                  <a:pt x="5217" y="1966"/>
                </a:lnTo>
                <a:lnTo>
                  <a:pt x="5217" y="1964"/>
                </a:lnTo>
                <a:lnTo>
                  <a:pt x="5218" y="1963"/>
                </a:lnTo>
                <a:lnTo>
                  <a:pt x="5221" y="1960"/>
                </a:lnTo>
                <a:lnTo>
                  <a:pt x="5214" y="1954"/>
                </a:lnTo>
                <a:lnTo>
                  <a:pt x="5209" y="1951"/>
                </a:lnTo>
                <a:lnTo>
                  <a:pt x="5207" y="1949"/>
                </a:lnTo>
                <a:lnTo>
                  <a:pt x="5204" y="1948"/>
                </a:lnTo>
                <a:lnTo>
                  <a:pt x="5195" y="1946"/>
                </a:lnTo>
                <a:lnTo>
                  <a:pt x="5195" y="1948"/>
                </a:lnTo>
                <a:lnTo>
                  <a:pt x="5195" y="1951"/>
                </a:lnTo>
                <a:lnTo>
                  <a:pt x="5196" y="1954"/>
                </a:lnTo>
                <a:lnTo>
                  <a:pt x="5195" y="1957"/>
                </a:lnTo>
                <a:lnTo>
                  <a:pt x="5190" y="1960"/>
                </a:lnTo>
                <a:lnTo>
                  <a:pt x="5183" y="1969"/>
                </a:lnTo>
                <a:lnTo>
                  <a:pt x="5179" y="1976"/>
                </a:lnTo>
                <a:lnTo>
                  <a:pt x="5178" y="1980"/>
                </a:lnTo>
                <a:lnTo>
                  <a:pt x="5178" y="1984"/>
                </a:lnTo>
                <a:lnTo>
                  <a:pt x="5178" y="1988"/>
                </a:lnTo>
                <a:lnTo>
                  <a:pt x="5178" y="1994"/>
                </a:lnTo>
                <a:lnTo>
                  <a:pt x="5175" y="1995"/>
                </a:lnTo>
                <a:lnTo>
                  <a:pt x="5171" y="1995"/>
                </a:lnTo>
                <a:lnTo>
                  <a:pt x="5168" y="1995"/>
                </a:lnTo>
                <a:lnTo>
                  <a:pt x="5164" y="1996"/>
                </a:lnTo>
                <a:lnTo>
                  <a:pt x="5164" y="1997"/>
                </a:lnTo>
                <a:lnTo>
                  <a:pt x="5163" y="1998"/>
                </a:lnTo>
                <a:lnTo>
                  <a:pt x="5163" y="2001"/>
                </a:lnTo>
                <a:lnTo>
                  <a:pt x="5162" y="2003"/>
                </a:lnTo>
                <a:lnTo>
                  <a:pt x="5162" y="2005"/>
                </a:lnTo>
                <a:lnTo>
                  <a:pt x="5161" y="2005"/>
                </a:lnTo>
                <a:lnTo>
                  <a:pt x="5160" y="2005"/>
                </a:lnTo>
                <a:lnTo>
                  <a:pt x="5159" y="2005"/>
                </a:lnTo>
                <a:lnTo>
                  <a:pt x="5157" y="2004"/>
                </a:lnTo>
                <a:lnTo>
                  <a:pt x="5157" y="2005"/>
                </a:lnTo>
                <a:lnTo>
                  <a:pt x="5156" y="2005"/>
                </a:lnTo>
                <a:lnTo>
                  <a:pt x="5155" y="2007"/>
                </a:lnTo>
                <a:close/>
                <a:moveTo>
                  <a:pt x="5628" y="2167"/>
                </a:moveTo>
                <a:lnTo>
                  <a:pt x="5627" y="2166"/>
                </a:lnTo>
                <a:lnTo>
                  <a:pt x="5627" y="2164"/>
                </a:lnTo>
                <a:lnTo>
                  <a:pt x="5627" y="2163"/>
                </a:lnTo>
                <a:lnTo>
                  <a:pt x="5626" y="2162"/>
                </a:lnTo>
                <a:lnTo>
                  <a:pt x="5623" y="2162"/>
                </a:lnTo>
                <a:lnTo>
                  <a:pt x="5621" y="2162"/>
                </a:lnTo>
                <a:lnTo>
                  <a:pt x="5616" y="2162"/>
                </a:lnTo>
                <a:lnTo>
                  <a:pt x="5611" y="2163"/>
                </a:lnTo>
                <a:lnTo>
                  <a:pt x="5608" y="2163"/>
                </a:lnTo>
                <a:lnTo>
                  <a:pt x="5606" y="2162"/>
                </a:lnTo>
                <a:lnTo>
                  <a:pt x="5602" y="2161"/>
                </a:lnTo>
                <a:lnTo>
                  <a:pt x="5598" y="2158"/>
                </a:lnTo>
                <a:lnTo>
                  <a:pt x="5590" y="2151"/>
                </a:lnTo>
                <a:lnTo>
                  <a:pt x="5585" y="2148"/>
                </a:lnTo>
                <a:lnTo>
                  <a:pt x="5580" y="2146"/>
                </a:lnTo>
                <a:lnTo>
                  <a:pt x="5575" y="2145"/>
                </a:lnTo>
                <a:lnTo>
                  <a:pt x="5572" y="2145"/>
                </a:lnTo>
                <a:lnTo>
                  <a:pt x="5569" y="2145"/>
                </a:lnTo>
                <a:lnTo>
                  <a:pt x="5568" y="2146"/>
                </a:lnTo>
                <a:lnTo>
                  <a:pt x="5567" y="2147"/>
                </a:lnTo>
                <a:lnTo>
                  <a:pt x="5566" y="2151"/>
                </a:lnTo>
                <a:lnTo>
                  <a:pt x="5565" y="2154"/>
                </a:lnTo>
                <a:lnTo>
                  <a:pt x="5564" y="2157"/>
                </a:lnTo>
                <a:lnTo>
                  <a:pt x="5562" y="2158"/>
                </a:lnTo>
                <a:lnTo>
                  <a:pt x="5560" y="2159"/>
                </a:lnTo>
                <a:lnTo>
                  <a:pt x="5556" y="2159"/>
                </a:lnTo>
                <a:lnTo>
                  <a:pt x="5553" y="2160"/>
                </a:lnTo>
                <a:lnTo>
                  <a:pt x="5551" y="2161"/>
                </a:lnTo>
                <a:lnTo>
                  <a:pt x="5550" y="2162"/>
                </a:lnTo>
                <a:lnTo>
                  <a:pt x="5548" y="2165"/>
                </a:lnTo>
                <a:lnTo>
                  <a:pt x="5547" y="2170"/>
                </a:lnTo>
                <a:lnTo>
                  <a:pt x="5546" y="2174"/>
                </a:lnTo>
                <a:lnTo>
                  <a:pt x="5544" y="2176"/>
                </a:lnTo>
                <a:lnTo>
                  <a:pt x="5542" y="2177"/>
                </a:lnTo>
                <a:lnTo>
                  <a:pt x="5540" y="2178"/>
                </a:lnTo>
                <a:lnTo>
                  <a:pt x="5536" y="2178"/>
                </a:lnTo>
                <a:lnTo>
                  <a:pt x="5532" y="2178"/>
                </a:lnTo>
                <a:lnTo>
                  <a:pt x="5530" y="2178"/>
                </a:lnTo>
                <a:lnTo>
                  <a:pt x="5527" y="2179"/>
                </a:lnTo>
                <a:lnTo>
                  <a:pt x="5525" y="2175"/>
                </a:lnTo>
                <a:lnTo>
                  <a:pt x="5524" y="2171"/>
                </a:lnTo>
                <a:lnTo>
                  <a:pt x="5522" y="2162"/>
                </a:lnTo>
                <a:lnTo>
                  <a:pt x="5518" y="2165"/>
                </a:lnTo>
                <a:lnTo>
                  <a:pt x="5515" y="2166"/>
                </a:lnTo>
                <a:lnTo>
                  <a:pt x="5514" y="2166"/>
                </a:lnTo>
                <a:lnTo>
                  <a:pt x="5513" y="2165"/>
                </a:lnTo>
                <a:lnTo>
                  <a:pt x="5512" y="2161"/>
                </a:lnTo>
                <a:lnTo>
                  <a:pt x="5512" y="2156"/>
                </a:lnTo>
                <a:lnTo>
                  <a:pt x="5512" y="2151"/>
                </a:lnTo>
                <a:lnTo>
                  <a:pt x="5512" y="2146"/>
                </a:lnTo>
                <a:lnTo>
                  <a:pt x="5513" y="2135"/>
                </a:lnTo>
                <a:lnTo>
                  <a:pt x="5513" y="2126"/>
                </a:lnTo>
                <a:lnTo>
                  <a:pt x="5507" y="2123"/>
                </a:lnTo>
                <a:lnTo>
                  <a:pt x="5502" y="2120"/>
                </a:lnTo>
                <a:lnTo>
                  <a:pt x="5497" y="2122"/>
                </a:lnTo>
                <a:lnTo>
                  <a:pt x="5493" y="2123"/>
                </a:lnTo>
                <a:lnTo>
                  <a:pt x="5490" y="2122"/>
                </a:lnTo>
                <a:lnTo>
                  <a:pt x="5486" y="2119"/>
                </a:lnTo>
                <a:lnTo>
                  <a:pt x="5484" y="2118"/>
                </a:lnTo>
                <a:lnTo>
                  <a:pt x="5482" y="2118"/>
                </a:lnTo>
                <a:lnTo>
                  <a:pt x="5479" y="2117"/>
                </a:lnTo>
                <a:lnTo>
                  <a:pt x="5477" y="2117"/>
                </a:lnTo>
                <a:lnTo>
                  <a:pt x="5476" y="2118"/>
                </a:lnTo>
                <a:lnTo>
                  <a:pt x="5475" y="2119"/>
                </a:lnTo>
                <a:lnTo>
                  <a:pt x="5473" y="2122"/>
                </a:lnTo>
                <a:lnTo>
                  <a:pt x="5471" y="2126"/>
                </a:lnTo>
                <a:lnTo>
                  <a:pt x="5468" y="2126"/>
                </a:lnTo>
                <a:lnTo>
                  <a:pt x="5464" y="2126"/>
                </a:lnTo>
                <a:lnTo>
                  <a:pt x="5460" y="2125"/>
                </a:lnTo>
                <a:lnTo>
                  <a:pt x="5458" y="2125"/>
                </a:lnTo>
                <a:lnTo>
                  <a:pt x="5457" y="2126"/>
                </a:lnTo>
                <a:lnTo>
                  <a:pt x="5457" y="2137"/>
                </a:lnTo>
                <a:lnTo>
                  <a:pt x="5457" y="2143"/>
                </a:lnTo>
                <a:lnTo>
                  <a:pt x="5464" y="2142"/>
                </a:lnTo>
                <a:lnTo>
                  <a:pt x="5468" y="2142"/>
                </a:lnTo>
                <a:lnTo>
                  <a:pt x="5470" y="2142"/>
                </a:lnTo>
                <a:lnTo>
                  <a:pt x="5471" y="2143"/>
                </a:lnTo>
                <a:lnTo>
                  <a:pt x="5472" y="2144"/>
                </a:lnTo>
                <a:lnTo>
                  <a:pt x="5473" y="2145"/>
                </a:lnTo>
                <a:lnTo>
                  <a:pt x="5473" y="2147"/>
                </a:lnTo>
                <a:lnTo>
                  <a:pt x="5473" y="2150"/>
                </a:lnTo>
                <a:lnTo>
                  <a:pt x="5474" y="2154"/>
                </a:lnTo>
                <a:lnTo>
                  <a:pt x="5482" y="2154"/>
                </a:lnTo>
                <a:lnTo>
                  <a:pt x="5491" y="2154"/>
                </a:lnTo>
                <a:lnTo>
                  <a:pt x="5498" y="2154"/>
                </a:lnTo>
                <a:lnTo>
                  <a:pt x="5502" y="2154"/>
                </a:lnTo>
                <a:lnTo>
                  <a:pt x="5504" y="2155"/>
                </a:lnTo>
                <a:lnTo>
                  <a:pt x="5504" y="2156"/>
                </a:lnTo>
                <a:lnTo>
                  <a:pt x="5504" y="2157"/>
                </a:lnTo>
                <a:lnTo>
                  <a:pt x="5504" y="2159"/>
                </a:lnTo>
                <a:lnTo>
                  <a:pt x="5503" y="2160"/>
                </a:lnTo>
                <a:lnTo>
                  <a:pt x="5503" y="2161"/>
                </a:lnTo>
                <a:lnTo>
                  <a:pt x="5502" y="2162"/>
                </a:lnTo>
                <a:lnTo>
                  <a:pt x="5487" y="2164"/>
                </a:lnTo>
                <a:lnTo>
                  <a:pt x="5471" y="2165"/>
                </a:lnTo>
                <a:lnTo>
                  <a:pt x="5480" y="2166"/>
                </a:lnTo>
                <a:lnTo>
                  <a:pt x="5487" y="2167"/>
                </a:lnTo>
                <a:lnTo>
                  <a:pt x="5491" y="2168"/>
                </a:lnTo>
                <a:lnTo>
                  <a:pt x="5493" y="2168"/>
                </a:lnTo>
                <a:lnTo>
                  <a:pt x="5493" y="2169"/>
                </a:lnTo>
                <a:lnTo>
                  <a:pt x="5492" y="2169"/>
                </a:lnTo>
                <a:lnTo>
                  <a:pt x="5487" y="2170"/>
                </a:lnTo>
                <a:lnTo>
                  <a:pt x="5480" y="2171"/>
                </a:lnTo>
                <a:lnTo>
                  <a:pt x="5475" y="2170"/>
                </a:lnTo>
                <a:lnTo>
                  <a:pt x="5474" y="2170"/>
                </a:lnTo>
                <a:lnTo>
                  <a:pt x="5475" y="2169"/>
                </a:lnTo>
                <a:lnTo>
                  <a:pt x="5479" y="2168"/>
                </a:lnTo>
                <a:lnTo>
                  <a:pt x="5483" y="2174"/>
                </a:lnTo>
                <a:lnTo>
                  <a:pt x="5486" y="2180"/>
                </a:lnTo>
                <a:lnTo>
                  <a:pt x="5493" y="2190"/>
                </a:lnTo>
                <a:lnTo>
                  <a:pt x="5495" y="2185"/>
                </a:lnTo>
                <a:lnTo>
                  <a:pt x="5497" y="2183"/>
                </a:lnTo>
                <a:lnTo>
                  <a:pt x="5499" y="2182"/>
                </a:lnTo>
                <a:lnTo>
                  <a:pt x="5498" y="2181"/>
                </a:lnTo>
                <a:lnTo>
                  <a:pt x="5500" y="2181"/>
                </a:lnTo>
                <a:lnTo>
                  <a:pt x="5502" y="2181"/>
                </a:lnTo>
                <a:lnTo>
                  <a:pt x="5504" y="2182"/>
                </a:lnTo>
                <a:lnTo>
                  <a:pt x="5505" y="2183"/>
                </a:lnTo>
                <a:lnTo>
                  <a:pt x="5506" y="2184"/>
                </a:lnTo>
                <a:lnTo>
                  <a:pt x="5505" y="2185"/>
                </a:lnTo>
                <a:lnTo>
                  <a:pt x="5508" y="2186"/>
                </a:lnTo>
                <a:lnTo>
                  <a:pt x="5512" y="2187"/>
                </a:lnTo>
                <a:lnTo>
                  <a:pt x="5516" y="2189"/>
                </a:lnTo>
                <a:lnTo>
                  <a:pt x="5519" y="2190"/>
                </a:lnTo>
                <a:lnTo>
                  <a:pt x="5519" y="2191"/>
                </a:lnTo>
                <a:lnTo>
                  <a:pt x="5520" y="2192"/>
                </a:lnTo>
                <a:lnTo>
                  <a:pt x="5520" y="2193"/>
                </a:lnTo>
                <a:lnTo>
                  <a:pt x="5520" y="2196"/>
                </a:lnTo>
                <a:lnTo>
                  <a:pt x="5520" y="2199"/>
                </a:lnTo>
                <a:lnTo>
                  <a:pt x="5520" y="2201"/>
                </a:lnTo>
                <a:lnTo>
                  <a:pt x="5522" y="2202"/>
                </a:lnTo>
                <a:lnTo>
                  <a:pt x="5526" y="2204"/>
                </a:lnTo>
                <a:lnTo>
                  <a:pt x="5531" y="2205"/>
                </a:lnTo>
                <a:lnTo>
                  <a:pt x="5540" y="2206"/>
                </a:lnTo>
                <a:lnTo>
                  <a:pt x="5545" y="2206"/>
                </a:lnTo>
                <a:lnTo>
                  <a:pt x="5550" y="2207"/>
                </a:lnTo>
                <a:lnTo>
                  <a:pt x="5554" y="2208"/>
                </a:lnTo>
                <a:lnTo>
                  <a:pt x="5558" y="2210"/>
                </a:lnTo>
                <a:lnTo>
                  <a:pt x="5559" y="2211"/>
                </a:lnTo>
                <a:lnTo>
                  <a:pt x="5559" y="2212"/>
                </a:lnTo>
                <a:lnTo>
                  <a:pt x="5559" y="2216"/>
                </a:lnTo>
                <a:lnTo>
                  <a:pt x="5560" y="2219"/>
                </a:lnTo>
                <a:lnTo>
                  <a:pt x="5561" y="2221"/>
                </a:lnTo>
                <a:lnTo>
                  <a:pt x="5562" y="2222"/>
                </a:lnTo>
                <a:lnTo>
                  <a:pt x="5563" y="2222"/>
                </a:lnTo>
                <a:lnTo>
                  <a:pt x="5563" y="2221"/>
                </a:lnTo>
                <a:lnTo>
                  <a:pt x="5564" y="2219"/>
                </a:lnTo>
                <a:lnTo>
                  <a:pt x="5565" y="2219"/>
                </a:lnTo>
                <a:lnTo>
                  <a:pt x="5567" y="2219"/>
                </a:lnTo>
                <a:lnTo>
                  <a:pt x="5572" y="2221"/>
                </a:lnTo>
                <a:lnTo>
                  <a:pt x="5577" y="2223"/>
                </a:lnTo>
                <a:lnTo>
                  <a:pt x="5581" y="2224"/>
                </a:lnTo>
                <a:lnTo>
                  <a:pt x="5584" y="2239"/>
                </a:lnTo>
                <a:lnTo>
                  <a:pt x="5589" y="2254"/>
                </a:lnTo>
                <a:lnTo>
                  <a:pt x="5592" y="2269"/>
                </a:lnTo>
                <a:lnTo>
                  <a:pt x="5595" y="2283"/>
                </a:lnTo>
                <a:lnTo>
                  <a:pt x="5592" y="2284"/>
                </a:lnTo>
                <a:lnTo>
                  <a:pt x="5589" y="2283"/>
                </a:lnTo>
                <a:lnTo>
                  <a:pt x="5586" y="2283"/>
                </a:lnTo>
                <a:lnTo>
                  <a:pt x="5583" y="2283"/>
                </a:lnTo>
                <a:lnTo>
                  <a:pt x="5582" y="2284"/>
                </a:lnTo>
                <a:lnTo>
                  <a:pt x="5581" y="2286"/>
                </a:lnTo>
                <a:lnTo>
                  <a:pt x="5578" y="2290"/>
                </a:lnTo>
                <a:lnTo>
                  <a:pt x="5572" y="2297"/>
                </a:lnTo>
                <a:lnTo>
                  <a:pt x="5577" y="2296"/>
                </a:lnTo>
                <a:lnTo>
                  <a:pt x="5581" y="2296"/>
                </a:lnTo>
                <a:lnTo>
                  <a:pt x="5592" y="2295"/>
                </a:lnTo>
                <a:lnTo>
                  <a:pt x="5592" y="2289"/>
                </a:lnTo>
                <a:lnTo>
                  <a:pt x="5598" y="2289"/>
                </a:lnTo>
                <a:lnTo>
                  <a:pt x="5605" y="2290"/>
                </a:lnTo>
                <a:lnTo>
                  <a:pt x="5612" y="2291"/>
                </a:lnTo>
                <a:lnTo>
                  <a:pt x="5617" y="2292"/>
                </a:lnTo>
                <a:lnTo>
                  <a:pt x="5623" y="2304"/>
                </a:lnTo>
                <a:lnTo>
                  <a:pt x="5628" y="2314"/>
                </a:lnTo>
                <a:lnTo>
                  <a:pt x="5643" y="2313"/>
                </a:lnTo>
                <a:lnTo>
                  <a:pt x="5659" y="2312"/>
                </a:lnTo>
                <a:lnTo>
                  <a:pt x="5666" y="2311"/>
                </a:lnTo>
                <a:lnTo>
                  <a:pt x="5669" y="2310"/>
                </a:lnTo>
                <a:lnTo>
                  <a:pt x="5672" y="2309"/>
                </a:lnTo>
                <a:lnTo>
                  <a:pt x="5674" y="2307"/>
                </a:lnTo>
                <a:lnTo>
                  <a:pt x="5676" y="2305"/>
                </a:lnTo>
                <a:lnTo>
                  <a:pt x="5678" y="2303"/>
                </a:lnTo>
                <a:lnTo>
                  <a:pt x="5679" y="2300"/>
                </a:lnTo>
                <a:lnTo>
                  <a:pt x="5679" y="2298"/>
                </a:lnTo>
                <a:lnTo>
                  <a:pt x="5679" y="2297"/>
                </a:lnTo>
                <a:lnTo>
                  <a:pt x="5679" y="2293"/>
                </a:lnTo>
                <a:lnTo>
                  <a:pt x="5679" y="2290"/>
                </a:lnTo>
                <a:lnTo>
                  <a:pt x="5679" y="2288"/>
                </a:lnTo>
                <a:lnTo>
                  <a:pt x="5679" y="2286"/>
                </a:lnTo>
                <a:lnTo>
                  <a:pt x="5691" y="2287"/>
                </a:lnTo>
                <a:lnTo>
                  <a:pt x="5698" y="2288"/>
                </a:lnTo>
                <a:lnTo>
                  <a:pt x="5706" y="2289"/>
                </a:lnTo>
                <a:lnTo>
                  <a:pt x="5713" y="2290"/>
                </a:lnTo>
                <a:lnTo>
                  <a:pt x="5721" y="2293"/>
                </a:lnTo>
                <a:lnTo>
                  <a:pt x="5726" y="2296"/>
                </a:lnTo>
                <a:lnTo>
                  <a:pt x="5729" y="2298"/>
                </a:lnTo>
                <a:lnTo>
                  <a:pt x="5731" y="2300"/>
                </a:lnTo>
                <a:lnTo>
                  <a:pt x="5731" y="2301"/>
                </a:lnTo>
                <a:lnTo>
                  <a:pt x="5732" y="2302"/>
                </a:lnTo>
                <a:lnTo>
                  <a:pt x="5732" y="2304"/>
                </a:lnTo>
                <a:lnTo>
                  <a:pt x="5733" y="2309"/>
                </a:lnTo>
                <a:lnTo>
                  <a:pt x="5734" y="2314"/>
                </a:lnTo>
                <a:lnTo>
                  <a:pt x="5735" y="2316"/>
                </a:lnTo>
                <a:lnTo>
                  <a:pt x="5736" y="2317"/>
                </a:lnTo>
                <a:lnTo>
                  <a:pt x="5737" y="2318"/>
                </a:lnTo>
                <a:lnTo>
                  <a:pt x="5739" y="2318"/>
                </a:lnTo>
                <a:lnTo>
                  <a:pt x="5742" y="2318"/>
                </a:lnTo>
                <a:lnTo>
                  <a:pt x="5745" y="2319"/>
                </a:lnTo>
                <a:lnTo>
                  <a:pt x="5748" y="2320"/>
                </a:lnTo>
                <a:lnTo>
                  <a:pt x="5756" y="2337"/>
                </a:lnTo>
                <a:lnTo>
                  <a:pt x="5761" y="2339"/>
                </a:lnTo>
                <a:lnTo>
                  <a:pt x="5766" y="2341"/>
                </a:lnTo>
                <a:lnTo>
                  <a:pt x="5779" y="2343"/>
                </a:lnTo>
                <a:lnTo>
                  <a:pt x="5792" y="2345"/>
                </a:lnTo>
                <a:lnTo>
                  <a:pt x="5799" y="2347"/>
                </a:lnTo>
                <a:lnTo>
                  <a:pt x="5804" y="2348"/>
                </a:lnTo>
                <a:lnTo>
                  <a:pt x="5804" y="2344"/>
                </a:lnTo>
                <a:lnTo>
                  <a:pt x="5804" y="2340"/>
                </a:lnTo>
                <a:lnTo>
                  <a:pt x="5800" y="2338"/>
                </a:lnTo>
                <a:lnTo>
                  <a:pt x="5798" y="2337"/>
                </a:lnTo>
                <a:lnTo>
                  <a:pt x="5795" y="2336"/>
                </a:lnTo>
                <a:lnTo>
                  <a:pt x="5793" y="2334"/>
                </a:lnTo>
                <a:lnTo>
                  <a:pt x="5795" y="2331"/>
                </a:lnTo>
                <a:lnTo>
                  <a:pt x="5796" y="2330"/>
                </a:lnTo>
                <a:lnTo>
                  <a:pt x="5796" y="2329"/>
                </a:lnTo>
                <a:lnTo>
                  <a:pt x="5795" y="2328"/>
                </a:lnTo>
                <a:lnTo>
                  <a:pt x="5794" y="2327"/>
                </a:lnTo>
                <a:lnTo>
                  <a:pt x="5792" y="2327"/>
                </a:lnTo>
                <a:lnTo>
                  <a:pt x="5789" y="2327"/>
                </a:lnTo>
                <a:lnTo>
                  <a:pt x="5785" y="2327"/>
                </a:lnTo>
                <a:lnTo>
                  <a:pt x="5783" y="2326"/>
                </a:lnTo>
                <a:lnTo>
                  <a:pt x="5781" y="2326"/>
                </a:lnTo>
                <a:lnTo>
                  <a:pt x="5780" y="2324"/>
                </a:lnTo>
                <a:lnTo>
                  <a:pt x="5780" y="2323"/>
                </a:lnTo>
                <a:lnTo>
                  <a:pt x="5780" y="2321"/>
                </a:lnTo>
                <a:lnTo>
                  <a:pt x="5780" y="2319"/>
                </a:lnTo>
                <a:lnTo>
                  <a:pt x="5781" y="2316"/>
                </a:lnTo>
                <a:lnTo>
                  <a:pt x="5781" y="2314"/>
                </a:lnTo>
                <a:lnTo>
                  <a:pt x="5780" y="2314"/>
                </a:lnTo>
                <a:lnTo>
                  <a:pt x="5779" y="2313"/>
                </a:lnTo>
                <a:lnTo>
                  <a:pt x="5776" y="2313"/>
                </a:lnTo>
                <a:lnTo>
                  <a:pt x="5773" y="2313"/>
                </a:lnTo>
                <a:lnTo>
                  <a:pt x="5770" y="2311"/>
                </a:lnTo>
                <a:lnTo>
                  <a:pt x="5769" y="2311"/>
                </a:lnTo>
                <a:lnTo>
                  <a:pt x="5768" y="2310"/>
                </a:lnTo>
                <a:lnTo>
                  <a:pt x="5768" y="2307"/>
                </a:lnTo>
                <a:lnTo>
                  <a:pt x="5767" y="2305"/>
                </a:lnTo>
                <a:lnTo>
                  <a:pt x="5767" y="2302"/>
                </a:lnTo>
                <a:lnTo>
                  <a:pt x="5766" y="2297"/>
                </a:lnTo>
                <a:lnTo>
                  <a:pt x="5766" y="2294"/>
                </a:lnTo>
                <a:lnTo>
                  <a:pt x="5764" y="2292"/>
                </a:lnTo>
                <a:lnTo>
                  <a:pt x="5764" y="2291"/>
                </a:lnTo>
                <a:lnTo>
                  <a:pt x="5762" y="2291"/>
                </a:lnTo>
                <a:lnTo>
                  <a:pt x="5759" y="2290"/>
                </a:lnTo>
                <a:lnTo>
                  <a:pt x="5756" y="2290"/>
                </a:lnTo>
                <a:lnTo>
                  <a:pt x="5753" y="2289"/>
                </a:lnTo>
                <a:lnTo>
                  <a:pt x="5751" y="2287"/>
                </a:lnTo>
                <a:lnTo>
                  <a:pt x="5750" y="2284"/>
                </a:lnTo>
                <a:lnTo>
                  <a:pt x="5749" y="2281"/>
                </a:lnTo>
                <a:lnTo>
                  <a:pt x="5748" y="2277"/>
                </a:lnTo>
                <a:lnTo>
                  <a:pt x="5745" y="2264"/>
                </a:lnTo>
                <a:lnTo>
                  <a:pt x="5751" y="2261"/>
                </a:lnTo>
                <a:lnTo>
                  <a:pt x="5759" y="2258"/>
                </a:lnTo>
                <a:lnTo>
                  <a:pt x="5756" y="2241"/>
                </a:lnTo>
                <a:lnTo>
                  <a:pt x="5754" y="2241"/>
                </a:lnTo>
                <a:lnTo>
                  <a:pt x="5752" y="2241"/>
                </a:lnTo>
                <a:lnTo>
                  <a:pt x="5749" y="2241"/>
                </a:lnTo>
                <a:lnTo>
                  <a:pt x="5745" y="2242"/>
                </a:lnTo>
                <a:lnTo>
                  <a:pt x="5744" y="2242"/>
                </a:lnTo>
                <a:lnTo>
                  <a:pt x="5742" y="2241"/>
                </a:lnTo>
                <a:lnTo>
                  <a:pt x="5741" y="2240"/>
                </a:lnTo>
                <a:lnTo>
                  <a:pt x="5740" y="2239"/>
                </a:lnTo>
                <a:lnTo>
                  <a:pt x="5739" y="2236"/>
                </a:lnTo>
                <a:lnTo>
                  <a:pt x="5738" y="2232"/>
                </a:lnTo>
                <a:lnTo>
                  <a:pt x="5736" y="2230"/>
                </a:lnTo>
                <a:lnTo>
                  <a:pt x="5734" y="2229"/>
                </a:lnTo>
                <a:lnTo>
                  <a:pt x="5732" y="2229"/>
                </a:lnTo>
                <a:lnTo>
                  <a:pt x="5728" y="2229"/>
                </a:lnTo>
                <a:lnTo>
                  <a:pt x="5723" y="2229"/>
                </a:lnTo>
                <a:lnTo>
                  <a:pt x="5721" y="2228"/>
                </a:lnTo>
                <a:lnTo>
                  <a:pt x="5719" y="2227"/>
                </a:lnTo>
                <a:lnTo>
                  <a:pt x="5719" y="2225"/>
                </a:lnTo>
                <a:lnTo>
                  <a:pt x="5719" y="2222"/>
                </a:lnTo>
                <a:lnTo>
                  <a:pt x="5719" y="2218"/>
                </a:lnTo>
                <a:lnTo>
                  <a:pt x="5719" y="2216"/>
                </a:lnTo>
                <a:lnTo>
                  <a:pt x="5713" y="2209"/>
                </a:lnTo>
                <a:lnTo>
                  <a:pt x="5707" y="2202"/>
                </a:lnTo>
                <a:lnTo>
                  <a:pt x="5705" y="2201"/>
                </a:lnTo>
                <a:lnTo>
                  <a:pt x="5703" y="2201"/>
                </a:lnTo>
                <a:lnTo>
                  <a:pt x="5701" y="2202"/>
                </a:lnTo>
                <a:lnTo>
                  <a:pt x="5699" y="2202"/>
                </a:lnTo>
                <a:lnTo>
                  <a:pt x="5697" y="2200"/>
                </a:lnTo>
                <a:lnTo>
                  <a:pt x="5694" y="2196"/>
                </a:lnTo>
                <a:lnTo>
                  <a:pt x="5692" y="2193"/>
                </a:lnTo>
                <a:lnTo>
                  <a:pt x="5690" y="2190"/>
                </a:lnTo>
                <a:lnTo>
                  <a:pt x="5686" y="2188"/>
                </a:lnTo>
                <a:lnTo>
                  <a:pt x="5680" y="2186"/>
                </a:lnTo>
                <a:lnTo>
                  <a:pt x="5668" y="2183"/>
                </a:lnTo>
                <a:lnTo>
                  <a:pt x="5656" y="2180"/>
                </a:lnTo>
                <a:lnTo>
                  <a:pt x="5650" y="2178"/>
                </a:lnTo>
                <a:lnTo>
                  <a:pt x="5645" y="2176"/>
                </a:lnTo>
                <a:lnTo>
                  <a:pt x="5639" y="2173"/>
                </a:lnTo>
                <a:lnTo>
                  <a:pt x="5628" y="2167"/>
                </a:lnTo>
                <a:close/>
                <a:moveTo>
                  <a:pt x="5162" y="2760"/>
                </a:moveTo>
                <a:lnTo>
                  <a:pt x="5162" y="2761"/>
                </a:lnTo>
                <a:lnTo>
                  <a:pt x="5162" y="2763"/>
                </a:lnTo>
                <a:lnTo>
                  <a:pt x="5160" y="2765"/>
                </a:lnTo>
                <a:lnTo>
                  <a:pt x="5159" y="2767"/>
                </a:lnTo>
                <a:lnTo>
                  <a:pt x="5158" y="2767"/>
                </a:lnTo>
                <a:lnTo>
                  <a:pt x="5159" y="2768"/>
                </a:lnTo>
                <a:lnTo>
                  <a:pt x="5161" y="2770"/>
                </a:lnTo>
                <a:lnTo>
                  <a:pt x="5162" y="2772"/>
                </a:lnTo>
                <a:lnTo>
                  <a:pt x="5164" y="2777"/>
                </a:lnTo>
                <a:lnTo>
                  <a:pt x="5165" y="2779"/>
                </a:lnTo>
                <a:lnTo>
                  <a:pt x="5165" y="2781"/>
                </a:lnTo>
                <a:lnTo>
                  <a:pt x="5166" y="2786"/>
                </a:lnTo>
                <a:lnTo>
                  <a:pt x="5166" y="2797"/>
                </a:lnTo>
                <a:lnTo>
                  <a:pt x="5166" y="2803"/>
                </a:lnTo>
                <a:lnTo>
                  <a:pt x="5167" y="2810"/>
                </a:lnTo>
                <a:lnTo>
                  <a:pt x="5173" y="2813"/>
                </a:lnTo>
                <a:lnTo>
                  <a:pt x="5174" y="2816"/>
                </a:lnTo>
                <a:lnTo>
                  <a:pt x="5174" y="2819"/>
                </a:lnTo>
                <a:lnTo>
                  <a:pt x="5175" y="2826"/>
                </a:lnTo>
                <a:lnTo>
                  <a:pt x="5175" y="2833"/>
                </a:lnTo>
                <a:lnTo>
                  <a:pt x="5176" y="2839"/>
                </a:lnTo>
                <a:lnTo>
                  <a:pt x="5178" y="2839"/>
                </a:lnTo>
                <a:lnTo>
                  <a:pt x="5179" y="2844"/>
                </a:lnTo>
                <a:lnTo>
                  <a:pt x="5179" y="2849"/>
                </a:lnTo>
                <a:lnTo>
                  <a:pt x="5179" y="2854"/>
                </a:lnTo>
                <a:lnTo>
                  <a:pt x="5178" y="2860"/>
                </a:lnTo>
                <a:lnTo>
                  <a:pt x="5177" y="2872"/>
                </a:lnTo>
                <a:lnTo>
                  <a:pt x="5176" y="2886"/>
                </a:lnTo>
                <a:lnTo>
                  <a:pt x="5167" y="2886"/>
                </a:lnTo>
                <a:lnTo>
                  <a:pt x="5162" y="2886"/>
                </a:lnTo>
                <a:lnTo>
                  <a:pt x="5164" y="2892"/>
                </a:lnTo>
                <a:lnTo>
                  <a:pt x="5166" y="2895"/>
                </a:lnTo>
                <a:lnTo>
                  <a:pt x="5167" y="2898"/>
                </a:lnTo>
                <a:lnTo>
                  <a:pt x="5169" y="2899"/>
                </a:lnTo>
                <a:lnTo>
                  <a:pt x="5170" y="2899"/>
                </a:lnTo>
                <a:lnTo>
                  <a:pt x="5174" y="2900"/>
                </a:lnTo>
                <a:lnTo>
                  <a:pt x="5178" y="2901"/>
                </a:lnTo>
                <a:lnTo>
                  <a:pt x="5181" y="2903"/>
                </a:lnTo>
                <a:lnTo>
                  <a:pt x="5182" y="2904"/>
                </a:lnTo>
                <a:lnTo>
                  <a:pt x="5182" y="2905"/>
                </a:lnTo>
                <a:lnTo>
                  <a:pt x="5182" y="2908"/>
                </a:lnTo>
                <a:lnTo>
                  <a:pt x="5183" y="2910"/>
                </a:lnTo>
                <a:lnTo>
                  <a:pt x="5183" y="2911"/>
                </a:lnTo>
                <a:lnTo>
                  <a:pt x="5184" y="2912"/>
                </a:lnTo>
                <a:lnTo>
                  <a:pt x="5187" y="2913"/>
                </a:lnTo>
                <a:lnTo>
                  <a:pt x="5189" y="2913"/>
                </a:lnTo>
                <a:lnTo>
                  <a:pt x="5192" y="2913"/>
                </a:lnTo>
                <a:lnTo>
                  <a:pt x="5194" y="2913"/>
                </a:lnTo>
                <a:lnTo>
                  <a:pt x="5197" y="2912"/>
                </a:lnTo>
                <a:lnTo>
                  <a:pt x="5199" y="2912"/>
                </a:lnTo>
                <a:lnTo>
                  <a:pt x="5201" y="2912"/>
                </a:lnTo>
                <a:lnTo>
                  <a:pt x="5209" y="2917"/>
                </a:lnTo>
                <a:lnTo>
                  <a:pt x="5212" y="2917"/>
                </a:lnTo>
                <a:lnTo>
                  <a:pt x="5214" y="2917"/>
                </a:lnTo>
                <a:lnTo>
                  <a:pt x="5218" y="2916"/>
                </a:lnTo>
                <a:lnTo>
                  <a:pt x="5220" y="2915"/>
                </a:lnTo>
                <a:lnTo>
                  <a:pt x="5221" y="2914"/>
                </a:lnTo>
                <a:lnTo>
                  <a:pt x="5224" y="2911"/>
                </a:lnTo>
                <a:lnTo>
                  <a:pt x="5228" y="2904"/>
                </a:lnTo>
                <a:lnTo>
                  <a:pt x="5232" y="2898"/>
                </a:lnTo>
                <a:lnTo>
                  <a:pt x="5234" y="2900"/>
                </a:lnTo>
                <a:lnTo>
                  <a:pt x="5236" y="2903"/>
                </a:lnTo>
                <a:lnTo>
                  <a:pt x="5238" y="2904"/>
                </a:lnTo>
                <a:lnTo>
                  <a:pt x="5239" y="2905"/>
                </a:lnTo>
                <a:lnTo>
                  <a:pt x="5241" y="2906"/>
                </a:lnTo>
                <a:lnTo>
                  <a:pt x="5243" y="2906"/>
                </a:lnTo>
                <a:lnTo>
                  <a:pt x="5244" y="2905"/>
                </a:lnTo>
                <a:lnTo>
                  <a:pt x="5245" y="2904"/>
                </a:lnTo>
                <a:lnTo>
                  <a:pt x="5245" y="2901"/>
                </a:lnTo>
                <a:lnTo>
                  <a:pt x="5244" y="2899"/>
                </a:lnTo>
                <a:lnTo>
                  <a:pt x="5243" y="2894"/>
                </a:lnTo>
                <a:lnTo>
                  <a:pt x="5243" y="2892"/>
                </a:lnTo>
                <a:lnTo>
                  <a:pt x="5244" y="2892"/>
                </a:lnTo>
                <a:lnTo>
                  <a:pt x="5247" y="2893"/>
                </a:lnTo>
                <a:lnTo>
                  <a:pt x="5251" y="2894"/>
                </a:lnTo>
                <a:lnTo>
                  <a:pt x="5253" y="2895"/>
                </a:lnTo>
                <a:lnTo>
                  <a:pt x="5254" y="2895"/>
                </a:lnTo>
                <a:lnTo>
                  <a:pt x="5257" y="2894"/>
                </a:lnTo>
                <a:lnTo>
                  <a:pt x="5261" y="2893"/>
                </a:lnTo>
                <a:lnTo>
                  <a:pt x="5271" y="2890"/>
                </a:lnTo>
                <a:lnTo>
                  <a:pt x="5280" y="2888"/>
                </a:lnTo>
                <a:lnTo>
                  <a:pt x="5285" y="2887"/>
                </a:lnTo>
                <a:lnTo>
                  <a:pt x="5288" y="2886"/>
                </a:lnTo>
                <a:lnTo>
                  <a:pt x="5289" y="2887"/>
                </a:lnTo>
                <a:lnTo>
                  <a:pt x="5290" y="2887"/>
                </a:lnTo>
                <a:lnTo>
                  <a:pt x="5292" y="2889"/>
                </a:lnTo>
                <a:lnTo>
                  <a:pt x="5293" y="2891"/>
                </a:lnTo>
                <a:lnTo>
                  <a:pt x="5294" y="2892"/>
                </a:lnTo>
                <a:lnTo>
                  <a:pt x="5296" y="2891"/>
                </a:lnTo>
                <a:lnTo>
                  <a:pt x="5300" y="2889"/>
                </a:lnTo>
                <a:lnTo>
                  <a:pt x="5305" y="2886"/>
                </a:lnTo>
                <a:lnTo>
                  <a:pt x="5307" y="2886"/>
                </a:lnTo>
                <a:lnTo>
                  <a:pt x="5309" y="2887"/>
                </a:lnTo>
                <a:lnTo>
                  <a:pt x="5312" y="2889"/>
                </a:lnTo>
                <a:lnTo>
                  <a:pt x="5315" y="2890"/>
                </a:lnTo>
                <a:lnTo>
                  <a:pt x="5317" y="2890"/>
                </a:lnTo>
                <a:lnTo>
                  <a:pt x="5319" y="2889"/>
                </a:lnTo>
                <a:lnTo>
                  <a:pt x="5320" y="2889"/>
                </a:lnTo>
                <a:lnTo>
                  <a:pt x="5321" y="2888"/>
                </a:lnTo>
                <a:lnTo>
                  <a:pt x="5322" y="2887"/>
                </a:lnTo>
                <a:lnTo>
                  <a:pt x="5323" y="2886"/>
                </a:lnTo>
                <a:lnTo>
                  <a:pt x="5324" y="2883"/>
                </a:lnTo>
                <a:lnTo>
                  <a:pt x="5325" y="2880"/>
                </a:lnTo>
                <a:lnTo>
                  <a:pt x="5327" y="2874"/>
                </a:lnTo>
                <a:lnTo>
                  <a:pt x="5329" y="2871"/>
                </a:lnTo>
                <a:lnTo>
                  <a:pt x="5330" y="2869"/>
                </a:lnTo>
                <a:lnTo>
                  <a:pt x="5333" y="2868"/>
                </a:lnTo>
                <a:lnTo>
                  <a:pt x="5335" y="2868"/>
                </a:lnTo>
                <a:lnTo>
                  <a:pt x="5336" y="2868"/>
                </a:lnTo>
                <a:lnTo>
                  <a:pt x="5337" y="2868"/>
                </a:lnTo>
                <a:lnTo>
                  <a:pt x="5340" y="2870"/>
                </a:lnTo>
                <a:lnTo>
                  <a:pt x="5342" y="2870"/>
                </a:lnTo>
                <a:lnTo>
                  <a:pt x="5344" y="2869"/>
                </a:lnTo>
                <a:lnTo>
                  <a:pt x="5344" y="2864"/>
                </a:lnTo>
                <a:lnTo>
                  <a:pt x="5345" y="2863"/>
                </a:lnTo>
                <a:lnTo>
                  <a:pt x="5346" y="2862"/>
                </a:lnTo>
                <a:lnTo>
                  <a:pt x="5349" y="2862"/>
                </a:lnTo>
                <a:lnTo>
                  <a:pt x="5353" y="2862"/>
                </a:lnTo>
                <a:lnTo>
                  <a:pt x="5354" y="2862"/>
                </a:lnTo>
                <a:lnTo>
                  <a:pt x="5356" y="2861"/>
                </a:lnTo>
                <a:lnTo>
                  <a:pt x="5356" y="2860"/>
                </a:lnTo>
                <a:lnTo>
                  <a:pt x="5357" y="2857"/>
                </a:lnTo>
                <a:lnTo>
                  <a:pt x="5357" y="2854"/>
                </a:lnTo>
                <a:lnTo>
                  <a:pt x="5358" y="2853"/>
                </a:lnTo>
                <a:lnTo>
                  <a:pt x="5361" y="2853"/>
                </a:lnTo>
                <a:lnTo>
                  <a:pt x="5361" y="2850"/>
                </a:lnTo>
                <a:lnTo>
                  <a:pt x="5363" y="2849"/>
                </a:lnTo>
                <a:lnTo>
                  <a:pt x="5365" y="2850"/>
                </a:lnTo>
                <a:lnTo>
                  <a:pt x="5369" y="2851"/>
                </a:lnTo>
                <a:lnTo>
                  <a:pt x="5373" y="2852"/>
                </a:lnTo>
                <a:lnTo>
                  <a:pt x="5376" y="2853"/>
                </a:lnTo>
                <a:lnTo>
                  <a:pt x="5378" y="2853"/>
                </a:lnTo>
                <a:lnTo>
                  <a:pt x="5382" y="2852"/>
                </a:lnTo>
                <a:lnTo>
                  <a:pt x="5386" y="2851"/>
                </a:lnTo>
                <a:lnTo>
                  <a:pt x="5396" y="2848"/>
                </a:lnTo>
                <a:lnTo>
                  <a:pt x="5419" y="2840"/>
                </a:lnTo>
                <a:lnTo>
                  <a:pt x="5431" y="2837"/>
                </a:lnTo>
                <a:lnTo>
                  <a:pt x="5443" y="2834"/>
                </a:lnTo>
                <a:lnTo>
                  <a:pt x="5454" y="2832"/>
                </a:lnTo>
                <a:lnTo>
                  <a:pt x="5458" y="2832"/>
                </a:lnTo>
                <a:lnTo>
                  <a:pt x="5462" y="2833"/>
                </a:lnTo>
                <a:lnTo>
                  <a:pt x="5465" y="2834"/>
                </a:lnTo>
                <a:lnTo>
                  <a:pt x="5466" y="2836"/>
                </a:lnTo>
                <a:lnTo>
                  <a:pt x="5469" y="2840"/>
                </a:lnTo>
                <a:lnTo>
                  <a:pt x="5471" y="2844"/>
                </a:lnTo>
                <a:lnTo>
                  <a:pt x="5472" y="2846"/>
                </a:lnTo>
                <a:lnTo>
                  <a:pt x="5474" y="2847"/>
                </a:lnTo>
                <a:lnTo>
                  <a:pt x="5477" y="2848"/>
                </a:lnTo>
                <a:lnTo>
                  <a:pt x="5480" y="2847"/>
                </a:lnTo>
                <a:lnTo>
                  <a:pt x="5487" y="2846"/>
                </a:lnTo>
                <a:lnTo>
                  <a:pt x="5494" y="2845"/>
                </a:lnTo>
                <a:lnTo>
                  <a:pt x="5498" y="2846"/>
                </a:lnTo>
                <a:lnTo>
                  <a:pt x="5502" y="2847"/>
                </a:lnTo>
                <a:lnTo>
                  <a:pt x="5502" y="2850"/>
                </a:lnTo>
                <a:lnTo>
                  <a:pt x="5504" y="2852"/>
                </a:lnTo>
                <a:lnTo>
                  <a:pt x="5505" y="2854"/>
                </a:lnTo>
                <a:lnTo>
                  <a:pt x="5504" y="2856"/>
                </a:lnTo>
                <a:lnTo>
                  <a:pt x="5502" y="2858"/>
                </a:lnTo>
                <a:lnTo>
                  <a:pt x="5507" y="2859"/>
                </a:lnTo>
                <a:lnTo>
                  <a:pt x="5511" y="2859"/>
                </a:lnTo>
                <a:lnTo>
                  <a:pt x="5513" y="2860"/>
                </a:lnTo>
                <a:lnTo>
                  <a:pt x="5512" y="2862"/>
                </a:lnTo>
                <a:lnTo>
                  <a:pt x="5510" y="2864"/>
                </a:lnTo>
                <a:lnTo>
                  <a:pt x="5510" y="2865"/>
                </a:lnTo>
                <a:lnTo>
                  <a:pt x="5510" y="2866"/>
                </a:lnTo>
                <a:lnTo>
                  <a:pt x="5510" y="2867"/>
                </a:lnTo>
                <a:lnTo>
                  <a:pt x="5511" y="2867"/>
                </a:lnTo>
                <a:lnTo>
                  <a:pt x="5510" y="2867"/>
                </a:lnTo>
                <a:lnTo>
                  <a:pt x="5507" y="2867"/>
                </a:lnTo>
                <a:lnTo>
                  <a:pt x="5509" y="2869"/>
                </a:lnTo>
                <a:lnTo>
                  <a:pt x="5510" y="2871"/>
                </a:lnTo>
                <a:lnTo>
                  <a:pt x="5511" y="2872"/>
                </a:lnTo>
                <a:lnTo>
                  <a:pt x="5510" y="2872"/>
                </a:lnTo>
                <a:lnTo>
                  <a:pt x="5518" y="2874"/>
                </a:lnTo>
                <a:lnTo>
                  <a:pt x="5524" y="2875"/>
                </a:lnTo>
                <a:lnTo>
                  <a:pt x="5525" y="2883"/>
                </a:lnTo>
                <a:lnTo>
                  <a:pt x="5525" y="2889"/>
                </a:lnTo>
                <a:lnTo>
                  <a:pt x="5526" y="2891"/>
                </a:lnTo>
                <a:lnTo>
                  <a:pt x="5527" y="2895"/>
                </a:lnTo>
                <a:lnTo>
                  <a:pt x="5528" y="2899"/>
                </a:lnTo>
                <a:lnTo>
                  <a:pt x="5530" y="2903"/>
                </a:lnTo>
                <a:lnTo>
                  <a:pt x="5531" y="2903"/>
                </a:lnTo>
                <a:lnTo>
                  <a:pt x="5534" y="2904"/>
                </a:lnTo>
                <a:lnTo>
                  <a:pt x="5538" y="2906"/>
                </a:lnTo>
                <a:lnTo>
                  <a:pt x="5555" y="2884"/>
                </a:lnTo>
                <a:lnTo>
                  <a:pt x="5557" y="2883"/>
                </a:lnTo>
                <a:lnTo>
                  <a:pt x="5560" y="2884"/>
                </a:lnTo>
                <a:lnTo>
                  <a:pt x="5562" y="2884"/>
                </a:lnTo>
                <a:lnTo>
                  <a:pt x="5563" y="2884"/>
                </a:lnTo>
                <a:lnTo>
                  <a:pt x="5564" y="2884"/>
                </a:lnTo>
                <a:lnTo>
                  <a:pt x="5566" y="2881"/>
                </a:lnTo>
                <a:lnTo>
                  <a:pt x="5568" y="2876"/>
                </a:lnTo>
                <a:lnTo>
                  <a:pt x="5570" y="2872"/>
                </a:lnTo>
                <a:lnTo>
                  <a:pt x="5572" y="2869"/>
                </a:lnTo>
                <a:lnTo>
                  <a:pt x="5574" y="2869"/>
                </a:lnTo>
                <a:lnTo>
                  <a:pt x="5576" y="2870"/>
                </a:lnTo>
                <a:lnTo>
                  <a:pt x="5576" y="2871"/>
                </a:lnTo>
                <a:lnTo>
                  <a:pt x="5577" y="2873"/>
                </a:lnTo>
                <a:lnTo>
                  <a:pt x="5576" y="2878"/>
                </a:lnTo>
                <a:lnTo>
                  <a:pt x="5574" y="2883"/>
                </a:lnTo>
                <a:lnTo>
                  <a:pt x="5569" y="2895"/>
                </a:lnTo>
                <a:lnTo>
                  <a:pt x="5567" y="2900"/>
                </a:lnTo>
                <a:lnTo>
                  <a:pt x="5567" y="2902"/>
                </a:lnTo>
                <a:lnTo>
                  <a:pt x="5567" y="2904"/>
                </a:lnTo>
                <a:lnTo>
                  <a:pt x="5568" y="2909"/>
                </a:lnTo>
                <a:lnTo>
                  <a:pt x="5570" y="2912"/>
                </a:lnTo>
                <a:lnTo>
                  <a:pt x="5570" y="2914"/>
                </a:lnTo>
                <a:lnTo>
                  <a:pt x="5569" y="2915"/>
                </a:lnTo>
                <a:lnTo>
                  <a:pt x="5567" y="2916"/>
                </a:lnTo>
                <a:lnTo>
                  <a:pt x="5564" y="2916"/>
                </a:lnTo>
                <a:lnTo>
                  <a:pt x="5561" y="2916"/>
                </a:lnTo>
                <a:lnTo>
                  <a:pt x="5558" y="2917"/>
                </a:lnTo>
                <a:lnTo>
                  <a:pt x="5558" y="2923"/>
                </a:lnTo>
                <a:lnTo>
                  <a:pt x="5560" y="2922"/>
                </a:lnTo>
                <a:lnTo>
                  <a:pt x="5562" y="2921"/>
                </a:lnTo>
                <a:lnTo>
                  <a:pt x="5564" y="2920"/>
                </a:lnTo>
                <a:lnTo>
                  <a:pt x="5571" y="2917"/>
                </a:lnTo>
                <a:lnTo>
                  <a:pt x="5573" y="2916"/>
                </a:lnTo>
                <a:lnTo>
                  <a:pt x="5574" y="2914"/>
                </a:lnTo>
                <a:lnTo>
                  <a:pt x="5574" y="2912"/>
                </a:lnTo>
                <a:lnTo>
                  <a:pt x="5574" y="2909"/>
                </a:lnTo>
                <a:lnTo>
                  <a:pt x="5575" y="2900"/>
                </a:lnTo>
                <a:lnTo>
                  <a:pt x="5579" y="2901"/>
                </a:lnTo>
                <a:lnTo>
                  <a:pt x="5583" y="2900"/>
                </a:lnTo>
                <a:lnTo>
                  <a:pt x="5583" y="2901"/>
                </a:lnTo>
                <a:lnTo>
                  <a:pt x="5583" y="2902"/>
                </a:lnTo>
                <a:lnTo>
                  <a:pt x="5581" y="2904"/>
                </a:lnTo>
                <a:lnTo>
                  <a:pt x="5580" y="2905"/>
                </a:lnTo>
                <a:lnTo>
                  <a:pt x="5580" y="2906"/>
                </a:lnTo>
                <a:lnTo>
                  <a:pt x="5581" y="2906"/>
                </a:lnTo>
                <a:lnTo>
                  <a:pt x="5582" y="2908"/>
                </a:lnTo>
                <a:lnTo>
                  <a:pt x="5584" y="2910"/>
                </a:lnTo>
                <a:lnTo>
                  <a:pt x="5587" y="2916"/>
                </a:lnTo>
                <a:lnTo>
                  <a:pt x="5588" y="2919"/>
                </a:lnTo>
                <a:lnTo>
                  <a:pt x="5589" y="2922"/>
                </a:lnTo>
                <a:lnTo>
                  <a:pt x="5589" y="2926"/>
                </a:lnTo>
                <a:lnTo>
                  <a:pt x="5589" y="2929"/>
                </a:lnTo>
                <a:lnTo>
                  <a:pt x="5586" y="2937"/>
                </a:lnTo>
                <a:lnTo>
                  <a:pt x="5595" y="2935"/>
                </a:lnTo>
                <a:lnTo>
                  <a:pt x="5603" y="2931"/>
                </a:lnTo>
                <a:lnTo>
                  <a:pt x="5607" y="2944"/>
                </a:lnTo>
                <a:lnTo>
                  <a:pt x="5610" y="2957"/>
                </a:lnTo>
                <a:lnTo>
                  <a:pt x="5611" y="2970"/>
                </a:lnTo>
                <a:lnTo>
                  <a:pt x="5612" y="2976"/>
                </a:lnTo>
                <a:lnTo>
                  <a:pt x="5612" y="2982"/>
                </a:lnTo>
                <a:lnTo>
                  <a:pt x="5617" y="2984"/>
                </a:lnTo>
                <a:lnTo>
                  <a:pt x="5620" y="2986"/>
                </a:lnTo>
                <a:lnTo>
                  <a:pt x="5623" y="2988"/>
                </a:lnTo>
                <a:lnTo>
                  <a:pt x="5624" y="2989"/>
                </a:lnTo>
                <a:lnTo>
                  <a:pt x="5624" y="2990"/>
                </a:lnTo>
                <a:lnTo>
                  <a:pt x="5625" y="2993"/>
                </a:lnTo>
                <a:lnTo>
                  <a:pt x="5626" y="2996"/>
                </a:lnTo>
                <a:lnTo>
                  <a:pt x="5627" y="2998"/>
                </a:lnTo>
                <a:lnTo>
                  <a:pt x="5628" y="2999"/>
                </a:lnTo>
                <a:lnTo>
                  <a:pt x="5632" y="3001"/>
                </a:lnTo>
                <a:lnTo>
                  <a:pt x="5637" y="3003"/>
                </a:lnTo>
                <a:lnTo>
                  <a:pt x="5645" y="3007"/>
                </a:lnTo>
                <a:lnTo>
                  <a:pt x="5646" y="3007"/>
                </a:lnTo>
                <a:lnTo>
                  <a:pt x="5646" y="3006"/>
                </a:lnTo>
                <a:lnTo>
                  <a:pt x="5647" y="3003"/>
                </a:lnTo>
                <a:lnTo>
                  <a:pt x="5649" y="3002"/>
                </a:lnTo>
                <a:lnTo>
                  <a:pt x="5650" y="3001"/>
                </a:lnTo>
                <a:lnTo>
                  <a:pt x="5651" y="3002"/>
                </a:lnTo>
                <a:lnTo>
                  <a:pt x="5653" y="3003"/>
                </a:lnTo>
                <a:lnTo>
                  <a:pt x="5655" y="3005"/>
                </a:lnTo>
                <a:lnTo>
                  <a:pt x="5657" y="3008"/>
                </a:lnTo>
                <a:lnTo>
                  <a:pt x="5659" y="3013"/>
                </a:lnTo>
                <a:lnTo>
                  <a:pt x="5661" y="3014"/>
                </a:lnTo>
                <a:lnTo>
                  <a:pt x="5662" y="3016"/>
                </a:lnTo>
                <a:lnTo>
                  <a:pt x="5666" y="3018"/>
                </a:lnTo>
                <a:lnTo>
                  <a:pt x="5670" y="3020"/>
                </a:lnTo>
                <a:lnTo>
                  <a:pt x="5673" y="3021"/>
                </a:lnTo>
                <a:lnTo>
                  <a:pt x="5676" y="3021"/>
                </a:lnTo>
                <a:lnTo>
                  <a:pt x="5679" y="3021"/>
                </a:lnTo>
                <a:lnTo>
                  <a:pt x="5681" y="3020"/>
                </a:lnTo>
                <a:lnTo>
                  <a:pt x="5684" y="3017"/>
                </a:lnTo>
                <a:lnTo>
                  <a:pt x="5686" y="3013"/>
                </a:lnTo>
                <a:lnTo>
                  <a:pt x="5689" y="3010"/>
                </a:lnTo>
                <a:lnTo>
                  <a:pt x="5691" y="3006"/>
                </a:lnTo>
                <a:lnTo>
                  <a:pt x="5692" y="3005"/>
                </a:lnTo>
                <a:lnTo>
                  <a:pt x="5693" y="3005"/>
                </a:lnTo>
                <a:lnTo>
                  <a:pt x="5699" y="3005"/>
                </a:lnTo>
                <a:lnTo>
                  <a:pt x="5697" y="3002"/>
                </a:lnTo>
                <a:lnTo>
                  <a:pt x="5696" y="3000"/>
                </a:lnTo>
                <a:lnTo>
                  <a:pt x="5696" y="2999"/>
                </a:lnTo>
                <a:lnTo>
                  <a:pt x="5698" y="2997"/>
                </a:lnTo>
                <a:lnTo>
                  <a:pt x="5702" y="2995"/>
                </a:lnTo>
                <a:lnTo>
                  <a:pt x="5705" y="2993"/>
                </a:lnTo>
                <a:lnTo>
                  <a:pt x="5707" y="2990"/>
                </a:lnTo>
                <a:lnTo>
                  <a:pt x="5707" y="2992"/>
                </a:lnTo>
                <a:lnTo>
                  <a:pt x="5707" y="2994"/>
                </a:lnTo>
                <a:lnTo>
                  <a:pt x="5707" y="2995"/>
                </a:lnTo>
                <a:lnTo>
                  <a:pt x="5709" y="2997"/>
                </a:lnTo>
                <a:lnTo>
                  <a:pt x="5710" y="2999"/>
                </a:lnTo>
                <a:lnTo>
                  <a:pt x="5705" y="3002"/>
                </a:lnTo>
                <a:lnTo>
                  <a:pt x="5703" y="3004"/>
                </a:lnTo>
                <a:lnTo>
                  <a:pt x="5702" y="3006"/>
                </a:lnTo>
                <a:lnTo>
                  <a:pt x="5702" y="3007"/>
                </a:lnTo>
                <a:lnTo>
                  <a:pt x="5709" y="3005"/>
                </a:lnTo>
                <a:lnTo>
                  <a:pt x="5717" y="3004"/>
                </a:lnTo>
                <a:lnTo>
                  <a:pt x="5719" y="3004"/>
                </a:lnTo>
                <a:lnTo>
                  <a:pt x="5720" y="3004"/>
                </a:lnTo>
                <a:lnTo>
                  <a:pt x="5719" y="3005"/>
                </a:lnTo>
                <a:lnTo>
                  <a:pt x="5718" y="3006"/>
                </a:lnTo>
                <a:lnTo>
                  <a:pt x="5717" y="3008"/>
                </a:lnTo>
                <a:lnTo>
                  <a:pt x="5710" y="3013"/>
                </a:lnTo>
                <a:lnTo>
                  <a:pt x="5714" y="3015"/>
                </a:lnTo>
                <a:lnTo>
                  <a:pt x="5719" y="3017"/>
                </a:lnTo>
                <a:lnTo>
                  <a:pt x="5724" y="3019"/>
                </a:lnTo>
                <a:lnTo>
                  <a:pt x="5728" y="3021"/>
                </a:lnTo>
                <a:lnTo>
                  <a:pt x="5728" y="3022"/>
                </a:lnTo>
                <a:lnTo>
                  <a:pt x="5729" y="3023"/>
                </a:lnTo>
                <a:lnTo>
                  <a:pt x="5729" y="3026"/>
                </a:lnTo>
                <a:lnTo>
                  <a:pt x="5730" y="3028"/>
                </a:lnTo>
                <a:lnTo>
                  <a:pt x="5731" y="3030"/>
                </a:lnTo>
                <a:lnTo>
                  <a:pt x="5731" y="3029"/>
                </a:lnTo>
                <a:lnTo>
                  <a:pt x="5732" y="3028"/>
                </a:lnTo>
                <a:lnTo>
                  <a:pt x="5732" y="3025"/>
                </a:lnTo>
                <a:lnTo>
                  <a:pt x="5733" y="3023"/>
                </a:lnTo>
                <a:lnTo>
                  <a:pt x="5734" y="3021"/>
                </a:lnTo>
                <a:lnTo>
                  <a:pt x="5735" y="3021"/>
                </a:lnTo>
                <a:lnTo>
                  <a:pt x="5737" y="3021"/>
                </a:lnTo>
                <a:lnTo>
                  <a:pt x="5740" y="3022"/>
                </a:lnTo>
                <a:lnTo>
                  <a:pt x="5742" y="3021"/>
                </a:lnTo>
                <a:lnTo>
                  <a:pt x="5745" y="3019"/>
                </a:lnTo>
                <a:lnTo>
                  <a:pt x="5748" y="3016"/>
                </a:lnTo>
                <a:lnTo>
                  <a:pt x="5750" y="3012"/>
                </a:lnTo>
                <a:lnTo>
                  <a:pt x="5752" y="3008"/>
                </a:lnTo>
                <a:lnTo>
                  <a:pt x="5755" y="2999"/>
                </a:lnTo>
                <a:lnTo>
                  <a:pt x="5756" y="2993"/>
                </a:lnTo>
                <a:lnTo>
                  <a:pt x="5766" y="2993"/>
                </a:lnTo>
                <a:lnTo>
                  <a:pt x="5775" y="2994"/>
                </a:lnTo>
                <a:lnTo>
                  <a:pt x="5784" y="2994"/>
                </a:lnTo>
                <a:lnTo>
                  <a:pt x="5787" y="2994"/>
                </a:lnTo>
                <a:lnTo>
                  <a:pt x="5790" y="2993"/>
                </a:lnTo>
                <a:lnTo>
                  <a:pt x="5790" y="2992"/>
                </a:lnTo>
                <a:lnTo>
                  <a:pt x="5791" y="2991"/>
                </a:lnTo>
                <a:lnTo>
                  <a:pt x="5792" y="2989"/>
                </a:lnTo>
                <a:lnTo>
                  <a:pt x="5794" y="2988"/>
                </a:lnTo>
                <a:lnTo>
                  <a:pt x="5795" y="2988"/>
                </a:lnTo>
                <a:lnTo>
                  <a:pt x="5795" y="2984"/>
                </a:lnTo>
                <a:lnTo>
                  <a:pt x="5796" y="2981"/>
                </a:lnTo>
                <a:lnTo>
                  <a:pt x="5798" y="2979"/>
                </a:lnTo>
                <a:lnTo>
                  <a:pt x="5798" y="2976"/>
                </a:lnTo>
                <a:lnTo>
                  <a:pt x="5798" y="2975"/>
                </a:lnTo>
                <a:lnTo>
                  <a:pt x="5796" y="2974"/>
                </a:lnTo>
                <a:lnTo>
                  <a:pt x="5793" y="2972"/>
                </a:lnTo>
                <a:lnTo>
                  <a:pt x="5792" y="2971"/>
                </a:lnTo>
                <a:lnTo>
                  <a:pt x="5791" y="2971"/>
                </a:lnTo>
                <a:lnTo>
                  <a:pt x="5790" y="2970"/>
                </a:lnTo>
                <a:lnTo>
                  <a:pt x="5790" y="2968"/>
                </a:lnTo>
                <a:lnTo>
                  <a:pt x="5790" y="2965"/>
                </a:lnTo>
                <a:lnTo>
                  <a:pt x="5791" y="2964"/>
                </a:lnTo>
                <a:lnTo>
                  <a:pt x="5794" y="2962"/>
                </a:lnTo>
                <a:lnTo>
                  <a:pt x="5798" y="2960"/>
                </a:lnTo>
                <a:lnTo>
                  <a:pt x="5799" y="2957"/>
                </a:lnTo>
                <a:lnTo>
                  <a:pt x="5800" y="2954"/>
                </a:lnTo>
                <a:lnTo>
                  <a:pt x="5800" y="2948"/>
                </a:lnTo>
                <a:lnTo>
                  <a:pt x="5800" y="2941"/>
                </a:lnTo>
                <a:lnTo>
                  <a:pt x="5800" y="2938"/>
                </a:lnTo>
                <a:lnTo>
                  <a:pt x="5801" y="2934"/>
                </a:lnTo>
                <a:lnTo>
                  <a:pt x="5802" y="2931"/>
                </a:lnTo>
                <a:lnTo>
                  <a:pt x="5804" y="2928"/>
                </a:lnTo>
                <a:lnTo>
                  <a:pt x="5808" y="2921"/>
                </a:lnTo>
                <a:lnTo>
                  <a:pt x="5812" y="2913"/>
                </a:lnTo>
                <a:lnTo>
                  <a:pt x="5814" y="2910"/>
                </a:lnTo>
                <a:lnTo>
                  <a:pt x="5815" y="2906"/>
                </a:lnTo>
                <a:lnTo>
                  <a:pt x="5816" y="2902"/>
                </a:lnTo>
                <a:lnTo>
                  <a:pt x="5816" y="2899"/>
                </a:lnTo>
                <a:lnTo>
                  <a:pt x="5815" y="2895"/>
                </a:lnTo>
                <a:lnTo>
                  <a:pt x="5815" y="2892"/>
                </a:lnTo>
                <a:lnTo>
                  <a:pt x="5814" y="2886"/>
                </a:lnTo>
                <a:lnTo>
                  <a:pt x="5814" y="2883"/>
                </a:lnTo>
                <a:lnTo>
                  <a:pt x="5815" y="2881"/>
                </a:lnTo>
                <a:lnTo>
                  <a:pt x="5819" y="2881"/>
                </a:lnTo>
                <a:lnTo>
                  <a:pt x="5824" y="2881"/>
                </a:lnTo>
                <a:lnTo>
                  <a:pt x="5824" y="2879"/>
                </a:lnTo>
                <a:lnTo>
                  <a:pt x="5824" y="2877"/>
                </a:lnTo>
                <a:lnTo>
                  <a:pt x="5823" y="2874"/>
                </a:lnTo>
                <a:lnTo>
                  <a:pt x="5824" y="2872"/>
                </a:lnTo>
                <a:lnTo>
                  <a:pt x="5825" y="2871"/>
                </a:lnTo>
                <a:lnTo>
                  <a:pt x="5827" y="2869"/>
                </a:lnTo>
                <a:lnTo>
                  <a:pt x="5832" y="2866"/>
                </a:lnTo>
                <a:lnTo>
                  <a:pt x="5843" y="2861"/>
                </a:lnTo>
                <a:lnTo>
                  <a:pt x="5843" y="2855"/>
                </a:lnTo>
                <a:lnTo>
                  <a:pt x="5843" y="2856"/>
                </a:lnTo>
                <a:lnTo>
                  <a:pt x="5842" y="2856"/>
                </a:lnTo>
                <a:lnTo>
                  <a:pt x="5842" y="2853"/>
                </a:lnTo>
                <a:lnTo>
                  <a:pt x="5842" y="2850"/>
                </a:lnTo>
                <a:lnTo>
                  <a:pt x="5843" y="2847"/>
                </a:lnTo>
                <a:lnTo>
                  <a:pt x="5849" y="2847"/>
                </a:lnTo>
                <a:lnTo>
                  <a:pt x="5849" y="2844"/>
                </a:lnTo>
                <a:lnTo>
                  <a:pt x="5850" y="2842"/>
                </a:lnTo>
                <a:lnTo>
                  <a:pt x="5852" y="2839"/>
                </a:lnTo>
                <a:lnTo>
                  <a:pt x="5852" y="2836"/>
                </a:lnTo>
                <a:lnTo>
                  <a:pt x="5852" y="2833"/>
                </a:lnTo>
                <a:lnTo>
                  <a:pt x="5852" y="2827"/>
                </a:lnTo>
                <a:lnTo>
                  <a:pt x="5852" y="2822"/>
                </a:lnTo>
                <a:lnTo>
                  <a:pt x="5852" y="2816"/>
                </a:lnTo>
                <a:lnTo>
                  <a:pt x="5852" y="2813"/>
                </a:lnTo>
                <a:lnTo>
                  <a:pt x="5852" y="2810"/>
                </a:lnTo>
                <a:lnTo>
                  <a:pt x="5852" y="2801"/>
                </a:lnTo>
                <a:lnTo>
                  <a:pt x="5851" y="2793"/>
                </a:lnTo>
                <a:lnTo>
                  <a:pt x="5852" y="2785"/>
                </a:lnTo>
                <a:lnTo>
                  <a:pt x="5857" y="2785"/>
                </a:lnTo>
                <a:lnTo>
                  <a:pt x="5859" y="2778"/>
                </a:lnTo>
                <a:lnTo>
                  <a:pt x="5860" y="2774"/>
                </a:lnTo>
                <a:lnTo>
                  <a:pt x="5860" y="2769"/>
                </a:lnTo>
                <a:lnTo>
                  <a:pt x="5859" y="2763"/>
                </a:lnTo>
                <a:lnTo>
                  <a:pt x="5857" y="2757"/>
                </a:lnTo>
                <a:lnTo>
                  <a:pt x="5853" y="2747"/>
                </a:lnTo>
                <a:lnTo>
                  <a:pt x="5850" y="2742"/>
                </a:lnTo>
                <a:lnTo>
                  <a:pt x="5849" y="2737"/>
                </a:lnTo>
                <a:lnTo>
                  <a:pt x="5849" y="2733"/>
                </a:lnTo>
                <a:lnTo>
                  <a:pt x="5849" y="2727"/>
                </a:lnTo>
                <a:lnTo>
                  <a:pt x="5851" y="2715"/>
                </a:lnTo>
                <a:lnTo>
                  <a:pt x="5851" y="2708"/>
                </a:lnTo>
                <a:lnTo>
                  <a:pt x="5852" y="2701"/>
                </a:lnTo>
                <a:lnTo>
                  <a:pt x="5851" y="2698"/>
                </a:lnTo>
                <a:lnTo>
                  <a:pt x="5851" y="2695"/>
                </a:lnTo>
                <a:lnTo>
                  <a:pt x="5850" y="2692"/>
                </a:lnTo>
                <a:lnTo>
                  <a:pt x="5849" y="2689"/>
                </a:lnTo>
                <a:lnTo>
                  <a:pt x="5832" y="2678"/>
                </a:lnTo>
                <a:lnTo>
                  <a:pt x="5832" y="2677"/>
                </a:lnTo>
                <a:lnTo>
                  <a:pt x="5831" y="2676"/>
                </a:lnTo>
                <a:lnTo>
                  <a:pt x="5832" y="2673"/>
                </a:lnTo>
                <a:lnTo>
                  <a:pt x="5832" y="2670"/>
                </a:lnTo>
                <a:lnTo>
                  <a:pt x="5832" y="2667"/>
                </a:lnTo>
                <a:lnTo>
                  <a:pt x="5829" y="2664"/>
                </a:lnTo>
                <a:lnTo>
                  <a:pt x="5823" y="2661"/>
                </a:lnTo>
                <a:lnTo>
                  <a:pt x="5815" y="2656"/>
                </a:lnTo>
                <a:lnTo>
                  <a:pt x="5814" y="2653"/>
                </a:lnTo>
                <a:lnTo>
                  <a:pt x="5813" y="2650"/>
                </a:lnTo>
                <a:lnTo>
                  <a:pt x="5813" y="2646"/>
                </a:lnTo>
                <a:lnTo>
                  <a:pt x="5812" y="2643"/>
                </a:lnTo>
                <a:lnTo>
                  <a:pt x="5812" y="2635"/>
                </a:lnTo>
                <a:lnTo>
                  <a:pt x="5812" y="2628"/>
                </a:lnTo>
                <a:lnTo>
                  <a:pt x="5806" y="2625"/>
                </a:lnTo>
                <a:lnTo>
                  <a:pt x="5801" y="2621"/>
                </a:lnTo>
                <a:lnTo>
                  <a:pt x="5799" y="2620"/>
                </a:lnTo>
                <a:lnTo>
                  <a:pt x="5796" y="2619"/>
                </a:lnTo>
                <a:lnTo>
                  <a:pt x="5793" y="2617"/>
                </a:lnTo>
                <a:lnTo>
                  <a:pt x="5790" y="2616"/>
                </a:lnTo>
                <a:lnTo>
                  <a:pt x="5790" y="2606"/>
                </a:lnTo>
                <a:lnTo>
                  <a:pt x="5790" y="2595"/>
                </a:lnTo>
                <a:lnTo>
                  <a:pt x="5789" y="2591"/>
                </a:lnTo>
                <a:lnTo>
                  <a:pt x="5788" y="2587"/>
                </a:lnTo>
                <a:lnTo>
                  <a:pt x="5787" y="2585"/>
                </a:lnTo>
                <a:lnTo>
                  <a:pt x="5785" y="2584"/>
                </a:lnTo>
                <a:lnTo>
                  <a:pt x="5783" y="2582"/>
                </a:lnTo>
                <a:lnTo>
                  <a:pt x="5781" y="2582"/>
                </a:lnTo>
                <a:lnTo>
                  <a:pt x="5776" y="2582"/>
                </a:lnTo>
                <a:lnTo>
                  <a:pt x="5777" y="2578"/>
                </a:lnTo>
                <a:lnTo>
                  <a:pt x="5779" y="2576"/>
                </a:lnTo>
                <a:lnTo>
                  <a:pt x="5780" y="2574"/>
                </a:lnTo>
                <a:lnTo>
                  <a:pt x="5781" y="2573"/>
                </a:lnTo>
                <a:lnTo>
                  <a:pt x="5781" y="2572"/>
                </a:lnTo>
                <a:lnTo>
                  <a:pt x="5781" y="2571"/>
                </a:lnTo>
                <a:lnTo>
                  <a:pt x="5780" y="2570"/>
                </a:lnTo>
                <a:lnTo>
                  <a:pt x="5779" y="2569"/>
                </a:lnTo>
                <a:lnTo>
                  <a:pt x="5779" y="2568"/>
                </a:lnTo>
                <a:lnTo>
                  <a:pt x="5779" y="2565"/>
                </a:lnTo>
                <a:lnTo>
                  <a:pt x="5774" y="2562"/>
                </a:lnTo>
                <a:lnTo>
                  <a:pt x="5769" y="2559"/>
                </a:lnTo>
                <a:lnTo>
                  <a:pt x="5754" y="2552"/>
                </a:lnTo>
                <a:lnTo>
                  <a:pt x="5747" y="2548"/>
                </a:lnTo>
                <a:lnTo>
                  <a:pt x="5741" y="2545"/>
                </a:lnTo>
                <a:lnTo>
                  <a:pt x="5736" y="2542"/>
                </a:lnTo>
                <a:lnTo>
                  <a:pt x="5734" y="2541"/>
                </a:lnTo>
                <a:lnTo>
                  <a:pt x="5734" y="2539"/>
                </a:lnTo>
                <a:lnTo>
                  <a:pt x="5732" y="2535"/>
                </a:lnTo>
                <a:lnTo>
                  <a:pt x="5731" y="2533"/>
                </a:lnTo>
                <a:lnTo>
                  <a:pt x="5731" y="2530"/>
                </a:lnTo>
                <a:lnTo>
                  <a:pt x="5731" y="2520"/>
                </a:lnTo>
                <a:lnTo>
                  <a:pt x="5732" y="2510"/>
                </a:lnTo>
                <a:lnTo>
                  <a:pt x="5731" y="2505"/>
                </a:lnTo>
                <a:lnTo>
                  <a:pt x="5731" y="2500"/>
                </a:lnTo>
                <a:lnTo>
                  <a:pt x="5730" y="2497"/>
                </a:lnTo>
                <a:lnTo>
                  <a:pt x="5728" y="2494"/>
                </a:lnTo>
                <a:lnTo>
                  <a:pt x="5724" y="2488"/>
                </a:lnTo>
                <a:lnTo>
                  <a:pt x="5719" y="2483"/>
                </a:lnTo>
                <a:lnTo>
                  <a:pt x="5718" y="2480"/>
                </a:lnTo>
                <a:lnTo>
                  <a:pt x="5717" y="2477"/>
                </a:lnTo>
                <a:lnTo>
                  <a:pt x="5716" y="2473"/>
                </a:lnTo>
                <a:lnTo>
                  <a:pt x="5716" y="2469"/>
                </a:lnTo>
                <a:lnTo>
                  <a:pt x="5717" y="2460"/>
                </a:lnTo>
                <a:lnTo>
                  <a:pt x="5718" y="2452"/>
                </a:lnTo>
                <a:lnTo>
                  <a:pt x="5718" y="2448"/>
                </a:lnTo>
                <a:lnTo>
                  <a:pt x="5717" y="2444"/>
                </a:lnTo>
                <a:lnTo>
                  <a:pt x="5707" y="2444"/>
                </a:lnTo>
                <a:lnTo>
                  <a:pt x="5704" y="2438"/>
                </a:lnTo>
                <a:lnTo>
                  <a:pt x="5702" y="2438"/>
                </a:lnTo>
                <a:lnTo>
                  <a:pt x="5702" y="2434"/>
                </a:lnTo>
                <a:lnTo>
                  <a:pt x="5702" y="2430"/>
                </a:lnTo>
                <a:lnTo>
                  <a:pt x="5699" y="2431"/>
                </a:lnTo>
                <a:lnTo>
                  <a:pt x="5698" y="2431"/>
                </a:lnTo>
                <a:lnTo>
                  <a:pt x="5693" y="2432"/>
                </a:lnTo>
                <a:lnTo>
                  <a:pt x="5693" y="2438"/>
                </a:lnTo>
                <a:lnTo>
                  <a:pt x="5691" y="2438"/>
                </a:lnTo>
                <a:lnTo>
                  <a:pt x="5689" y="2438"/>
                </a:lnTo>
                <a:lnTo>
                  <a:pt x="5688" y="2438"/>
                </a:lnTo>
                <a:lnTo>
                  <a:pt x="5688" y="2437"/>
                </a:lnTo>
                <a:lnTo>
                  <a:pt x="5687" y="2435"/>
                </a:lnTo>
                <a:lnTo>
                  <a:pt x="5686" y="2435"/>
                </a:lnTo>
                <a:lnTo>
                  <a:pt x="5685" y="2435"/>
                </a:lnTo>
                <a:lnTo>
                  <a:pt x="5684" y="2422"/>
                </a:lnTo>
                <a:lnTo>
                  <a:pt x="5683" y="2411"/>
                </a:lnTo>
                <a:lnTo>
                  <a:pt x="5681" y="2401"/>
                </a:lnTo>
                <a:lnTo>
                  <a:pt x="5678" y="2392"/>
                </a:lnTo>
                <a:lnTo>
                  <a:pt x="5675" y="2384"/>
                </a:lnTo>
                <a:lnTo>
                  <a:pt x="5671" y="2376"/>
                </a:lnTo>
                <a:lnTo>
                  <a:pt x="5662" y="2359"/>
                </a:lnTo>
                <a:lnTo>
                  <a:pt x="5658" y="2359"/>
                </a:lnTo>
                <a:lnTo>
                  <a:pt x="5654" y="2359"/>
                </a:lnTo>
                <a:lnTo>
                  <a:pt x="5652" y="2375"/>
                </a:lnTo>
                <a:lnTo>
                  <a:pt x="5651" y="2388"/>
                </a:lnTo>
                <a:lnTo>
                  <a:pt x="5650" y="2400"/>
                </a:lnTo>
                <a:lnTo>
                  <a:pt x="5651" y="2413"/>
                </a:lnTo>
                <a:lnTo>
                  <a:pt x="5645" y="2416"/>
                </a:lnTo>
                <a:lnTo>
                  <a:pt x="5645" y="2424"/>
                </a:lnTo>
                <a:lnTo>
                  <a:pt x="5645" y="2431"/>
                </a:lnTo>
                <a:lnTo>
                  <a:pt x="5646" y="2438"/>
                </a:lnTo>
                <a:lnTo>
                  <a:pt x="5646" y="2445"/>
                </a:lnTo>
                <a:lnTo>
                  <a:pt x="5647" y="2452"/>
                </a:lnTo>
                <a:lnTo>
                  <a:pt x="5647" y="2459"/>
                </a:lnTo>
                <a:lnTo>
                  <a:pt x="5647" y="2467"/>
                </a:lnTo>
                <a:lnTo>
                  <a:pt x="5645" y="2475"/>
                </a:lnTo>
                <a:lnTo>
                  <a:pt x="5642" y="2476"/>
                </a:lnTo>
                <a:lnTo>
                  <a:pt x="5641" y="2477"/>
                </a:lnTo>
                <a:lnTo>
                  <a:pt x="5640" y="2477"/>
                </a:lnTo>
                <a:lnTo>
                  <a:pt x="5639" y="2479"/>
                </a:lnTo>
                <a:lnTo>
                  <a:pt x="5639" y="2481"/>
                </a:lnTo>
                <a:lnTo>
                  <a:pt x="5639" y="2484"/>
                </a:lnTo>
                <a:lnTo>
                  <a:pt x="5640" y="2488"/>
                </a:lnTo>
                <a:lnTo>
                  <a:pt x="5640" y="2492"/>
                </a:lnTo>
                <a:lnTo>
                  <a:pt x="5634" y="2497"/>
                </a:lnTo>
                <a:lnTo>
                  <a:pt x="5634" y="2500"/>
                </a:lnTo>
                <a:lnTo>
                  <a:pt x="5634" y="2503"/>
                </a:lnTo>
                <a:lnTo>
                  <a:pt x="5634" y="2506"/>
                </a:lnTo>
                <a:lnTo>
                  <a:pt x="5634" y="2507"/>
                </a:lnTo>
                <a:lnTo>
                  <a:pt x="5634" y="2508"/>
                </a:lnTo>
                <a:lnTo>
                  <a:pt x="5633" y="2509"/>
                </a:lnTo>
                <a:lnTo>
                  <a:pt x="5631" y="2509"/>
                </a:lnTo>
                <a:lnTo>
                  <a:pt x="5630" y="2509"/>
                </a:lnTo>
                <a:lnTo>
                  <a:pt x="5628" y="2511"/>
                </a:lnTo>
                <a:lnTo>
                  <a:pt x="5627" y="2511"/>
                </a:lnTo>
                <a:lnTo>
                  <a:pt x="5625" y="2511"/>
                </a:lnTo>
                <a:lnTo>
                  <a:pt x="5621" y="2511"/>
                </a:lnTo>
                <a:lnTo>
                  <a:pt x="5618" y="2512"/>
                </a:lnTo>
                <a:lnTo>
                  <a:pt x="5616" y="2512"/>
                </a:lnTo>
                <a:lnTo>
                  <a:pt x="5614" y="2511"/>
                </a:lnTo>
                <a:lnTo>
                  <a:pt x="5613" y="2510"/>
                </a:lnTo>
                <a:lnTo>
                  <a:pt x="5611" y="2508"/>
                </a:lnTo>
                <a:lnTo>
                  <a:pt x="5609" y="2503"/>
                </a:lnTo>
                <a:lnTo>
                  <a:pt x="5608" y="2498"/>
                </a:lnTo>
                <a:lnTo>
                  <a:pt x="5607" y="2496"/>
                </a:lnTo>
                <a:lnTo>
                  <a:pt x="5607" y="2495"/>
                </a:lnTo>
                <a:lnTo>
                  <a:pt x="5606" y="2494"/>
                </a:lnTo>
                <a:lnTo>
                  <a:pt x="5604" y="2494"/>
                </a:lnTo>
                <a:lnTo>
                  <a:pt x="5602" y="2494"/>
                </a:lnTo>
                <a:lnTo>
                  <a:pt x="5599" y="2494"/>
                </a:lnTo>
                <a:lnTo>
                  <a:pt x="5597" y="2494"/>
                </a:lnTo>
                <a:lnTo>
                  <a:pt x="5596" y="2494"/>
                </a:lnTo>
                <a:lnTo>
                  <a:pt x="5595" y="2493"/>
                </a:lnTo>
                <a:lnTo>
                  <a:pt x="5592" y="2490"/>
                </a:lnTo>
                <a:lnTo>
                  <a:pt x="5590" y="2487"/>
                </a:lnTo>
                <a:lnTo>
                  <a:pt x="5587" y="2483"/>
                </a:lnTo>
                <a:lnTo>
                  <a:pt x="5585" y="2480"/>
                </a:lnTo>
                <a:lnTo>
                  <a:pt x="5583" y="2477"/>
                </a:lnTo>
                <a:lnTo>
                  <a:pt x="5580" y="2474"/>
                </a:lnTo>
                <a:lnTo>
                  <a:pt x="5578" y="2472"/>
                </a:lnTo>
                <a:lnTo>
                  <a:pt x="5575" y="2470"/>
                </a:lnTo>
                <a:lnTo>
                  <a:pt x="5572" y="2470"/>
                </a:lnTo>
                <a:lnTo>
                  <a:pt x="5567" y="2469"/>
                </a:lnTo>
                <a:lnTo>
                  <a:pt x="5561" y="2468"/>
                </a:lnTo>
                <a:lnTo>
                  <a:pt x="5558" y="2468"/>
                </a:lnTo>
                <a:lnTo>
                  <a:pt x="5555" y="2466"/>
                </a:lnTo>
                <a:lnTo>
                  <a:pt x="5555" y="2461"/>
                </a:lnTo>
                <a:lnTo>
                  <a:pt x="5547" y="2456"/>
                </a:lnTo>
                <a:lnTo>
                  <a:pt x="5543" y="2455"/>
                </a:lnTo>
                <a:lnTo>
                  <a:pt x="5538" y="2452"/>
                </a:lnTo>
                <a:lnTo>
                  <a:pt x="5539" y="2447"/>
                </a:lnTo>
                <a:lnTo>
                  <a:pt x="5539" y="2442"/>
                </a:lnTo>
                <a:lnTo>
                  <a:pt x="5538" y="2432"/>
                </a:lnTo>
                <a:lnTo>
                  <a:pt x="5544" y="2430"/>
                </a:lnTo>
                <a:lnTo>
                  <a:pt x="5545" y="2424"/>
                </a:lnTo>
                <a:lnTo>
                  <a:pt x="5545" y="2419"/>
                </a:lnTo>
                <a:lnTo>
                  <a:pt x="5545" y="2417"/>
                </a:lnTo>
                <a:lnTo>
                  <a:pt x="5544" y="2415"/>
                </a:lnTo>
                <a:lnTo>
                  <a:pt x="5543" y="2414"/>
                </a:lnTo>
                <a:lnTo>
                  <a:pt x="5541" y="2413"/>
                </a:lnTo>
                <a:lnTo>
                  <a:pt x="5545" y="2412"/>
                </a:lnTo>
                <a:lnTo>
                  <a:pt x="5548" y="2412"/>
                </a:lnTo>
                <a:lnTo>
                  <a:pt x="5555" y="2413"/>
                </a:lnTo>
                <a:lnTo>
                  <a:pt x="5555" y="2408"/>
                </a:lnTo>
                <a:lnTo>
                  <a:pt x="5555" y="2404"/>
                </a:lnTo>
                <a:lnTo>
                  <a:pt x="5554" y="2403"/>
                </a:lnTo>
                <a:lnTo>
                  <a:pt x="5553" y="2403"/>
                </a:lnTo>
                <a:lnTo>
                  <a:pt x="5552" y="2402"/>
                </a:lnTo>
                <a:lnTo>
                  <a:pt x="5552" y="2400"/>
                </a:lnTo>
                <a:lnTo>
                  <a:pt x="5552" y="2399"/>
                </a:lnTo>
                <a:lnTo>
                  <a:pt x="5554" y="2398"/>
                </a:lnTo>
                <a:lnTo>
                  <a:pt x="5556" y="2397"/>
                </a:lnTo>
                <a:lnTo>
                  <a:pt x="5559" y="2395"/>
                </a:lnTo>
                <a:lnTo>
                  <a:pt x="5560" y="2394"/>
                </a:lnTo>
                <a:lnTo>
                  <a:pt x="5561" y="2393"/>
                </a:lnTo>
                <a:lnTo>
                  <a:pt x="5561" y="2391"/>
                </a:lnTo>
                <a:lnTo>
                  <a:pt x="5560" y="2388"/>
                </a:lnTo>
                <a:lnTo>
                  <a:pt x="5558" y="2382"/>
                </a:lnTo>
                <a:lnTo>
                  <a:pt x="5555" y="2383"/>
                </a:lnTo>
                <a:lnTo>
                  <a:pt x="5548" y="2386"/>
                </a:lnTo>
                <a:lnTo>
                  <a:pt x="5544" y="2387"/>
                </a:lnTo>
                <a:lnTo>
                  <a:pt x="5541" y="2382"/>
                </a:lnTo>
                <a:lnTo>
                  <a:pt x="5534" y="2382"/>
                </a:lnTo>
                <a:lnTo>
                  <a:pt x="5527" y="2382"/>
                </a:lnTo>
                <a:lnTo>
                  <a:pt x="5520" y="2381"/>
                </a:lnTo>
                <a:lnTo>
                  <a:pt x="5510" y="2379"/>
                </a:lnTo>
                <a:lnTo>
                  <a:pt x="5512" y="2379"/>
                </a:lnTo>
                <a:lnTo>
                  <a:pt x="5509" y="2378"/>
                </a:lnTo>
                <a:lnTo>
                  <a:pt x="5506" y="2378"/>
                </a:lnTo>
                <a:lnTo>
                  <a:pt x="5507" y="2379"/>
                </a:lnTo>
                <a:lnTo>
                  <a:pt x="5504" y="2377"/>
                </a:lnTo>
                <a:lnTo>
                  <a:pt x="5502" y="2375"/>
                </a:lnTo>
                <a:lnTo>
                  <a:pt x="5501" y="2373"/>
                </a:lnTo>
                <a:lnTo>
                  <a:pt x="5499" y="2371"/>
                </a:lnTo>
                <a:lnTo>
                  <a:pt x="5495" y="2373"/>
                </a:lnTo>
                <a:lnTo>
                  <a:pt x="5493" y="2375"/>
                </a:lnTo>
                <a:lnTo>
                  <a:pt x="5493" y="2376"/>
                </a:lnTo>
                <a:lnTo>
                  <a:pt x="5489" y="2375"/>
                </a:lnTo>
                <a:lnTo>
                  <a:pt x="5487" y="2374"/>
                </a:lnTo>
                <a:lnTo>
                  <a:pt x="5488" y="2373"/>
                </a:lnTo>
                <a:lnTo>
                  <a:pt x="5485" y="2372"/>
                </a:lnTo>
                <a:lnTo>
                  <a:pt x="5482" y="2369"/>
                </a:lnTo>
                <a:lnTo>
                  <a:pt x="5479" y="2366"/>
                </a:lnTo>
                <a:lnTo>
                  <a:pt x="5477" y="2365"/>
                </a:lnTo>
                <a:lnTo>
                  <a:pt x="5473" y="2364"/>
                </a:lnTo>
                <a:lnTo>
                  <a:pt x="5470" y="2364"/>
                </a:lnTo>
                <a:lnTo>
                  <a:pt x="5469" y="2364"/>
                </a:lnTo>
                <a:lnTo>
                  <a:pt x="5469" y="2365"/>
                </a:lnTo>
                <a:lnTo>
                  <a:pt x="5469" y="2366"/>
                </a:lnTo>
                <a:lnTo>
                  <a:pt x="5470" y="2368"/>
                </a:lnTo>
                <a:lnTo>
                  <a:pt x="5474" y="2371"/>
                </a:lnTo>
                <a:lnTo>
                  <a:pt x="5485" y="2378"/>
                </a:lnTo>
                <a:lnTo>
                  <a:pt x="5491" y="2382"/>
                </a:lnTo>
                <a:lnTo>
                  <a:pt x="5490" y="2384"/>
                </a:lnTo>
                <a:lnTo>
                  <a:pt x="5490" y="2387"/>
                </a:lnTo>
                <a:lnTo>
                  <a:pt x="5489" y="2388"/>
                </a:lnTo>
                <a:lnTo>
                  <a:pt x="5488" y="2389"/>
                </a:lnTo>
                <a:lnTo>
                  <a:pt x="5487" y="2389"/>
                </a:lnTo>
                <a:lnTo>
                  <a:pt x="5485" y="2387"/>
                </a:lnTo>
                <a:lnTo>
                  <a:pt x="5485" y="2393"/>
                </a:lnTo>
                <a:lnTo>
                  <a:pt x="5482" y="2393"/>
                </a:lnTo>
                <a:lnTo>
                  <a:pt x="5479" y="2392"/>
                </a:lnTo>
                <a:lnTo>
                  <a:pt x="5472" y="2389"/>
                </a:lnTo>
                <a:lnTo>
                  <a:pt x="5464" y="2386"/>
                </a:lnTo>
                <a:lnTo>
                  <a:pt x="5460" y="2385"/>
                </a:lnTo>
                <a:lnTo>
                  <a:pt x="5457" y="2385"/>
                </a:lnTo>
                <a:lnTo>
                  <a:pt x="5456" y="2386"/>
                </a:lnTo>
                <a:lnTo>
                  <a:pt x="5455" y="2389"/>
                </a:lnTo>
                <a:lnTo>
                  <a:pt x="5454" y="2393"/>
                </a:lnTo>
                <a:lnTo>
                  <a:pt x="5453" y="2393"/>
                </a:lnTo>
                <a:lnTo>
                  <a:pt x="5452" y="2393"/>
                </a:lnTo>
                <a:lnTo>
                  <a:pt x="5449" y="2391"/>
                </a:lnTo>
                <a:lnTo>
                  <a:pt x="5446" y="2387"/>
                </a:lnTo>
                <a:lnTo>
                  <a:pt x="5444" y="2395"/>
                </a:lnTo>
                <a:lnTo>
                  <a:pt x="5443" y="2398"/>
                </a:lnTo>
                <a:lnTo>
                  <a:pt x="5442" y="2402"/>
                </a:lnTo>
                <a:lnTo>
                  <a:pt x="5442" y="2405"/>
                </a:lnTo>
                <a:lnTo>
                  <a:pt x="5442" y="2408"/>
                </a:lnTo>
                <a:lnTo>
                  <a:pt x="5443" y="2411"/>
                </a:lnTo>
                <a:lnTo>
                  <a:pt x="5446" y="2413"/>
                </a:lnTo>
                <a:lnTo>
                  <a:pt x="5445" y="2413"/>
                </a:lnTo>
                <a:lnTo>
                  <a:pt x="5443" y="2413"/>
                </a:lnTo>
                <a:lnTo>
                  <a:pt x="5440" y="2413"/>
                </a:lnTo>
                <a:lnTo>
                  <a:pt x="5437" y="2412"/>
                </a:lnTo>
                <a:lnTo>
                  <a:pt x="5436" y="2412"/>
                </a:lnTo>
                <a:lnTo>
                  <a:pt x="5434" y="2413"/>
                </a:lnTo>
                <a:lnTo>
                  <a:pt x="5434" y="2415"/>
                </a:lnTo>
                <a:lnTo>
                  <a:pt x="5434" y="2419"/>
                </a:lnTo>
                <a:lnTo>
                  <a:pt x="5434" y="2427"/>
                </a:lnTo>
                <a:lnTo>
                  <a:pt x="5428" y="2429"/>
                </a:lnTo>
                <a:lnTo>
                  <a:pt x="5426" y="2430"/>
                </a:lnTo>
                <a:lnTo>
                  <a:pt x="5423" y="2432"/>
                </a:lnTo>
                <a:lnTo>
                  <a:pt x="5425" y="2436"/>
                </a:lnTo>
                <a:lnTo>
                  <a:pt x="5427" y="2439"/>
                </a:lnTo>
                <a:lnTo>
                  <a:pt x="5431" y="2444"/>
                </a:lnTo>
                <a:lnTo>
                  <a:pt x="5431" y="2445"/>
                </a:lnTo>
                <a:lnTo>
                  <a:pt x="5431" y="2446"/>
                </a:lnTo>
                <a:lnTo>
                  <a:pt x="5430" y="2446"/>
                </a:lnTo>
                <a:lnTo>
                  <a:pt x="5430" y="2447"/>
                </a:lnTo>
                <a:lnTo>
                  <a:pt x="5426" y="2448"/>
                </a:lnTo>
                <a:lnTo>
                  <a:pt x="5420" y="2449"/>
                </a:lnTo>
                <a:lnTo>
                  <a:pt x="5421" y="2449"/>
                </a:lnTo>
                <a:lnTo>
                  <a:pt x="5419" y="2448"/>
                </a:lnTo>
                <a:lnTo>
                  <a:pt x="5415" y="2446"/>
                </a:lnTo>
                <a:lnTo>
                  <a:pt x="5416" y="2445"/>
                </a:lnTo>
                <a:lnTo>
                  <a:pt x="5415" y="2444"/>
                </a:lnTo>
                <a:lnTo>
                  <a:pt x="5414" y="2444"/>
                </a:lnTo>
                <a:lnTo>
                  <a:pt x="5412" y="2444"/>
                </a:lnTo>
                <a:lnTo>
                  <a:pt x="5406" y="2444"/>
                </a:lnTo>
                <a:lnTo>
                  <a:pt x="5406" y="2446"/>
                </a:lnTo>
                <a:lnTo>
                  <a:pt x="5406" y="2449"/>
                </a:lnTo>
                <a:lnTo>
                  <a:pt x="5406" y="2455"/>
                </a:lnTo>
                <a:lnTo>
                  <a:pt x="5398" y="2458"/>
                </a:lnTo>
                <a:lnTo>
                  <a:pt x="5400" y="2448"/>
                </a:lnTo>
                <a:lnTo>
                  <a:pt x="5401" y="2445"/>
                </a:lnTo>
                <a:lnTo>
                  <a:pt x="5401" y="2442"/>
                </a:lnTo>
                <a:lnTo>
                  <a:pt x="5401" y="2440"/>
                </a:lnTo>
                <a:lnTo>
                  <a:pt x="5400" y="2439"/>
                </a:lnTo>
                <a:lnTo>
                  <a:pt x="5399" y="2436"/>
                </a:lnTo>
                <a:lnTo>
                  <a:pt x="5396" y="2433"/>
                </a:lnTo>
                <a:lnTo>
                  <a:pt x="5392" y="2430"/>
                </a:lnTo>
                <a:lnTo>
                  <a:pt x="5389" y="2421"/>
                </a:lnTo>
                <a:lnTo>
                  <a:pt x="5382" y="2423"/>
                </a:lnTo>
                <a:lnTo>
                  <a:pt x="5377" y="2424"/>
                </a:lnTo>
                <a:lnTo>
                  <a:pt x="5373" y="2424"/>
                </a:lnTo>
                <a:lnTo>
                  <a:pt x="5371" y="2424"/>
                </a:lnTo>
                <a:lnTo>
                  <a:pt x="5370" y="2426"/>
                </a:lnTo>
                <a:lnTo>
                  <a:pt x="5369" y="2428"/>
                </a:lnTo>
                <a:lnTo>
                  <a:pt x="5367" y="2438"/>
                </a:lnTo>
                <a:lnTo>
                  <a:pt x="5365" y="2437"/>
                </a:lnTo>
                <a:lnTo>
                  <a:pt x="5364" y="2435"/>
                </a:lnTo>
                <a:lnTo>
                  <a:pt x="5364" y="2432"/>
                </a:lnTo>
                <a:lnTo>
                  <a:pt x="5358" y="2432"/>
                </a:lnTo>
                <a:lnTo>
                  <a:pt x="5361" y="2438"/>
                </a:lnTo>
                <a:lnTo>
                  <a:pt x="5356" y="2438"/>
                </a:lnTo>
                <a:lnTo>
                  <a:pt x="5358" y="2444"/>
                </a:lnTo>
                <a:lnTo>
                  <a:pt x="5358" y="2448"/>
                </a:lnTo>
                <a:lnTo>
                  <a:pt x="5358" y="2449"/>
                </a:lnTo>
                <a:lnTo>
                  <a:pt x="5356" y="2449"/>
                </a:lnTo>
                <a:lnTo>
                  <a:pt x="5354" y="2449"/>
                </a:lnTo>
                <a:lnTo>
                  <a:pt x="5352" y="2449"/>
                </a:lnTo>
                <a:lnTo>
                  <a:pt x="5350" y="2449"/>
                </a:lnTo>
                <a:lnTo>
                  <a:pt x="5352" y="2453"/>
                </a:lnTo>
                <a:lnTo>
                  <a:pt x="5354" y="2456"/>
                </a:lnTo>
                <a:lnTo>
                  <a:pt x="5353" y="2457"/>
                </a:lnTo>
                <a:lnTo>
                  <a:pt x="5353" y="2458"/>
                </a:lnTo>
                <a:lnTo>
                  <a:pt x="5352" y="2458"/>
                </a:lnTo>
                <a:lnTo>
                  <a:pt x="5351" y="2457"/>
                </a:lnTo>
                <a:lnTo>
                  <a:pt x="5348" y="2455"/>
                </a:lnTo>
                <a:lnTo>
                  <a:pt x="5344" y="2452"/>
                </a:lnTo>
                <a:lnTo>
                  <a:pt x="5344" y="2453"/>
                </a:lnTo>
                <a:lnTo>
                  <a:pt x="5343" y="2454"/>
                </a:lnTo>
                <a:lnTo>
                  <a:pt x="5341" y="2456"/>
                </a:lnTo>
                <a:lnTo>
                  <a:pt x="5340" y="2457"/>
                </a:lnTo>
                <a:lnTo>
                  <a:pt x="5339" y="2458"/>
                </a:lnTo>
                <a:lnTo>
                  <a:pt x="5338" y="2461"/>
                </a:lnTo>
                <a:lnTo>
                  <a:pt x="5338" y="2465"/>
                </a:lnTo>
                <a:lnTo>
                  <a:pt x="5339" y="2469"/>
                </a:lnTo>
                <a:lnTo>
                  <a:pt x="5339" y="2475"/>
                </a:lnTo>
                <a:lnTo>
                  <a:pt x="5336" y="2472"/>
                </a:lnTo>
                <a:lnTo>
                  <a:pt x="5327" y="2468"/>
                </a:lnTo>
                <a:lnTo>
                  <a:pt x="5325" y="2469"/>
                </a:lnTo>
                <a:lnTo>
                  <a:pt x="5323" y="2470"/>
                </a:lnTo>
                <a:lnTo>
                  <a:pt x="5322" y="2472"/>
                </a:lnTo>
                <a:lnTo>
                  <a:pt x="5322" y="2489"/>
                </a:lnTo>
                <a:lnTo>
                  <a:pt x="5325" y="2488"/>
                </a:lnTo>
                <a:lnTo>
                  <a:pt x="5326" y="2489"/>
                </a:lnTo>
                <a:lnTo>
                  <a:pt x="5326" y="2490"/>
                </a:lnTo>
                <a:lnTo>
                  <a:pt x="5325" y="2493"/>
                </a:lnTo>
                <a:lnTo>
                  <a:pt x="5323" y="2498"/>
                </a:lnTo>
                <a:lnTo>
                  <a:pt x="5322" y="2500"/>
                </a:lnTo>
                <a:lnTo>
                  <a:pt x="5318" y="2496"/>
                </a:lnTo>
                <a:lnTo>
                  <a:pt x="5315" y="2493"/>
                </a:lnTo>
                <a:lnTo>
                  <a:pt x="5313" y="2492"/>
                </a:lnTo>
                <a:lnTo>
                  <a:pt x="5311" y="2485"/>
                </a:lnTo>
                <a:lnTo>
                  <a:pt x="5310" y="2482"/>
                </a:lnTo>
                <a:lnTo>
                  <a:pt x="5310" y="2480"/>
                </a:lnTo>
                <a:lnTo>
                  <a:pt x="5310" y="2481"/>
                </a:lnTo>
                <a:lnTo>
                  <a:pt x="5308" y="2483"/>
                </a:lnTo>
                <a:lnTo>
                  <a:pt x="5305" y="2486"/>
                </a:lnTo>
                <a:lnTo>
                  <a:pt x="5299" y="2489"/>
                </a:lnTo>
                <a:lnTo>
                  <a:pt x="5298" y="2498"/>
                </a:lnTo>
                <a:lnTo>
                  <a:pt x="5296" y="2508"/>
                </a:lnTo>
                <a:lnTo>
                  <a:pt x="5296" y="2513"/>
                </a:lnTo>
                <a:lnTo>
                  <a:pt x="5296" y="2516"/>
                </a:lnTo>
                <a:lnTo>
                  <a:pt x="5297" y="2519"/>
                </a:lnTo>
                <a:lnTo>
                  <a:pt x="5298" y="2519"/>
                </a:lnTo>
                <a:lnTo>
                  <a:pt x="5299" y="2520"/>
                </a:lnTo>
                <a:lnTo>
                  <a:pt x="5295" y="2523"/>
                </a:lnTo>
                <a:lnTo>
                  <a:pt x="5290" y="2526"/>
                </a:lnTo>
                <a:lnTo>
                  <a:pt x="5286" y="2530"/>
                </a:lnTo>
                <a:lnTo>
                  <a:pt x="5282" y="2534"/>
                </a:lnTo>
                <a:lnTo>
                  <a:pt x="5282" y="2535"/>
                </a:lnTo>
                <a:lnTo>
                  <a:pt x="5282" y="2536"/>
                </a:lnTo>
                <a:lnTo>
                  <a:pt x="5281" y="2540"/>
                </a:lnTo>
                <a:lnTo>
                  <a:pt x="5281" y="2543"/>
                </a:lnTo>
                <a:lnTo>
                  <a:pt x="5280" y="2544"/>
                </a:lnTo>
                <a:lnTo>
                  <a:pt x="5280" y="2545"/>
                </a:lnTo>
                <a:lnTo>
                  <a:pt x="5276" y="2547"/>
                </a:lnTo>
                <a:lnTo>
                  <a:pt x="5273" y="2549"/>
                </a:lnTo>
                <a:lnTo>
                  <a:pt x="5269" y="2550"/>
                </a:lnTo>
                <a:lnTo>
                  <a:pt x="5265" y="2550"/>
                </a:lnTo>
                <a:lnTo>
                  <a:pt x="5257" y="2551"/>
                </a:lnTo>
                <a:lnTo>
                  <a:pt x="5253" y="2552"/>
                </a:lnTo>
                <a:lnTo>
                  <a:pt x="5249" y="2553"/>
                </a:lnTo>
                <a:lnTo>
                  <a:pt x="5246" y="2559"/>
                </a:lnTo>
                <a:lnTo>
                  <a:pt x="5242" y="2559"/>
                </a:lnTo>
                <a:lnTo>
                  <a:pt x="5241" y="2558"/>
                </a:lnTo>
                <a:lnTo>
                  <a:pt x="5241" y="2557"/>
                </a:lnTo>
                <a:lnTo>
                  <a:pt x="5239" y="2556"/>
                </a:lnTo>
                <a:lnTo>
                  <a:pt x="5237" y="2556"/>
                </a:lnTo>
                <a:lnTo>
                  <a:pt x="5236" y="2557"/>
                </a:lnTo>
                <a:lnTo>
                  <a:pt x="5235" y="2559"/>
                </a:lnTo>
                <a:lnTo>
                  <a:pt x="5233" y="2563"/>
                </a:lnTo>
                <a:lnTo>
                  <a:pt x="5231" y="2568"/>
                </a:lnTo>
                <a:lnTo>
                  <a:pt x="5230" y="2569"/>
                </a:lnTo>
                <a:lnTo>
                  <a:pt x="5229" y="2570"/>
                </a:lnTo>
                <a:lnTo>
                  <a:pt x="5228" y="2571"/>
                </a:lnTo>
                <a:lnTo>
                  <a:pt x="5226" y="2571"/>
                </a:lnTo>
                <a:lnTo>
                  <a:pt x="5223" y="2570"/>
                </a:lnTo>
                <a:lnTo>
                  <a:pt x="5220" y="2570"/>
                </a:lnTo>
                <a:lnTo>
                  <a:pt x="5218" y="2570"/>
                </a:lnTo>
                <a:lnTo>
                  <a:pt x="5215" y="2576"/>
                </a:lnTo>
                <a:lnTo>
                  <a:pt x="5210" y="2576"/>
                </a:lnTo>
                <a:lnTo>
                  <a:pt x="5205" y="2575"/>
                </a:lnTo>
                <a:lnTo>
                  <a:pt x="5201" y="2573"/>
                </a:lnTo>
                <a:lnTo>
                  <a:pt x="5199" y="2573"/>
                </a:lnTo>
                <a:lnTo>
                  <a:pt x="5198" y="2573"/>
                </a:lnTo>
                <a:lnTo>
                  <a:pt x="5197" y="2575"/>
                </a:lnTo>
                <a:lnTo>
                  <a:pt x="5196" y="2577"/>
                </a:lnTo>
                <a:lnTo>
                  <a:pt x="5196" y="2580"/>
                </a:lnTo>
                <a:lnTo>
                  <a:pt x="5195" y="2582"/>
                </a:lnTo>
                <a:lnTo>
                  <a:pt x="5193" y="2582"/>
                </a:lnTo>
                <a:lnTo>
                  <a:pt x="5190" y="2582"/>
                </a:lnTo>
                <a:lnTo>
                  <a:pt x="5187" y="2581"/>
                </a:lnTo>
                <a:lnTo>
                  <a:pt x="5184" y="2582"/>
                </a:lnTo>
                <a:lnTo>
                  <a:pt x="5184" y="2584"/>
                </a:lnTo>
                <a:lnTo>
                  <a:pt x="5180" y="2586"/>
                </a:lnTo>
                <a:lnTo>
                  <a:pt x="5177" y="2589"/>
                </a:lnTo>
                <a:lnTo>
                  <a:pt x="5171" y="2595"/>
                </a:lnTo>
                <a:lnTo>
                  <a:pt x="5165" y="2602"/>
                </a:lnTo>
                <a:lnTo>
                  <a:pt x="5162" y="2605"/>
                </a:lnTo>
                <a:lnTo>
                  <a:pt x="5159" y="2608"/>
                </a:lnTo>
                <a:lnTo>
                  <a:pt x="5150" y="2613"/>
                </a:lnTo>
                <a:lnTo>
                  <a:pt x="5151" y="2614"/>
                </a:lnTo>
                <a:lnTo>
                  <a:pt x="5149" y="2615"/>
                </a:lnTo>
                <a:lnTo>
                  <a:pt x="5145" y="2616"/>
                </a:lnTo>
                <a:lnTo>
                  <a:pt x="5147" y="2608"/>
                </a:lnTo>
                <a:lnTo>
                  <a:pt x="5145" y="2610"/>
                </a:lnTo>
                <a:lnTo>
                  <a:pt x="5143" y="2611"/>
                </a:lnTo>
                <a:lnTo>
                  <a:pt x="5142" y="2611"/>
                </a:lnTo>
                <a:lnTo>
                  <a:pt x="5143" y="2611"/>
                </a:lnTo>
                <a:lnTo>
                  <a:pt x="5143" y="2612"/>
                </a:lnTo>
                <a:lnTo>
                  <a:pt x="5142" y="2615"/>
                </a:lnTo>
                <a:lnTo>
                  <a:pt x="5139" y="2619"/>
                </a:lnTo>
                <a:lnTo>
                  <a:pt x="5139" y="2622"/>
                </a:lnTo>
                <a:lnTo>
                  <a:pt x="5140" y="2625"/>
                </a:lnTo>
                <a:lnTo>
                  <a:pt x="5141" y="2632"/>
                </a:lnTo>
                <a:lnTo>
                  <a:pt x="5143" y="2640"/>
                </a:lnTo>
                <a:lnTo>
                  <a:pt x="5143" y="2643"/>
                </a:lnTo>
                <a:lnTo>
                  <a:pt x="5142" y="2647"/>
                </a:lnTo>
                <a:lnTo>
                  <a:pt x="5141" y="2648"/>
                </a:lnTo>
                <a:lnTo>
                  <a:pt x="5140" y="2649"/>
                </a:lnTo>
                <a:lnTo>
                  <a:pt x="5136" y="2652"/>
                </a:lnTo>
                <a:lnTo>
                  <a:pt x="5133" y="2654"/>
                </a:lnTo>
                <a:lnTo>
                  <a:pt x="5131" y="2655"/>
                </a:lnTo>
                <a:lnTo>
                  <a:pt x="5131" y="2656"/>
                </a:lnTo>
                <a:lnTo>
                  <a:pt x="5131" y="2658"/>
                </a:lnTo>
                <a:lnTo>
                  <a:pt x="5132" y="2662"/>
                </a:lnTo>
                <a:lnTo>
                  <a:pt x="5134" y="2664"/>
                </a:lnTo>
                <a:lnTo>
                  <a:pt x="5135" y="2665"/>
                </a:lnTo>
                <a:lnTo>
                  <a:pt x="5136" y="2664"/>
                </a:lnTo>
                <a:lnTo>
                  <a:pt x="5136" y="2667"/>
                </a:lnTo>
                <a:lnTo>
                  <a:pt x="5139" y="2669"/>
                </a:lnTo>
                <a:lnTo>
                  <a:pt x="5141" y="2671"/>
                </a:lnTo>
                <a:lnTo>
                  <a:pt x="5144" y="2678"/>
                </a:lnTo>
                <a:lnTo>
                  <a:pt x="5146" y="2686"/>
                </a:lnTo>
                <a:lnTo>
                  <a:pt x="5147" y="2692"/>
                </a:lnTo>
                <a:lnTo>
                  <a:pt x="5147" y="2699"/>
                </a:lnTo>
                <a:lnTo>
                  <a:pt x="5147" y="2706"/>
                </a:lnTo>
                <a:lnTo>
                  <a:pt x="5145" y="2705"/>
                </a:lnTo>
                <a:lnTo>
                  <a:pt x="5144" y="2704"/>
                </a:lnTo>
                <a:lnTo>
                  <a:pt x="5139" y="2704"/>
                </a:lnTo>
                <a:lnTo>
                  <a:pt x="5139" y="2699"/>
                </a:lnTo>
                <a:lnTo>
                  <a:pt x="5139" y="2695"/>
                </a:lnTo>
                <a:lnTo>
                  <a:pt x="5138" y="2695"/>
                </a:lnTo>
                <a:lnTo>
                  <a:pt x="5137" y="2695"/>
                </a:lnTo>
                <a:lnTo>
                  <a:pt x="5136" y="2696"/>
                </a:lnTo>
                <a:lnTo>
                  <a:pt x="5136" y="2698"/>
                </a:lnTo>
                <a:lnTo>
                  <a:pt x="5136" y="2704"/>
                </a:lnTo>
                <a:lnTo>
                  <a:pt x="5145" y="2711"/>
                </a:lnTo>
                <a:lnTo>
                  <a:pt x="5147" y="2713"/>
                </a:lnTo>
                <a:lnTo>
                  <a:pt x="5148" y="2715"/>
                </a:lnTo>
                <a:lnTo>
                  <a:pt x="5149" y="2716"/>
                </a:lnTo>
                <a:lnTo>
                  <a:pt x="5149" y="2717"/>
                </a:lnTo>
                <a:lnTo>
                  <a:pt x="5146" y="2717"/>
                </a:lnTo>
                <a:lnTo>
                  <a:pt x="5138" y="2714"/>
                </a:lnTo>
                <a:lnTo>
                  <a:pt x="5133" y="2712"/>
                </a:lnTo>
                <a:lnTo>
                  <a:pt x="5133" y="2718"/>
                </a:lnTo>
                <a:lnTo>
                  <a:pt x="5135" y="2719"/>
                </a:lnTo>
                <a:lnTo>
                  <a:pt x="5137" y="2721"/>
                </a:lnTo>
                <a:lnTo>
                  <a:pt x="5143" y="2725"/>
                </a:lnTo>
                <a:lnTo>
                  <a:pt x="5147" y="2730"/>
                </a:lnTo>
                <a:lnTo>
                  <a:pt x="5149" y="2732"/>
                </a:lnTo>
                <a:lnTo>
                  <a:pt x="5150" y="2734"/>
                </a:lnTo>
                <a:lnTo>
                  <a:pt x="5151" y="2736"/>
                </a:lnTo>
                <a:lnTo>
                  <a:pt x="5151" y="2738"/>
                </a:lnTo>
                <a:lnTo>
                  <a:pt x="5150" y="2743"/>
                </a:lnTo>
                <a:lnTo>
                  <a:pt x="5150" y="2747"/>
                </a:lnTo>
                <a:lnTo>
                  <a:pt x="5150" y="2751"/>
                </a:lnTo>
                <a:lnTo>
                  <a:pt x="5151" y="2752"/>
                </a:lnTo>
                <a:lnTo>
                  <a:pt x="5152" y="2754"/>
                </a:lnTo>
                <a:lnTo>
                  <a:pt x="5156" y="2756"/>
                </a:lnTo>
                <a:lnTo>
                  <a:pt x="5159" y="2758"/>
                </a:lnTo>
                <a:lnTo>
                  <a:pt x="5162" y="2760"/>
                </a:lnTo>
                <a:close/>
                <a:moveTo>
                  <a:pt x="2939" y="755"/>
                </a:moveTo>
                <a:lnTo>
                  <a:pt x="2940" y="753"/>
                </a:lnTo>
                <a:lnTo>
                  <a:pt x="2942" y="751"/>
                </a:lnTo>
                <a:lnTo>
                  <a:pt x="2943" y="748"/>
                </a:lnTo>
                <a:lnTo>
                  <a:pt x="2944" y="746"/>
                </a:lnTo>
                <a:lnTo>
                  <a:pt x="2944" y="743"/>
                </a:lnTo>
                <a:lnTo>
                  <a:pt x="2944" y="741"/>
                </a:lnTo>
                <a:lnTo>
                  <a:pt x="2943" y="740"/>
                </a:lnTo>
                <a:lnTo>
                  <a:pt x="2942" y="739"/>
                </a:lnTo>
                <a:lnTo>
                  <a:pt x="2940" y="738"/>
                </a:lnTo>
                <a:lnTo>
                  <a:pt x="2939" y="738"/>
                </a:lnTo>
                <a:lnTo>
                  <a:pt x="2933" y="746"/>
                </a:lnTo>
                <a:lnTo>
                  <a:pt x="2934" y="745"/>
                </a:lnTo>
                <a:lnTo>
                  <a:pt x="2933" y="745"/>
                </a:lnTo>
                <a:lnTo>
                  <a:pt x="2932" y="744"/>
                </a:lnTo>
                <a:lnTo>
                  <a:pt x="2929" y="744"/>
                </a:lnTo>
                <a:lnTo>
                  <a:pt x="2924" y="743"/>
                </a:lnTo>
                <a:lnTo>
                  <a:pt x="2922" y="743"/>
                </a:lnTo>
                <a:lnTo>
                  <a:pt x="2922" y="748"/>
                </a:lnTo>
                <a:lnTo>
                  <a:pt x="2922" y="752"/>
                </a:lnTo>
                <a:lnTo>
                  <a:pt x="2919" y="753"/>
                </a:lnTo>
                <a:lnTo>
                  <a:pt x="2917" y="754"/>
                </a:lnTo>
                <a:lnTo>
                  <a:pt x="2916" y="754"/>
                </a:lnTo>
                <a:lnTo>
                  <a:pt x="2917" y="754"/>
                </a:lnTo>
                <a:lnTo>
                  <a:pt x="2922" y="755"/>
                </a:lnTo>
                <a:lnTo>
                  <a:pt x="2922" y="760"/>
                </a:lnTo>
                <a:lnTo>
                  <a:pt x="2916" y="760"/>
                </a:lnTo>
                <a:lnTo>
                  <a:pt x="2915" y="761"/>
                </a:lnTo>
                <a:lnTo>
                  <a:pt x="2914" y="763"/>
                </a:lnTo>
                <a:lnTo>
                  <a:pt x="2914" y="765"/>
                </a:lnTo>
                <a:lnTo>
                  <a:pt x="2912" y="767"/>
                </a:lnTo>
                <a:lnTo>
                  <a:pt x="2911" y="770"/>
                </a:lnTo>
                <a:lnTo>
                  <a:pt x="2908" y="771"/>
                </a:lnTo>
                <a:lnTo>
                  <a:pt x="2906" y="772"/>
                </a:lnTo>
                <a:lnTo>
                  <a:pt x="2904" y="772"/>
                </a:lnTo>
                <a:lnTo>
                  <a:pt x="2902" y="772"/>
                </a:lnTo>
                <a:lnTo>
                  <a:pt x="2899" y="772"/>
                </a:lnTo>
                <a:lnTo>
                  <a:pt x="2897" y="769"/>
                </a:lnTo>
                <a:lnTo>
                  <a:pt x="2895" y="767"/>
                </a:lnTo>
                <a:lnTo>
                  <a:pt x="2894" y="766"/>
                </a:lnTo>
                <a:lnTo>
                  <a:pt x="2894" y="768"/>
                </a:lnTo>
                <a:lnTo>
                  <a:pt x="2894" y="771"/>
                </a:lnTo>
                <a:lnTo>
                  <a:pt x="2894" y="777"/>
                </a:lnTo>
                <a:lnTo>
                  <a:pt x="2896" y="776"/>
                </a:lnTo>
                <a:lnTo>
                  <a:pt x="2898" y="777"/>
                </a:lnTo>
                <a:lnTo>
                  <a:pt x="2899" y="778"/>
                </a:lnTo>
                <a:lnTo>
                  <a:pt x="2899" y="779"/>
                </a:lnTo>
                <a:lnTo>
                  <a:pt x="2898" y="783"/>
                </a:lnTo>
                <a:lnTo>
                  <a:pt x="2898" y="784"/>
                </a:lnTo>
                <a:lnTo>
                  <a:pt x="2899" y="785"/>
                </a:lnTo>
                <a:lnTo>
                  <a:pt x="2899" y="786"/>
                </a:lnTo>
                <a:lnTo>
                  <a:pt x="2893" y="785"/>
                </a:lnTo>
                <a:lnTo>
                  <a:pt x="2890" y="785"/>
                </a:lnTo>
                <a:lnTo>
                  <a:pt x="2888" y="786"/>
                </a:lnTo>
                <a:lnTo>
                  <a:pt x="2888" y="788"/>
                </a:lnTo>
                <a:lnTo>
                  <a:pt x="2888" y="789"/>
                </a:lnTo>
                <a:lnTo>
                  <a:pt x="2887" y="790"/>
                </a:lnTo>
                <a:lnTo>
                  <a:pt x="2885" y="791"/>
                </a:lnTo>
                <a:lnTo>
                  <a:pt x="2887" y="795"/>
                </a:lnTo>
                <a:lnTo>
                  <a:pt x="2889" y="798"/>
                </a:lnTo>
                <a:lnTo>
                  <a:pt x="2891" y="800"/>
                </a:lnTo>
                <a:lnTo>
                  <a:pt x="2896" y="800"/>
                </a:lnTo>
                <a:lnTo>
                  <a:pt x="2905" y="800"/>
                </a:lnTo>
                <a:lnTo>
                  <a:pt x="2897" y="816"/>
                </a:lnTo>
                <a:lnTo>
                  <a:pt x="2894" y="824"/>
                </a:lnTo>
                <a:lnTo>
                  <a:pt x="2891" y="833"/>
                </a:lnTo>
                <a:lnTo>
                  <a:pt x="2888" y="834"/>
                </a:lnTo>
                <a:lnTo>
                  <a:pt x="2886" y="833"/>
                </a:lnTo>
                <a:lnTo>
                  <a:pt x="2883" y="833"/>
                </a:lnTo>
                <a:lnTo>
                  <a:pt x="2883" y="834"/>
                </a:lnTo>
                <a:lnTo>
                  <a:pt x="2885" y="839"/>
                </a:lnTo>
                <a:lnTo>
                  <a:pt x="2887" y="843"/>
                </a:lnTo>
                <a:lnTo>
                  <a:pt x="2887" y="844"/>
                </a:lnTo>
                <a:lnTo>
                  <a:pt x="2889" y="844"/>
                </a:lnTo>
                <a:lnTo>
                  <a:pt x="2894" y="845"/>
                </a:lnTo>
                <a:lnTo>
                  <a:pt x="2892" y="848"/>
                </a:lnTo>
                <a:lnTo>
                  <a:pt x="2891" y="849"/>
                </a:lnTo>
                <a:lnTo>
                  <a:pt x="2891" y="850"/>
                </a:lnTo>
                <a:lnTo>
                  <a:pt x="2896" y="850"/>
                </a:lnTo>
                <a:lnTo>
                  <a:pt x="2896" y="847"/>
                </a:lnTo>
                <a:lnTo>
                  <a:pt x="2898" y="848"/>
                </a:lnTo>
                <a:lnTo>
                  <a:pt x="2899" y="847"/>
                </a:lnTo>
                <a:lnTo>
                  <a:pt x="2900" y="846"/>
                </a:lnTo>
                <a:lnTo>
                  <a:pt x="2900" y="845"/>
                </a:lnTo>
                <a:lnTo>
                  <a:pt x="2901" y="844"/>
                </a:lnTo>
                <a:lnTo>
                  <a:pt x="2902" y="844"/>
                </a:lnTo>
                <a:lnTo>
                  <a:pt x="2905" y="845"/>
                </a:lnTo>
                <a:lnTo>
                  <a:pt x="2906" y="846"/>
                </a:lnTo>
                <a:lnTo>
                  <a:pt x="2906" y="849"/>
                </a:lnTo>
                <a:lnTo>
                  <a:pt x="2907" y="850"/>
                </a:lnTo>
                <a:lnTo>
                  <a:pt x="2908" y="851"/>
                </a:lnTo>
                <a:lnTo>
                  <a:pt x="2910" y="851"/>
                </a:lnTo>
                <a:lnTo>
                  <a:pt x="2913" y="850"/>
                </a:lnTo>
                <a:lnTo>
                  <a:pt x="2913" y="847"/>
                </a:lnTo>
                <a:lnTo>
                  <a:pt x="2915" y="846"/>
                </a:lnTo>
                <a:lnTo>
                  <a:pt x="2918" y="843"/>
                </a:lnTo>
                <a:lnTo>
                  <a:pt x="2922" y="839"/>
                </a:lnTo>
                <a:lnTo>
                  <a:pt x="2924" y="839"/>
                </a:lnTo>
                <a:lnTo>
                  <a:pt x="2927" y="839"/>
                </a:lnTo>
                <a:lnTo>
                  <a:pt x="2930" y="840"/>
                </a:lnTo>
                <a:lnTo>
                  <a:pt x="2932" y="839"/>
                </a:lnTo>
                <a:lnTo>
                  <a:pt x="2933" y="839"/>
                </a:lnTo>
                <a:lnTo>
                  <a:pt x="2933" y="835"/>
                </a:lnTo>
                <a:lnTo>
                  <a:pt x="2933" y="831"/>
                </a:lnTo>
                <a:lnTo>
                  <a:pt x="2935" y="830"/>
                </a:lnTo>
                <a:lnTo>
                  <a:pt x="2937" y="830"/>
                </a:lnTo>
                <a:lnTo>
                  <a:pt x="2941" y="831"/>
                </a:lnTo>
                <a:lnTo>
                  <a:pt x="2941" y="825"/>
                </a:lnTo>
                <a:lnTo>
                  <a:pt x="2942" y="825"/>
                </a:lnTo>
                <a:lnTo>
                  <a:pt x="2943" y="826"/>
                </a:lnTo>
                <a:lnTo>
                  <a:pt x="2945" y="827"/>
                </a:lnTo>
                <a:lnTo>
                  <a:pt x="2946" y="828"/>
                </a:lnTo>
                <a:lnTo>
                  <a:pt x="2947" y="829"/>
                </a:lnTo>
                <a:lnTo>
                  <a:pt x="2948" y="829"/>
                </a:lnTo>
                <a:lnTo>
                  <a:pt x="2950" y="828"/>
                </a:lnTo>
                <a:lnTo>
                  <a:pt x="2951" y="827"/>
                </a:lnTo>
                <a:lnTo>
                  <a:pt x="2950" y="826"/>
                </a:lnTo>
                <a:lnTo>
                  <a:pt x="2948" y="825"/>
                </a:lnTo>
                <a:lnTo>
                  <a:pt x="2946" y="824"/>
                </a:lnTo>
                <a:lnTo>
                  <a:pt x="2946" y="823"/>
                </a:lnTo>
                <a:lnTo>
                  <a:pt x="2947" y="822"/>
                </a:lnTo>
                <a:lnTo>
                  <a:pt x="2951" y="819"/>
                </a:lnTo>
                <a:lnTo>
                  <a:pt x="2952" y="818"/>
                </a:lnTo>
                <a:lnTo>
                  <a:pt x="2952" y="816"/>
                </a:lnTo>
                <a:lnTo>
                  <a:pt x="2953" y="814"/>
                </a:lnTo>
                <a:lnTo>
                  <a:pt x="2953" y="813"/>
                </a:lnTo>
                <a:lnTo>
                  <a:pt x="2952" y="809"/>
                </a:lnTo>
                <a:lnTo>
                  <a:pt x="2949" y="803"/>
                </a:lnTo>
                <a:lnTo>
                  <a:pt x="2948" y="800"/>
                </a:lnTo>
                <a:lnTo>
                  <a:pt x="2947" y="797"/>
                </a:lnTo>
                <a:lnTo>
                  <a:pt x="2947" y="794"/>
                </a:lnTo>
                <a:lnTo>
                  <a:pt x="2948" y="790"/>
                </a:lnTo>
                <a:lnTo>
                  <a:pt x="2949" y="785"/>
                </a:lnTo>
                <a:lnTo>
                  <a:pt x="2950" y="780"/>
                </a:lnTo>
                <a:lnTo>
                  <a:pt x="2952" y="778"/>
                </a:lnTo>
                <a:lnTo>
                  <a:pt x="2954" y="776"/>
                </a:lnTo>
                <a:lnTo>
                  <a:pt x="2956" y="773"/>
                </a:lnTo>
                <a:lnTo>
                  <a:pt x="2958" y="772"/>
                </a:lnTo>
                <a:lnTo>
                  <a:pt x="2961" y="771"/>
                </a:lnTo>
                <a:lnTo>
                  <a:pt x="2964" y="772"/>
                </a:lnTo>
                <a:lnTo>
                  <a:pt x="2967" y="772"/>
                </a:lnTo>
                <a:lnTo>
                  <a:pt x="2968" y="772"/>
                </a:lnTo>
                <a:lnTo>
                  <a:pt x="2969" y="772"/>
                </a:lnTo>
                <a:lnTo>
                  <a:pt x="2968" y="769"/>
                </a:lnTo>
                <a:lnTo>
                  <a:pt x="2967" y="769"/>
                </a:lnTo>
                <a:lnTo>
                  <a:pt x="2964" y="769"/>
                </a:lnTo>
                <a:lnTo>
                  <a:pt x="2964" y="763"/>
                </a:lnTo>
                <a:lnTo>
                  <a:pt x="2964" y="757"/>
                </a:lnTo>
                <a:lnTo>
                  <a:pt x="2958" y="757"/>
                </a:lnTo>
                <a:lnTo>
                  <a:pt x="2958" y="756"/>
                </a:lnTo>
                <a:lnTo>
                  <a:pt x="2959" y="754"/>
                </a:lnTo>
                <a:lnTo>
                  <a:pt x="2960" y="752"/>
                </a:lnTo>
                <a:lnTo>
                  <a:pt x="2961" y="750"/>
                </a:lnTo>
                <a:lnTo>
                  <a:pt x="2962" y="748"/>
                </a:lnTo>
                <a:lnTo>
                  <a:pt x="2960" y="747"/>
                </a:lnTo>
                <a:lnTo>
                  <a:pt x="2958" y="746"/>
                </a:lnTo>
                <a:lnTo>
                  <a:pt x="2953" y="746"/>
                </a:lnTo>
                <a:lnTo>
                  <a:pt x="2950" y="747"/>
                </a:lnTo>
                <a:lnTo>
                  <a:pt x="2946" y="750"/>
                </a:lnTo>
                <a:lnTo>
                  <a:pt x="2942" y="753"/>
                </a:lnTo>
                <a:lnTo>
                  <a:pt x="2939" y="755"/>
                </a:lnTo>
                <a:close/>
                <a:moveTo>
                  <a:pt x="6203" y="3069"/>
                </a:moveTo>
                <a:lnTo>
                  <a:pt x="6201" y="3071"/>
                </a:lnTo>
                <a:lnTo>
                  <a:pt x="6199" y="3074"/>
                </a:lnTo>
                <a:lnTo>
                  <a:pt x="6195" y="3078"/>
                </a:lnTo>
                <a:lnTo>
                  <a:pt x="6194" y="3082"/>
                </a:lnTo>
                <a:lnTo>
                  <a:pt x="6195" y="3088"/>
                </a:lnTo>
                <a:lnTo>
                  <a:pt x="6195" y="3093"/>
                </a:lnTo>
                <a:lnTo>
                  <a:pt x="6195" y="3095"/>
                </a:lnTo>
                <a:lnTo>
                  <a:pt x="6195" y="3097"/>
                </a:lnTo>
                <a:lnTo>
                  <a:pt x="6193" y="3099"/>
                </a:lnTo>
                <a:lnTo>
                  <a:pt x="6191" y="3100"/>
                </a:lnTo>
                <a:lnTo>
                  <a:pt x="6188" y="3102"/>
                </a:lnTo>
                <a:lnTo>
                  <a:pt x="6186" y="3103"/>
                </a:lnTo>
                <a:lnTo>
                  <a:pt x="6186" y="3104"/>
                </a:lnTo>
                <a:lnTo>
                  <a:pt x="6186" y="3105"/>
                </a:lnTo>
                <a:lnTo>
                  <a:pt x="6186" y="3107"/>
                </a:lnTo>
                <a:lnTo>
                  <a:pt x="6187" y="3109"/>
                </a:lnTo>
                <a:lnTo>
                  <a:pt x="6186" y="3111"/>
                </a:lnTo>
                <a:lnTo>
                  <a:pt x="6185" y="3112"/>
                </a:lnTo>
                <a:lnTo>
                  <a:pt x="6183" y="3113"/>
                </a:lnTo>
                <a:lnTo>
                  <a:pt x="6182" y="3113"/>
                </a:lnTo>
                <a:lnTo>
                  <a:pt x="6181" y="3114"/>
                </a:lnTo>
                <a:lnTo>
                  <a:pt x="6176" y="3126"/>
                </a:lnTo>
                <a:lnTo>
                  <a:pt x="6171" y="3137"/>
                </a:lnTo>
                <a:lnTo>
                  <a:pt x="6168" y="3142"/>
                </a:lnTo>
                <a:lnTo>
                  <a:pt x="6164" y="3146"/>
                </a:lnTo>
                <a:lnTo>
                  <a:pt x="6160" y="3150"/>
                </a:lnTo>
                <a:lnTo>
                  <a:pt x="6155" y="3154"/>
                </a:lnTo>
                <a:lnTo>
                  <a:pt x="6150" y="3156"/>
                </a:lnTo>
                <a:lnTo>
                  <a:pt x="6143" y="3158"/>
                </a:lnTo>
                <a:lnTo>
                  <a:pt x="6136" y="3160"/>
                </a:lnTo>
                <a:lnTo>
                  <a:pt x="6130" y="3162"/>
                </a:lnTo>
                <a:lnTo>
                  <a:pt x="6129" y="3164"/>
                </a:lnTo>
                <a:lnTo>
                  <a:pt x="6128" y="3166"/>
                </a:lnTo>
                <a:lnTo>
                  <a:pt x="6128" y="3168"/>
                </a:lnTo>
                <a:lnTo>
                  <a:pt x="6128" y="3169"/>
                </a:lnTo>
                <a:lnTo>
                  <a:pt x="6127" y="3171"/>
                </a:lnTo>
                <a:lnTo>
                  <a:pt x="6122" y="3171"/>
                </a:lnTo>
                <a:lnTo>
                  <a:pt x="6122" y="3176"/>
                </a:lnTo>
                <a:lnTo>
                  <a:pt x="6121" y="3177"/>
                </a:lnTo>
                <a:lnTo>
                  <a:pt x="6120" y="3177"/>
                </a:lnTo>
                <a:lnTo>
                  <a:pt x="6117" y="3176"/>
                </a:lnTo>
                <a:lnTo>
                  <a:pt x="6115" y="3176"/>
                </a:lnTo>
                <a:lnTo>
                  <a:pt x="6113" y="3176"/>
                </a:lnTo>
                <a:lnTo>
                  <a:pt x="6112" y="3177"/>
                </a:lnTo>
                <a:lnTo>
                  <a:pt x="6111" y="3178"/>
                </a:lnTo>
                <a:lnTo>
                  <a:pt x="6110" y="3178"/>
                </a:lnTo>
                <a:lnTo>
                  <a:pt x="6108" y="3182"/>
                </a:lnTo>
                <a:lnTo>
                  <a:pt x="6107" y="3186"/>
                </a:lnTo>
                <a:lnTo>
                  <a:pt x="6105" y="3190"/>
                </a:lnTo>
                <a:lnTo>
                  <a:pt x="6099" y="3190"/>
                </a:lnTo>
                <a:lnTo>
                  <a:pt x="6098" y="3199"/>
                </a:lnTo>
                <a:lnTo>
                  <a:pt x="6097" y="3203"/>
                </a:lnTo>
                <a:lnTo>
                  <a:pt x="6096" y="3207"/>
                </a:lnTo>
                <a:lnTo>
                  <a:pt x="6095" y="3207"/>
                </a:lnTo>
                <a:lnTo>
                  <a:pt x="6095" y="3208"/>
                </a:lnTo>
                <a:lnTo>
                  <a:pt x="6094" y="3211"/>
                </a:lnTo>
                <a:lnTo>
                  <a:pt x="6095" y="3215"/>
                </a:lnTo>
                <a:lnTo>
                  <a:pt x="6095" y="3217"/>
                </a:lnTo>
                <a:lnTo>
                  <a:pt x="6096" y="3218"/>
                </a:lnTo>
                <a:lnTo>
                  <a:pt x="6099" y="3220"/>
                </a:lnTo>
                <a:lnTo>
                  <a:pt x="6102" y="3220"/>
                </a:lnTo>
                <a:lnTo>
                  <a:pt x="6107" y="3220"/>
                </a:lnTo>
                <a:lnTo>
                  <a:pt x="6111" y="3218"/>
                </a:lnTo>
                <a:lnTo>
                  <a:pt x="6113" y="3218"/>
                </a:lnTo>
                <a:lnTo>
                  <a:pt x="6116" y="3218"/>
                </a:lnTo>
                <a:lnTo>
                  <a:pt x="6119" y="3227"/>
                </a:lnTo>
                <a:lnTo>
                  <a:pt x="6130" y="3229"/>
                </a:lnTo>
                <a:lnTo>
                  <a:pt x="6135" y="3230"/>
                </a:lnTo>
                <a:lnTo>
                  <a:pt x="6139" y="3230"/>
                </a:lnTo>
                <a:lnTo>
                  <a:pt x="6143" y="3230"/>
                </a:lnTo>
                <a:lnTo>
                  <a:pt x="6147" y="3230"/>
                </a:lnTo>
                <a:lnTo>
                  <a:pt x="6149" y="3229"/>
                </a:lnTo>
                <a:lnTo>
                  <a:pt x="6150" y="3227"/>
                </a:lnTo>
                <a:lnTo>
                  <a:pt x="6155" y="3223"/>
                </a:lnTo>
                <a:lnTo>
                  <a:pt x="6160" y="3217"/>
                </a:lnTo>
                <a:lnTo>
                  <a:pt x="6165" y="3210"/>
                </a:lnTo>
                <a:lnTo>
                  <a:pt x="6173" y="3195"/>
                </a:lnTo>
                <a:lnTo>
                  <a:pt x="6176" y="3189"/>
                </a:lnTo>
                <a:lnTo>
                  <a:pt x="6178" y="3185"/>
                </a:lnTo>
                <a:lnTo>
                  <a:pt x="6178" y="3181"/>
                </a:lnTo>
                <a:lnTo>
                  <a:pt x="6177" y="3177"/>
                </a:lnTo>
                <a:lnTo>
                  <a:pt x="6177" y="3173"/>
                </a:lnTo>
                <a:lnTo>
                  <a:pt x="6177" y="3172"/>
                </a:lnTo>
                <a:lnTo>
                  <a:pt x="6178" y="3171"/>
                </a:lnTo>
                <a:lnTo>
                  <a:pt x="6180" y="3169"/>
                </a:lnTo>
                <a:lnTo>
                  <a:pt x="6183" y="3167"/>
                </a:lnTo>
                <a:lnTo>
                  <a:pt x="6192" y="3164"/>
                </a:lnTo>
                <a:lnTo>
                  <a:pt x="6202" y="3162"/>
                </a:lnTo>
                <a:lnTo>
                  <a:pt x="6209" y="3159"/>
                </a:lnTo>
                <a:lnTo>
                  <a:pt x="6209" y="3155"/>
                </a:lnTo>
                <a:lnTo>
                  <a:pt x="6207" y="3151"/>
                </a:lnTo>
                <a:lnTo>
                  <a:pt x="6206" y="3148"/>
                </a:lnTo>
                <a:lnTo>
                  <a:pt x="6206" y="3146"/>
                </a:lnTo>
                <a:lnTo>
                  <a:pt x="6206" y="3145"/>
                </a:lnTo>
                <a:lnTo>
                  <a:pt x="6221" y="3128"/>
                </a:lnTo>
                <a:lnTo>
                  <a:pt x="6232" y="3116"/>
                </a:lnTo>
                <a:lnTo>
                  <a:pt x="6235" y="3111"/>
                </a:lnTo>
                <a:lnTo>
                  <a:pt x="6237" y="3109"/>
                </a:lnTo>
                <a:lnTo>
                  <a:pt x="6237" y="3104"/>
                </a:lnTo>
                <a:lnTo>
                  <a:pt x="6237" y="3098"/>
                </a:lnTo>
                <a:lnTo>
                  <a:pt x="6237" y="3091"/>
                </a:lnTo>
                <a:lnTo>
                  <a:pt x="6237" y="3083"/>
                </a:lnTo>
                <a:lnTo>
                  <a:pt x="6234" y="3083"/>
                </a:lnTo>
                <a:lnTo>
                  <a:pt x="6234" y="3084"/>
                </a:lnTo>
                <a:lnTo>
                  <a:pt x="6234" y="3085"/>
                </a:lnTo>
                <a:lnTo>
                  <a:pt x="6234" y="3087"/>
                </a:lnTo>
                <a:lnTo>
                  <a:pt x="6234" y="3089"/>
                </a:lnTo>
                <a:lnTo>
                  <a:pt x="6231" y="3087"/>
                </a:lnTo>
                <a:lnTo>
                  <a:pt x="6229" y="3087"/>
                </a:lnTo>
                <a:lnTo>
                  <a:pt x="6228" y="3086"/>
                </a:lnTo>
                <a:lnTo>
                  <a:pt x="6227" y="3083"/>
                </a:lnTo>
                <a:lnTo>
                  <a:pt x="6226" y="3081"/>
                </a:lnTo>
                <a:lnTo>
                  <a:pt x="6223" y="3084"/>
                </a:lnTo>
                <a:lnTo>
                  <a:pt x="6222" y="3087"/>
                </a:lnTo>
                <a:lnTo>
                  <a:pt x="6222" y="3088"/>
                </a:lnTo>
                <a:lnTo>
                  <a:pt x="6223" y="3089"/>
                </a:lnTo>
                <a:lnTo>
                  <a:pt x="6219" y="3089"/>
                </a:lnTo>
                <a:lnTo>
                  <a:pt x="6214" y="3089"/>
                </a:lnTo>
                <a:lnTo>
                  <a:pt x="6213" y="3083"/>
                </a:lnTo>
                <a:lnTo>
                  <a:pt x="6212" y="3077"/>
                </a:lnTo>
                <a:lnTo>
                  <a:pt x="6212" y="3069"/>
                </a:lnTo>
                <a:lnTo>
                  <a:pt x="6207" y="3069"/>
                </a:lnTo>
                <a:lnTo>
                  <a:pt x="6203" y="3069"/>
                </a:lnTo>
                <a:close/>
                <a:moveTo>
                  <a:pt x="5696" y="3066"/>
                </a:moveTo>
                <a:lnTo>
                  <a:pt x="5696" y="3069"/>
                </a:lnTo>
                <a:lnTo>
                  <a:pt x="5695" y="3072"/>
                </a:lnTo>
                <a:lnTo>
                  <a:pt x="5693" y="3075"/>
                </a:lnTo>
                <a:lnTo>
                  <a:pt x="5695" y="3076"/>
                </a:lnTo>
                <a:lnTo>
                  <a:pt x="5696" y="3077"/>
                </a:lnTo>
                <a:lnTo>
                  <a:pt x="5698" y="3080"/>
                </a:lnTo>
                <a:lnTo>
                  <a:pt x="5699" y="3084"/>
                </a:lnTo>
                <a:lnTo>
                  <a:pt x="5701" y="3088"/>
                </a:lnTo>
                <a:lnTo>
                  <a:pt x="5703" y="3097"/>
                </a:lnTo>
                <a:lnTo>
                  <a:pt x="5705" y="3100"/>
                </a:lnTo>
                <a:lnTo>
                  <a:pt x="5706" y="3102"/>
                </a:lnTo>
                <a:lnTo>
                  <a:pt x="5707" y="3103"/>
                </a:lnTo>
                <a:lnTo>
                  <a:pt x="5709" y="3104"/>
                </a:lnTo>
                <a:lnTo>
                  <a:pt x="5711" y="3104"/>
                </a:lnTo>
                <a:lnTo>
                  <a:pt x="5714" y="3105"/>
                </a:lnTo>
                <a:lnTo>
                  <a:pt x="5717" y="3106"/>
                </a:lnTo>
                <a:lnTo>
                  <a:pt x="5713" y="3108"/>
                </a:lnTo>
                <a:lnTo>
                  <a:pt x="5711" y="3110"/>
                </a:lnTo>
                <a:lnTo>
                  <a:pt x="5710" y="3112"/>
                </a:lnTo>
                <a:lnTo>
                  <a:pt x="5710" y="3114"/>
                </a:lnTo>
                <a:lnTo>
                  <a:pt x="5710" y="3118"/>
                </a:lnTo>
                <a:lnTo>
                  <a:pt x="5713" y="3121"/>
                </a:lnTo>
                <a:lnTo>
                  <a:pt x="5720" y="3128"/>
                </a:lnTo>
                <a:lnTo>
                  <a:pt x="5723" y="3131"/>
                </a:lnTo>
                <a:lnTo>
                  <a:pt x="5724" y="3132"/>
                </a:lnTo>
                <a:lnTo>
                  <a:pt x="5725" y="3134"/>
                </a:lnTo>
                <a:lnTo>
                  <a:pt x="5725" y="3140"/>
                </a:lnTo>
                <a:lnTo>
                  <a:pt x="5730" y="3142"/>
                </a:lnTo>
                <a:lnTo>
                  <a:pt x="5733" y="3142"/>
                </a:lnTo>
                <a:lnTo>
                  <a:pt x="5735" y="3142"/>
                </a:lnTo>
                <a:lnTo>
                  <a:pt x="5736" y="3142"/>
                </a:lnTo>
                <a:lnTo>
                  <a:pt x="5738" y="3141"/>
                </a:lnTo>
                <a:lnTo>
                  <a:pt x="5741" y="3139"/>
                </a:lnTo>
                <a:lnTo>
                  <a:pt x="5743" y="3136"/>
                </a:lnTo>
                <a:lnTo>
                  <a:pt x="5744" y="3133"/>
                </a:lnTo>
                <a:lnTo>
                  <a:pt x="5748" y="3126"/>
                </a:lnTo>
                <a:lnTo>
                  <a:pt x="5749" y="3127"/>
                </a:lnTo>
                <a:lnTo>
                  <a:pt x="5751" y="3129"/>
                </a:lnTo>
                <a:lnTo>
                  <a:pt x="5753" y="3131"/>
                </a:lnTo>
                <a:lnTo>
                  <a:pt x="5754" y="3132"/>
                </a:lnTo>
                <a:lnTo>
                  <a:pt x="5755" y="3133"/>
                </a:lnTo>
                <a:lnTo>
                  <a:pt x="5757" y="3132"/>
                </a:lnTo>
                <a:lnTo>
                  <a:pt x="5759" y="3131"/>
                </a:lnTo>
                <a:lnTo>
                  <a:pt x="5759" y="3126"/>
                </a:lnTo>
                <a:lnTo>
                  <a:pt x="5758" y="3125"/>
                </a:lnTo>
                <a:lnTo>
                  <a:pt x="5757" y="3122"/>
                </a:lnTo>
                <a:lnTo>
                  <a:pt x="5756" y="3118"/>
                </a:lnTo>
                <a:lnTo>
                  <a:pt x="5756" y="3114"/>
                </a:lnTo>
                <a:lnTo>
                  <a:pt x="5759" y="3103"/>
                </a:lnTo>
                <a:lnTo>
                  <a:pt x="5764" y="3103"/>
                </a:lnTo>
                <a:lnTo>
                  <a:pt x="5765" y="3099"/>
                </a:lnTo>
                <a:lnTo>
                  <a:pt x="5765" y="3095"/>
                </a:lnTo>
                <a:lnTo>
                  <a:pt x="5765" y="3087"/>
                </a:lnTo>
                <a:lnTo>
                  <a:pt x="5762" y="3072"/>
                </a:lnTo>
                <a:lnTo>
                  <a:pt x="5757" y="3074"/>
                </a:lnTo>
                <a:lnTo>
                  <a:pt x="5752" y="3076"/>
                </a:lnTo>
                <a:lnTo>
                  <a:pt x="5748" y="3077"/>
                </a:lnTo>
                <a:lnTo>
                  <a:pt x="5743" y="3078"/>
                </a:lnTo>
                <a:lnTo>
                  <a:pt x="5740" y="3078"/>
                </a:lnTo>
                <a:lnTo>
                  <a:pt x="5736" y="3078"/>
                </a:lnTo>
                <a:lnTo>
                  <a:pt x="5729" y="3077"/>
                </a:lnTo>
                <a:lnTo>
                  <a:pt x="5722" y="3075"/>
                </a:lnTo>
                <a:lnTo>
                  <a:pt x="5714" y="3073"/>
                </a:lnTo>
                <a:lnTo>
                  <a:pt x="5705" y="3070"/>
                </a:lnTo>
                <a:lnTo>
                  <a:pt x="5696" y="3066"/>
                </a:lnTo>
                <a:close/>
                <a:moveTo>
                  <a:pt x="6209" y="2915"/>
                </a:moveTo>
                <a:lnTo>
                  <a:pt x="6209" y="2916"/>
                </a:lnTo>
                <a:lnTo>
                  <a:pt x="6207" y="2918"/>
                </a:lnTo>
                <a:lnTo>
                  <a:pt x="6206" y="2919"/>
                </a:lnTo>
                <a:lnTo>
                  <a:pt x="6205" y="2920"/>
                </a:lnTo>
                <a:lnTo>
                  <a:pt x="6206" y="2920"/>
                </a:lnTo>
                <a:lnTo>
                  <a:pt x="6210" y="2923"/>
                </a:lnTo>
                <a:lnTo>
                  <a:pt x="6212" y="2926"/>
                </a:lnTo>
                <a:lnTo>
                  <a:pt x="6214" y="2929"/>
                </a:lnTo>
                <a:lnTo>
                  <a:pt x="6216" y="2932"/>
                </a:lnTo>
                <a:lnTo>
                  <a:pt x="6219" y="2940"/>
                </a:lnTo>
                <a:lnTo>
                  <a:pt x="6223" y="2948"/>
                </a:lnTo>
                <a:lnTo>
                  <a:pt x="6226" y="2951"/>
                </a:lnTo>
                <a:lnTo>
                  <a:pt x="6229" y="2955"/>
                </a:lnTo>
                <a:lnTo>
                  <a:pt x="6233" y="2958"/>
                </a:lnTo>
                <a:lnTo>
                  <a:pt x="6234" y="2960"/>
                </a:lnTo>
                <a:lnTo>
                  <a:pt x="6234" y="2962"/>
                </a:lnTo>
                <a:lnTo>
                  <a:pt x="6234" y="2965"/>
                </a:lnTo>
                <a:lnTo>
                  <a:pt x="6240" y="2965"/>
                </a:lnTo>
                <a:lnTo>
                  <a:pt x="6240" y="2968"/>
                </a:lnTo>
                <a:lnTo>
                  <a:pt x="6240" y="2970"/>
                </a:lnTo>
                <a:lnTo>
                  <a:pt x="6240" y="2971"/>
                </a:lnTo>
                <a:lnTo>
                  <a:pt x="6239" y="2972"/>
                </a:lnTo>
                <a:lnTo>
                  <a:pt x="6237" y="2975"/>
                </a:lnTo>
                <a:lnTo>
                  <a:pt x="6237" y="2977"/>
                </a:lnTo>
                <a:lnTo>
                  <a:pt x="6237" y="2979"/>
                </a:lnTo>
                <a:lnTo>
                  <a:pt x="6237" y="2980"/>
                </a:lnTo>
                <a:lnTo>
                  <a:pt x="6238" y="2981"/>
                </a:lnTo>
                <a:lnTo>
                  <a:pt x="6241" y="2983"/>
                </a:lnTo>
                <a:lnTo>
                  <a:pt x="6245" y="2985"/>
                </a:lnTo>
                <a:lnTo>
                  <a:pt x="6246" y="2986"/>
                </a:lnTo>
                <a:lnTo>
                  <a:pt x="6245" y="2988"/>
                </a:lnTo>
                <a:lnTo>
                  <a:pt x="6244" y="2990"/>
                </a:lnTo>
                <a:lnTo>
                  <a:pt x="6243" y="2992"/>
                </a:lnTo>
                <a:lnTo>
                  <a:pt x="6242" y="2993"/>
                </a:lnTo>
                <a:lnTo>
                  <a:pt x="6243" y="2993"/>
                </a:lnTo>
                <a:lnTo>
                  <a:pt x="6244" y="2994"/>
                </a:lnTo>
                <a:lnTo>
                  <a:pt x="6245" y="2996"/>
                </a:lnTo>
                <a:lnTo>
                  <a:pt x="6246" y="3000"/>
                </a:lnTo>
                <a:lnTo>
                  <a:pt x="6246" y="3006"/>
                </a:lnTo>
                <a:lnTo>
                  <a:pt x="6246" y="3012"/>
                </a:lnTo>
                <a:lnTo>
                  <a:pt x="6245" y="3018"/>
                </a:lnTo>
                <a:lnTo>
                  <a:pt x="6243" y="3024"/>
                </a:lnTo>
                <a:lnTo>
                  <a:pt x="6242" y="3029"/>
                </a:lnTo>
                <a:lnTo>
                  <a:pt x="6241" y="3031"/>
                </a:lnTo>
                <a:lnTo>
                  <a:pt x="6240" y="3033"/>
                </a:lnTo>
                <a:lnTo>
                  <a:pt x="6226" y="3041"/>
                </a:lnTo>
                <a:lnTo>
                  <a:pt x="6235" y="3046"/>
                </a:lnTo>
                <a:lnTo>
                  <a:pt x="6240" y="3050"/>
                </a:lnTo>
                <a:lnTo>
                  <a:pt x="6242" y="3051"/>
                </a:lnTo>
                <a:lnTo>
                  <a:pt x="6245" y="3053"/>
                </a:lnTo>
                <a:lnTo>
                  <a:pt x="6249" y="3058"/>
                </a:lnTo>
                <a:lnTo>
                  <a:pt x="6251" y="3060"/>
                </a:lnTo>
                <a:lnTo>
                  <a:pt x="6253" y="3063"/>
                </a:lnTo>
                <a:lnTo>
                  <a:pt x="6254" y="3065"/>
                </a:lnTo>
                <a:lnTo>
                  <a:pt x="6254" y="3068"/>
                </a:lnTo>
                <a:lnTo>
                  <a:pt x="6254" y="3071"/>
                </a:lnTo>
                <a:lnTo>
                  <a:pt x="6254" y="3075"/>
                </a:lnTo>
                <a:lnTo>
                  <a:pt x="6248" y="3081"/>
                </a:lnTo>
                <a:lnTo>
                  <a:pt x="6248" y="3086"/>
                </a:lnTo>
                <a:lnTo>
                  <a:pt x="6248" y="3092"/>
                </a:lnTo>
                <a:lnTo>
                  <a:pt x="6258" y="3094"/>
                </a:lnTo>
                <a:lnTo>
                  <a:pt x="6264" y="3095"/>
                </a:lnTo>
                <a:lnTo>
                  <a:pt x="6266" y="3095"/>
                </a:lnTo>
                <a:lnTo>
                  <a:pt x="6268" y="3094"/>
                </a:lnTo>
                <a:lnTo>
                  <a:pt x="6270" y="3092"/>
                </a:lnTo>
                <a:lnTo>
                  <a:pt x="6272" y="3088"/>
                </a:lnTo>
                <a:lnTo>
                  <a:pt x="6273" y="3083"/>
                </a:lnTo>
                <a:lnTo>
                  <a:pt x="6276" y="3077"/>
                </a:lnTo>
                <a:lnTo>
                  <a:pt x="6279" y="3069"/>
                </a:lnTo>
                <a:lnTo>
                  <a:pt x="6281" y="3067"/>
                </a:lnTo>
                <a:lnTo>
                  <a:pt x="6285" y="3065"/>
                </a:lnTo>
                <a:lnTo>
                  <a:pt x="6287" y="3063"/>
                </a:lnTo>
                <a:lnTo>
                  <a:pt x="6289" y="3061"/>
                </a:lnTo>
                <a:lnTo>
                  <a:pt x="6290" y="3058"/>
                </a:lnTo>
                <a:lnTo>
                  <a:pt x="6290" y="3055"/>
                </a:lnTo>
                <a:lnTo>
                  <a:pt x="6290" y="3052"/>
                </a:lnTo>
                <a:lnTo>
                  <a:pt x="6289" y="3050"/>
                </a:lnTo>
                <a:lnTo>
                  <a:pt x="6288" y="3048"/>
                </a:lnTo>
                <a:lnTo>
                  <a:pt x="6288" y="3047"/>
                </a:lnTo>
                <a:lnTo>
                  <a:pt x="6289" y="3044"/>
                </a:lnTo>
                <a:lnTo>
                  <a:pt x="6292" y="3042"/>
                </a:lnTo>
                <a:lnTo>
                  <a:pt x="6296" y="3041"/>
                </a:lnTo>
                <a:lnTo>
                  <a:pt x="6302" y="3039"/>
                </a:lnTo>
                <a:lnTo>
                  <a:pt x="6307" y="3044"/>
                </a:lnTo>
                <a:lnTo>
                  <a:pt x="6307" y="3040"/>
                </a:lnTo>
                <a:lnTo>
                  <a:pt x="6306" y="3037"/>
                </a:lnTo>
                <a:lnTo>
                  <a:pt x="6305" y="3035"/>
                </a:lnTo>
                <a:lnTo>
                  <a:pt x="6304" y="3034"/>
                </a:lnTo>
                <a:lnTo>
                  <a:pt x="6304" y="3033"/>
                </a:lnTo>
                <a:lnTo>
                  <a:pt x="6305" y="3031"/>
                </a:lnTo>
                <a:lnTo>
                  <a:pt x="6306" y="3029"/>
                </a:lnTo>
                <a:lnTo>
                  <a:pt x="6310" y="3024"/>
                </a:lnTo>
                <a:lnTo>
                  <a:pt x="6314" y="3020"/>
                </a:lnTo>
                <a:lnTo>
                  <a:pt x="6316" y="3016"/>
                </a:lnTo>
                <a:lnTo>
                  <a:pt x="6316" y="3013"/>
                </a:lnTo>
                <a:lnTo>
                  <a:pt x="6316" y="3010"/>
                </a:lnTo>
                <a:lnTo>
                  <a:pt x="6315" y="3007"/>
                </a:lnTo>
                <a:lnTo>
                  <a:pt x="6316" y="3005"/>
                </a:lnTo>
                <a:lnTo>
                  <a:pt x="6313" y="3005"/>
                </a:lnTo>
                <a:lnTo>
                  <a:pt x="6312" y="3005"/>
                </a:lnTo>
                <a:lnTo>
                  <a:pt x="6311" y="3004"/>
                </a:lnTo>
                <a:lnTo>
                  <a:pt x="6310" y="3002"/>
                </a:lnTo>
                <a:lnTo>
                  <a:pt x="6309" y="3002"/>
                </a:lnTo>
                <a:lnTo>
                  <a:pt x="6307" y="3002"/>
                </a:lnTo>
                <a:lnTo>
                  <a:pt x="6305" y="3003"/>
                </a:lnTo>
                <a:lnTo>
                  <a:pt x="6303" y="3006"/>
                </a:lnTo>
                <a:lnTo>
                  <a:pt x="6299" y="3010"/>
                </a:lnTo>
                <a:lnTo>
                  <a:pt x="6295" y="3011"/>
                </a:lnTo>
                <a:lnTo>
                  <a:pt x="6291" y="3011"/>
                </a:lnTo>
                <a:lnTo>
                  <a:pt x="6288" y="3011"/>
                </a:lnTo>
                <a:lnTo>
                  <a:pt x="6284" y="3009"/>
                </a:lnTo>
                <a:lnTo>
                  <a:pt x="6277" y="3005"/>
                </a:lnTo>
                <a:lnTo>
                  <a:pt x="6271" y="3002"/>
                </a:lnTo>
                <a:lnTo>
                  <a:pt x="6271" y="2992"/>
                </a:lnTo>
                <a:lnTo>
                  <a:pt x="6271" y="2982"/>
                </a:lnTo>
                <a:lnTo>
                  <a:pt x="6268" y="2981"/>
                </a:lnTo>
                <a:lnTo>
                  <a:pt x="6266" y="2980"/>
                </a:lnTo>
                <a:lnTo>
                  <a:pt x="6266" y="2979"/>
                </a:lnTo>
                <a:lnTo>
                  <a:pt x="6266" y="2978"/>
                </a:lnTo>
                <a:lnTo>
                  <a:pt x="6267" y="2977"/>
                </a:lnTo>
                <a:lnTo>
                  <a:pt x="6266" y="2975"/>
                </a:lnTo>
                <a:lnTo>
                  <a:pt x="6265" y="2974"/>
                </a:lnTo>
                <a:lnTo>
                  <a:pt x="6261" y="2982"/>
                </a:lnTo>
                <a:lnTo>
                  <a:pt x="6259" y="2984"/>
                </a:lnTo>
                <a:lnTo>
                  <a:pt x="6257" y="2985"/>
                </a:lnTo>
                <a:lnTo>
                  <a:pt x="6254" y="2984"/>
                </a:lnTo>
                <a:lnTo>
                  <a:pt x="6252" y="2983"/>
                </a:lnTo>
                <a:lnTo>
                  <a:pt x="6251" y="2982"/>
                </a:lnTo>
                <a:lnTo>
                  <a:pt x="6250" y="2980"/>
                </a:lnTo>
                <a:lnTo>
                  <a:pt x="6249" y="2978"/>
                </a:lnTo>
                <a:lnTo>
                  <a:pt x="6248" y="2975"/>
                </a:lnTo>
                <a:lnTo>
                  <a:pt x="6248" y="2970"/>
                </a:lnTo>
                <a:lnTo>
                  <a:pt x="6248" y="2956"/>
                </a:lnTo>
                <a:lnTo>
                  <a:pt x="6247" y="2949"/>
                </a:lnTo>
                <a:lnTo>
                  <a:pt x="6246" y="2946"/>
                </a:lnTo>
                <a:lnTo>
                  <a:pt x="6245" y="2943"/>
                </a:lnTo>
                <a:lnTo>
                  <a:pt x="6237" y="2943"/>
                </a:lnTo>
                <a:lnTo>
                  <a:pt x="6237" y="2942"/>
                </a:lnTo>
                <a:lnTo>
                  <a:pt x="6238" y="2940"/>
                </a:lnTo>
                <a:lnTo>
                  <a:pt x="6240" y="2937"/>
                </a:lnTo>
                <a:lnTo>
                  <a:pt x="6233" y="2931"/>
                </a:lnTo>
                <a:lnTo>
                  <a:pt x="6226" y="2926"/>
                </a:lnTo>
                <a:lnTo>
                  <a:pt x="6223" y="2929"/>
                </a:lnTo>
                <a:lnTo>
                  <a:pt x="6222" y="2931"/>
                </a:lnTo>
                <a:lnTo>
                  <a:pt x="6221" y="2931"/>
                </a:lnTo>
                <a:lnTo>
                  <a:pt x="6220" y="2931"/>
                </a:lnTo>
                <a:lnTo>
                  <a:pt x="6218" y="2929"/>
                </a:lnTo>
                <a:lnTo>
                  <a:pt x="6216" y="2926"/>
                </a:lnTo>
                <a:lnTo>
                  <a:pt x="6212" y="2920"/>
                </a:lnTo>
                <a:lnTo>
                  <a:pt x="6214" y="2917"/>
                </a:lnTo>
                <a:lnTo>
                  <a:pt x="6214" y="2916"/>
                </a:lnTo>
                <a:lnTo>
                  <a:pt x="6214" y="2915"/>
                </a:lnTo>
                <a:lnTo>
                  <a:pt x="6209" y="2915"/>
                </a:lnTo>
                <a:close/>
                <a:moveTo>
                  <a:pt x="3957" y="2387"/>
                </a:moveTo>
                <a:lnTo>
                  <a:pt x="3952" y="2404"/>
                </a:lnTo>
                <a:lnTo>
                  <a:pt x="3950" y="2414"/>
                </a:lnTo>
                <a:lnTo>
                  <a:pt x="3948" y="2424"/>
                </a:lnTo>
                <a:lnTo>
                  <a:pt x="3945" y="2424"/>
                </a:lnTo>
                <a:lnTo>
                  <a:pt x="3940" y="2425"/>
                </a:lnTo>
                <a:lnTo>
                  <a:pt x="3936" y="2425"/>
                </a:lnTo>
                <a:lnTo>
                  <a:pt x="3935" y="2426"/>
                </a:lnTo>
                <a:lnTo>
                  <a:pt x="3934" y="2427"/>
                </a:lnTo>
                <a:lnTo>
                  <a:pt x="3934" y="2430"/>
                </a:lnTo>
                <a:lnTo>
                  <a:pt x="3935" y="2429"/>
                </a:lnTo>
                <a:lnTo>
                  <a:pt x="3937" y="2432"/>
                </a:lnTo>
                <a:lnTo>
                  <a:pt x="3938" y="2435"/>
                </a:lnTo>
                <a:lnTo>
                  <a:pt x="3938" y="2437"/>
                </a:lnTo>
                <a:lnTo>
                  <a:pt x="3937" y="2438"/>
                </a:lnTo>
                <a:lnTo>
                  <a:pt x="3931" y="2438"/>
                </a:lnTo>
                <a:lnTo>
                  <a:pt x="3931" y="2440"/>
                </a:lnTo>
                <a:lnTo>
                  <a:pt x="3931" y="2443"/>
                </a:lnTo>
                <a:lnTo>
                  <a:pt x="3930" y="2447"/>
                </a:lnTo>
                <a:lnTo>
                  <a:pt x="3929" y="2452"/>
                </a:lnTo>
                <a:lnTo>
                  <a:pt x="3925" y="2450"/>
                </a:lnTo>
                <a:lnTo>
                  <a:pt x="3925" y="2449"/>
                </a:lnTo>
                <a:lnTo>
                  <a:pt x="3924" y="2448"/>
                </a:lnTo>
                <a:lnTo>
                  <a:pt x="3920" y="2449"/>
                </a:lnTo>
                <a:lnTo>
                  <a:pt x="3921" y="2457"/>
                </a:lnTo>
                <a:lnTo>
                  <a:pt x="3921" y="2461"/>
                </a:lnTo>
                <a:lnTo>
                  <a:pt x="3920" y="2463"/>
                </a:lnTo>
                <a:lnTo>
                  <a:pt x="3919" y="2463"/>
                </a:lnTo>
                <a:lnTo>
                  <a:pt x="3917" y="2462"/>
                </a:lnTo>
                <a:lnTo>
                  <a:pt x="3915" y="2461"/>
                </a:lnTo>
                <a:lnTo>
                  <a:pt x="3913" y="2460"/>
                </a:lnTo>
                <a:lnTo>
                  <a:pt x="3912" y="2461"/>
                </a:lnTo>
                <a:lnTo>
                  <a:pt x="3910" y="2462"/>
                </a:lnTo>
                <a:lnTo>
                  <a:pt x="3909" y="2465"/>
                </a:lnTo>
                <a:lnTo>
                  <a:pt x="3907" y="2468"/>
                </a:lnTo>
                <a:lnTo>
                  <a:pt x="3906" y="2469"/>
                </a:lnTo>
                <a:lnTo>
                  <a:pt x="3904" y="2469"/>
                </a:lnTo>
                <a:lnTo>
                  <a:pt x="3901" y="2469"/>
                </a:lnTo>
                <a:lnTo>
                  <a:pt x="3898" y="2468"/>
                </a:lnTo>
                <a:lnTo>
                  <a:pt x="3895" y="2467"/>
                </a:lnTo>
                <a:lnTo>
                  <a:pt x="3893" y="2466"/>
                </a:lnTo>
                <a:lnTo>
                  <a:pt x="3892" y="2466"/>
                </a:lnTo>
                <a:lnTo>
                  <a:pt x="3892" y="2472"/>
                </a:lnTo>
                <a:lnTo>
                  <a:pt x="3882" y="2477"/>
                </a:lnTo>
                <a:lnTo>
                  <a:pt x="3877" y="2480"/>
                </a:lnTo>
                <a:lnTo>
                  <a:pt x="3872" y="2483"/>
                </a:lnTo>
                <a:lnTo>
                  <a:pt x="3867" y="2486"/>
                </a:lnTo>
                <a:lnTo>
                  <a:pt x="3863" y="2491"/>
                </a:lnTo>
                <a:lnTo>
                  <a:pt x="3860" y="2495"/>
                </a:lnTo>
                <a:lnTo>
                  <a:pt x="3859" y="2497"/>
                </a:lnTo>
                <a:lnTo>
                  <a:pt x="3858" y="2500"/>
                </a:lnTo>
                <a:lnTo>
                  <a:pt x="3858" y="2504"/>
                </a:lnTo>
                <a:lnTo>
                  <a:pt x="3858" y="2508"/>
                </a:lnTo>
                <a:lnTo>
                  <a:pt x="3858" y="2512"/>
                </a:lnTo>
                <a:lnTo>
                  <a:pt x="3859" y="2515"/>
                </a:lnTo>
                <a:lnTo>
                  <a:pt x="3861" y="2523"/>
                </a:lnTo>
                <a:lnTo>
                  <a:pt x="3864" y="2531"/>
                </a:lnTo>
                <a:lnTo>
                  <a:pt x="3867" y="2539"/>
                </a:lnTo>
                <a:lnTo>
                  <a:pt x="3869" y="2546"/>
                </a:lnTo>
                <a:lnTo>
                  <a:pt x="3870" y="2550"/>
                </a:lnTo>
                <a:lnTo>
                  <a:pt x="3870" y="2554"/>
                </a:lnTo>
                <a:lnTo>
                  <a:pt x="3870" y="2562"/>
                </a:lnTo>
                <a:lnTo>
                  <a:pt x="3867" y="2564"/>
                </a:lnTo>
                <a:lnTo>
                  <a:pt x="3862" y="2568"/>
                </a:lnTo>
                <a:lnTo>
                  <a:pt x="3855" y="2573"/>
                </a:lnTo>
                <a:lnTo>
                  <a:pt x="3855" y="2575"/>
                </a:lnTo>
                <a:lnTo>
                  <a:pt x="3855" y="2576"/>
                </a:lnTo>
                <a:lnTo>
                  <a:pt x="3855" y="2580"/>
                </a:lnTo>
                <a:lnTo>
                  <a:pt x="3856" y="2584"/>
                </a:lnTo>
                <a:lnTo>
                  <a:pt x="3855" y="2587"/>
                </a:lnTo>
                <a:lnTo>
                  <a:pt x="3854" y="2588"/>
                </a:lnTo>
                <a:lnTo>
                  <a:pt x="3851" y="2590"/>
                </a:lnTo>
                <a:lnTo>
                  <a:pt x="3849" y="2591"/>
                </a:lnTo>
                <a:lnTo>
                  <a:pt x="3847" y="2593"/>
                </a:lnTo>
                <a:lnTo>
                  <a:pt x="3845" y="2598"/>
                </a:lnTo>
                <a:lnTo>
                  <a:pt x="3844" y="2603"/>
                </a:lnTo>
                <a:lnTo>
                  <a:pt x="3843" y="2607"/>
                </a:lnTo>
                <a:lnTo>
                  <a:pt x="3842" y="2611"/>
                </a:lnTo>
                <a:lnTo>
                  <a:pt x="3842" y="2615"/>
                </a:lnTo>
                <a:lnTo>
                  <a:pt x="3843" y="2619"/>
                </a:lnTo>
                <a:lnTo>
                  <a:pt x="3843" y="2623"/>
                </a:lnTo>
                <a:lnTo>
                  <a:pt x="3844" y="2626"/>
                </a:lnTo>
                <a:lnTo>
                  <a:pt x="3847" y="2633"/>
                </a:lnTo>
                <a:lnTo>
                  <a:pt x="3850" y="2640"/>
                </a:lnTo>
                <a:lnTo>
                  <a:pt x="3855" y="2653"/>
                </a:lnTo>
                <a:lnTo>
                  <a:pt x="3860" y="2667"/>
                </a:lnTo>
                <a:lnTo>
                  <a:pt x="3863" y="2672"/>
                </a:lnTo>
                <a:lnTo>
                  <a:pt x="3865" y="2677"/>
                </a:lnTo>
                <a:lnTo>
                  <a:pt x="3868" y="2681"/>
                </a:lnTo>
                <a:lnTo>
                  <a:pt x="3872" y="2685"/>
                </a:lnTo>
                <a:lnTo>
                  <a:pt x="3875" y="2687"/>
                </a:lnTo>
                <a:lnTo>
                  <a:pt x="3877" y="2689"/>
                </a:lnTo>
                <a:lnTo>
                  <a:pt x="3884" y="2692"/>
                </a:lnTo>
                <a:lnTo>
                  <a:pt x="3888" y="2693"/>
                </a:lnTo>
                <a:lnTo>
                  <a:pt x="3890" y="2693"/>
                </a:lnTo>
                <a:lnTo>
                  <a:pt x="3889" y="2692"/>
                </a:lnTo>
                <a:lnTo>
                  <a:pt x="3897" y="2690"/>
                </a:lnTo>
                <a:lnTo>
                  <a:pt x="3905" y="2687"/>
                </a:lnTo>
                <a:lnTo>
                  <a:pt x="3912" y="2683"/>
                </a:lnTo>
                <a:lnTo>
                  <a:pt x="3915" y="2681"/>
                </a:lnTo>
                <a:lnTo>
                  <a:pt x="3916" y="2680"/>
                </a:lnTo>
                <a:lnTo>
                  <a:pt x="3917" y="2678"/>
                </a:lnTo>
                <a:lnTo>
                  <a:pt x="3919" y="2674"/>
                </a:lnTo>
                <a:lnTo>
                  <a:pt x="3921" y="2670"/>
                </a:lnTo>
                <a:lnTo>
                  <a:pt x="3923" y="2661"/>
                </a:lnTo>
                <a:lnTo>
                  <a:pt x="3924" y="2651"/>
                </a:lnTo>
                <a:lnTo>
                  <a:pt x="3925" y="2646"/>
                </a:lnTo>
                <a:lnTo>
                  <a:pt x="3926" y="2642"/>
                </a:lnTo>
                <a:lnTo>
                  <a:pt x="3928" y="2634"/>
                </a:lnTo>
                <a:lnTo>
                  <a:pt x="3931" y="2627"/>
                </a:lnTo>
                <a:lnTo>
                  <a:pt x="3938" y="2610"/>
                </a:lnTo>
                <a:lnTo>
                  <a:pt x="3941" y="2602"/>
                </a:lnTo>
                <a:lnTo>
                  <a:pt x="3944" y="2592"/>
                </a:lnTo>
                <a:lnTo>
                  <a:pt x="3947" y="2584"/>
                </a:lnTo>
                <a:lnTo>
                  <a:pt x="3948" y="2576"/>
                </a:lnTo>
                <a:lnTo>
                  <a:pt x="3948" y="2573"/>
                </a:lnTo>
                <a:lnTo>
                  <a:pt x="3948" y="2571"/>
                </a:lnTo>
                <a:lnTo>
                  <a:pt x="3947" y="2566"/>
                </a:lnTo>
                <a:lnTo>
                  <a:pt x="3946" y="2562"/>
                </a:lnTo>
                <a:lnTo>
                  <a:pt x="3945" y="2560"/>
                </a:lnTo>
                <a:lnTo>
                  <a:pt x="3945" y="2559"/>
                </a:lnTo>
                <a:lnTo>
                  <a:pt x="3952" y="2548"/>
                </a:lnTo>
                <a:lnTo>
                  <a:pt x="3960" y="2537"/>
                </a:lnTo>
                <a:lnTo>
                  <a:pt x="3963" y="2527"/>
                </a:lnTo>
                <a:lnTo>
                  <a:pt x="3965" y="2520"/>
                </a:lnTo>
                <a:lnTo>
                  <a:pt x="3965" y="2516"/>
                </a:lnTo>
                <a:lnTo>
                  <a:pt x="3964" y="2513"/>
                </a:lnTo>
                <a:lnTo>
                  <a:pt x="3962" y="2508"/>
                </a:lnTo>
                <a:lnTo>
                  <a:pt x="3968" y="2503"/>
                </a:lnTo>
                <a:lnTo>
                  <a:pt x="3968" y="2500"/>
                </a:lnTo>
                <a:lnTo>
                  <a:pt x="3968" y="2498"/>
                </a:lnTo>
                <a:lnTo>
                  <a:pt x="3968" y="2494"/>
                </a:lnTo>
                <a:lnTo>
                  <a:pt x="3969" y="2492"/>
                </a:lnTo>
                <a:lnTo>
                  <a:pt x="3970" y="2491"/>
                </a:lnTo>
                <a:lnTo>
                  <a:pt x="3971" y="2490"/>
                </a:lnTo>
                <a:lnTo>
                  <a:pt x="3974" y="2489"/>
                </a:lnTo>
                <a:lnTo>
                  <a:pt x="3974" y="2483"/>
                </a:lnTo>
                <a:lnTo>
                  <a:pt x="3972" y="2478"/>
                </a:lnTo>
                <a:lnTo>
                  <a:pt x="3970" y="2472"/>
                </a:lnTo>
                <a:lnTo>
                  <a:pt x="3967" y="2466"/>
                </a:lnTo>
                <a:lnTo>
                  <a:pt x="3965" y="2461"/>
                </a:lnTo>
                <a:lnTo>
                  <a:pt x="3967" y="2461"/>
                </a:lnTo>
                <a:lnTo>
                  <a:pt x="3969" y="2461"/>
                </a:lnTo>
                <a:lnTo>
                  <a:pt x="3974" y="2461"/>
                </a:lnTo>
                <a:lnTo>
                  <a:pt x="3973" y="2464"/>
                </a:lnTo>
                <a:lnTo>
                  <a:pt x="3974" y="2469"/>
                </a:lnTo>
                <a:lnTo>
                  <a:pt x="3979" y="2469"/>
                </a:lnTo>
                <a:lnTo>
                  <a:pt x="3979" y="2466"/>
                </a:lnTo>
                <a:lnTo>
                  <a:pt x="3979" y="2463"/>
                </a:lnTo>
                <a:lnTo>
                  <a:pt x="3979" y="2462"/>
                </a:lnTo>
                <a:lnTo>
                  <a:pt x="3979" y="2461"/>
                </a:lnTo>
                <a:lnTo>
                  <a:pt x="3980" y="2461"/>
                </a:lnTo>
                <a:lnTo>
                  <a:pt x="3982" y="2461"/>
                </a:lnTo>
                <a:lnTo>
                  <a:pt x="3981" y="2446"/>
                </a:lnTo>
                <a:lnTo>
                  <a:pt x="3979" y="2430"/>
                </a:lnTo>
                <a:lnTo>
                  <a:pt x="3979" y="2421"/>
                </a:lnTo>
                <a:lnTo>
                  <a:pt x="3977" y="2414"/>
                </a:lnTo>
                <a:lnTo>
                  <a:pt x="3976" y="2407"/>
                </a:lnTo>
                <a:lnTo>
                  <a:pt x="3974" y="2401"/>
                </a:lnTo>
                <a:lnTo>
                  <a:pt x="3973" y="2400"/>
                </a:lnTo>
                <a:lnTo>
                  <a:pt x="3972" y="2399"/>
                </a:lnTo>
                <a:lnTo>
                  <a:pt x="3971" y="2399"/>
                </a:lnTo>
                <a:lnTo>
                  <a:pt x="3970" y="2399"/>
                </a:lnTo>
                <a:lnTo>
                  <a:pt x="3967" y="2401"/>
                </a:lnTo>
                <a:lnTo>
                  <a:pt x="3965" y="2401"/>
                </a:lnTo>
                <a:lnTo>
                  <a:pt x="3961" y="2394"/>
                </a:lnTo>
                <a:lnTo>
                  <a:pt x="3957" y="2387"/>
                </a:lnTo>
                <a:close/>
                <a:moveTo>
                  <a:pt x="5001" y="2227"/>
                </a:moveTo>
                <a:lnTo>
                  <a:pt x="4999" y="2234"/>
                </a:lnTo>
                <a:lnTo>
                  <a:pt x="4996" y="2240"/>
                </a:lnTo>
                <a:lnTo>
                  <a:pt x="4990" y="2252"/>
                </a:lnTo>
                <a:lnTo>
                  <a:pt x="4995" y="2253"/>
                </a:lnTo>
                <a:lnTo>
                  <a:pt x="4999" y="2254"/>
                </a:lnTo>
                <a:lnTo>
                  <a:pt x="5010" y="2255"/>
                </a:lnTo>
                <a:lnTo>
                  <a:pt x="5007" y="2259"/>
                </a:lnTo>
                <a:lnTo>
                  <a:pt x="5006" y="2262"/>
                </a:lnTo>
                <a:lnTo>
                  <a:pt x="5006" y="2263"/>
                </a:lnTo>
                <a:lnTo>
                  <a:pt x="5007" y="2264"/>
                </a:lnTo>
                <a:lnTo>
                  <a:pt x="5011" y="2264"/>
                </a:lnTo>
                <a:lnTo>
                  <a:pt x="5014" y="2264"/>
                </a:lnTo>
                <a:lnTo>
                  <a:pt x="5017" y="2264"/>
                </a:lnTo>
                <a:lnTo>
                  <a:pt x="5020" y="2263"/>
                </a:lnTo>
                <a:lnTo>
                  <a:pt x="5022" y="2262"/>
                </a:lnTo>
                <a:lnTo>
                  <a:pt x="5025" y="2262"/>
                </a:lnTo>
                <a:lnTo>
                  <a:pt x="5028" y="2262"/>
                </a:lnTo>
                <a:lnTo>
                  <a:pt x="5032" y="2264"/>
                </a:lnTo>
                <a:lnTo>
                  <a:pt x="5032" y="2269"/>
                </a:lnTo>
                <a:lnTo>
                  <a:pt x="5037" y="2271"/>
                </a:lnTo>
                <a:lnTo>
                  <a:pt x="5041" y="2272"/>
                </a:lnTo>
                <a:lnTo>
                  <a:pt x="5044" y="2272"/>
                </a:lnTo>
                <a:lnTo>
                  <a:pt x="5048" y="2272"/>
                </a:lnTo>
                <a:lnTo>
                  <a:pt x="5055" y="2271"/>
                </a:lnTo>
                <a:lnTo>
                  <a:pt x="5059" y="2270"/>
                </a:lnTo>
                <a:lnTo>
                  <a:pt x="5063" y="2269"/>
                </a:lnTo>
                <a:lnTo>
                  <a:pt x="5067" y="2269"/>
                </a:lnTo>
                <a:lnTo>
                  <a:pt x="5072" y="2269"/>
                </a:lnTo>
                <a:lnTo>
                  <a:pt x="5074" y="2270"/>
                </a:lnTo>
                <a:lnTo>
                  <a:pt x="5077" y="2271"/>
                </a:lnTo>
                <a:lnTo>
                  <a:pt x="5084" y="2275"/>
                </a:lnTo>
                <a:lnTo>
                  <a:pt x="5091" y="2278"/>
                </a:lnTo>
                <a:lnTo>
                  <a:pt x="5097" y="2280"/>
                </a:lnTo>
                <a:lnTo>
                  <a:pt x="5102" y="2281"/>
                </a:lnTo>
                <a:lnTo>
                  <a:pt x="5107" y="2281"/>
                </a:lnTo>
                <a:lnTo>
                  <a:pt x="5118" y="2281"/>
                </a:lnTo>
                <a:lnTo>
                  <a:pt x="5128" y="2280"/>
                </a:lnTo>
                <a:lnTo>
                  <a:pt x="5133" y="2280"/>
                </a:lnTo>
                <a:lnTo>
                  <a:pt x="5136" y="2280"/>
                </a:lnTo>
                <a:lnTo>
                  <a:pt x="5138" y="2281"/>
                </a:lnTo>
                <a:lnTo>
                  <a:pt x="5139" y="2282"/>
                </a:lnTo>
                <a:lnTo>
                  <a:pt x="5142" y="2286"/>
                </a:lnTo>
                <a:lnTo>
                  <a:pt x="5145" y="2289"/>
                </a:lnTo>
                <a:lnTo>
                  <a:pt x="5146" y="2291"/>
                </a:lnTo>
                <a:lnTo>
                  <a:pt x="5147" y="2292"/>
                </a:lnTo>
                <a:lnTo>
                  <a:pt x="5150" y="2293"/>
                </a:lnTo>
                <a:lnTo>
                  <a:pt x="5152" y="2293"/>
                </a:lnTo>
                <a:lnTo>
                  <a:pt x="5156" y="2293"/>
                </a:lnTo>
                <a:lnTo>
                  <a:pt x="5160" y="2294"/>
                </a:lnTo>
                <a:lnTo>
                  <a:pt x="5164" y="2295"/>
                </a:lnTo>
                <a:lnTo>
                  <a:pt x="5163" y="2292"/>
                </a:lnTo>
                <a:lnTo>
                  <a:pt x="5160" y="2288"/>
                </a:lnTo>
                <a:lnTo>
                  <a:pt x="5156" y="2283"/>
                </a:lnTo>
                <a:lnTo>
                  <a:pt x="5156" y="2280"/>
                </a:lnTo>
                <a:lnTo>
                  <a:pt x="5156" y="2277"/>
                </a:lnTo>
                <a:lnTo>
                  <a:pt x="5158" y="2273"/>
                </a:lnTo>
                <a:lnTo>
                  <a:pt x="5159" y="2269"/>
                </a:lnTo>
                <a:lnTo>
                  <a:pt x="5158" y="2269"/>
                </a:lnTo>
                <a:lnTo>
                  <a:pt x="5156" y="2268"/>
                </a:lnTo>
                <a:lnTo>
                  <a:pt x="5154" y="2266"/>
                </a:lnTo>
                <a:lnTo>
                  <a:pt x="5150" y="2264"/>
                </a:lnTo>
                <a:lnTo>
                  <a:pt x="5128" y="2264"/>
                </a:lnTo>
                <a:lnTo>
                  <a:pt x="5130" y="2258"/>
                </a:lnTo>
                <a:lnTo>
                  <a:pt x="5131" y="2255"/>
                </a:lnTo>
                <a:lnTo>
                  <a:pt x="5131" y="2252"/>
                </a:lnTo>
                <a:lnTo>
                  <a:pt x="5129" y="2249"/>
                </a:lnTo>
                <a:lnTo>
                  <a:pt x="5128" y="2247"/>
                </a:lnTo>
                <a:lnTo>
                  <a:pt x="5128" y="2244"/>
                </a:lnTo>
                <a:lnTo>
                  <a:pt x="5118" y="2243"/>
                </a:lnTo>
                <a:lnTo>
                  <a:pt x="5110" y="2242"/>
                </a:lnTo>
                <a:lnTo>
                  <a:pt x="5103" y="2242"/>
                </a:lnTo>
                <a:lnTo>
                  <a:pt x="5100" y="2242"/>
                </a:lnTo>
                <a:lnTo>
                  <a:pt x="5097" y="2241"/>
                </a:lnTo>
                <a:lnTo>
                  <a:pt x="5096" y="2240"/>
                </a:lnTo>
                <a:lnTo>
                  <a:pt x="5095" y="2238"/>
                </a:lnTo>
                <a:lnTo>
                  <a:pt x="5094" y="2237"/>
                </a:lnTo>
                <a:lnTo>
                  <a:pt x="5093" y="2236"/>
                </a:lnTo>
                <a:lnTo>
                  <a:pt x="5092" y="2236"/>
                </a:lnTo>
                <a:lnTo>
                  <a:pt x="5091" y="2235"/>
                </a:lnTo>
                <a:lnTo>
                  <a:pt x="5086" y="2244"/>
                </a:lnTo>
                <a:lnTo>
                  <a:pt x="5069" y="2244"/>
                </a:lnTo>
                <a:lnTo>
                  <a:pt x="5064" y="2243"/>
                </a:lnTo>
                <a:lnTo>
                  <a:pt x="5060" y="2241"/>
                </a:lnTo>
                <a:lnTo>
                  <a:pt x="5057" y="2238"/>
                </a:lnTo>
                <a:lnTo>
                  <a:pt x="5054" y="2236"/>
                </a:lnTo>
                <a:lnTo>
                  <a:pt x="5047" y="2231"/>
                </a:lnTo>
                <a:lnTo>
                  <a:pt x="5044" y="2228"/>
                </a:lnTo>
                <a:lnTo>
                  <a:pt x="5041" y="2227"/>
                </a:lnTo>
                <a:lnTo>
                  <a:pt x="5038" y="2227"/>
                </a:lnTo>
                <a:lnTo>
                  <a:pt x="5035" y="2227"/>
                </a:lnTo>
                <a:lnTo>
                  <a:pt x="5028" y="2229"/>
                </a:lnTo>
                <a:lnTo>
                  <a:pt x="5018" y="2233"/>
                </a:lnTo>
                <a:lnTo>
                  <a:pt x="5013" y="2232"/>
                </a:lnTo>
                <a:lnTo>
                  <a:pt x="5009" y="2230"/>
                </a:lnTo>
                <a:lnTo>
                  <a:pt x="5005" y="2228"/>
                </a:lnTo>
                <a:lnTo>
                  <a:pt x="5003" y="2228"/>
                </a:lnTo>
                <a:lnTo>
                  <a:pt x="5001" y="2227"/>
                </a:lnTo>
                <a:close/>
                <a:moveTo>
                  <a:pt x="5342" y="2067"/>
                </a:moveTo>
                <a:lnTo>
                  <a:pt x="5339" y="2069"/>
                </a:lnTo>
                <a:lnTo>
                  <a:pt x="5335" y="2075"/>
                </a:lnTo>
                <a:lnTo>
                  <a:pt x="5333" y="2078"/>
                </a:lnTo>
                <a:lnTo>
                  <a:pt x="5330" y="2080"/>
                </a:lnTo>
                <a:lnTo>
                  <a:pt x="5328" y="2082"/>
                </a:lnTo>
                <a:lnTo>
                  <a:pt x="5325" y="2084"/>
                </a:lnTo>
                <a:lnTo>
                  <a:pt x="5319" y="2084"/>
                </a:lnTo>
                <a:lnTo>
                  <a:pt x="5313" y="2085"/>
                </a:lnTo>
                <a:lnTo>
                  <a:pt x="5301" y="2084"/>
                </a:lnTo>
                <a:lnTo>
                  <a:pt x="5280" y="2081"/>
                </a:lnTo>
                <a:lnTo>
                  <a:pt x="5280" y="2075"/>
                </a:lnTo>
                <a:lnTo>
                  <a:pt x="5278" y="2075"/>
                </a:lnTo>
                <a:lnTo>
                  <a:pt x="5275" y="2076"/>
                </a:lnTo>
                <a:lnTo>
                  <a:pt x="5270" y="2079"/>
                </a:lnTo>
                <a:lnTo>
                  <a:pt x="5266" y="2082"/>
                </a:lnTo>
                <a:lnTo>
                  <a:pt x="5263" y="2084"/>
                </a:lnTo>
                <a:lnTo>
                  <a:pt x="5261" y="2084"/>
                </a:lnTo>
                <a:lnTo>
                  <a:pt x="5260" y="2083"/>
                </a:lnTo>
                <a:lnTo>
                  <a:pt x="5260" y="2082"/>
                </a:lnTo>
                <a:lnTo>
                  <a:pt x="5259" y="2080"/>
                </a:lnTo>
                <a:lnTo>
                  <a:pt x="5258" y="2080"/>
                </a:lnTo>
                <a:lnTo>
                  <a:pt x="5257" y="2081"/>
                </a:lnTo>
                <a:lnTo>
                  <a:pt x="5257" y="2086"/>
                </a:lnTo>
                <a:lnTo>
                  <a:pt x="5253" y="2089"/>
                </a:lnTo>
                <a:lnTo>
                  <a:pt x="5249" y="2092"/>
                </a:lnTo>
                <a:lnTo>
                  <a:pt x="5248" y="2096"/>
                </a:lnTo>
                <a:lnTo>
                  <a:pt x="5248" y="2100"/>
                </a:lnTo>
                <a:lnTo>
                  <a:pt x="5248" y="2103"/>
                </a:lnTo>
                <a:lnTo>
                  <a:pt x="5249" y="2106"/>
                </a:lnTo>
                <a:lnTo>
                  <a:pt x="5251" y="2110"/>
                </a:lnTo>
                <a:lnTo>
                  <a:pt x="5252" y="2113"/>
                </a:lnTo>
                <a:lnTo>
                  <a:pt x="5252" y="2115"/>
                </a:lnTo>
                <a:lnTo>
                  <a:pt x="5250" y="2117"/>
                </a:lnTo>
                <a:lnTo>
                  <a:pt x="5247" y="2119"/>
                </a:lnTo>
                <a:lnTo>
                  <a:pt x="5245" y="2121"/>
                </a:lnTo>
                <a:lnTo>
                  <a:pt x="5243" y="2123"/>
                </a:lnTo>
                <a:lnTo>
                  <a:pt x="5243" y="2125"/>
                </a:lnTo>
                <a:lnTo>
                  <a:pt x="5242" y="2128"/>
                </a:lnTo>
                <a:lnTo>
                  <a:pt x="5243" y="2133"/>
                </a:lnTo>
                <a:lnTo>
                  <a:pt x="5243" y="2138"/>
                </a:lnTo>
                <a:lnTo>
                  <a:pt x="5243" y="2143"/>
                </a:lnTo>
                <a:lnTo>
                  <a:pt x="5242" y="2145"/>
                </a:lnTo>
                <a:lnTo>
                  <a:pt x="5241" y="2148"/>
                </a:lnTo>
                <a:lnTo>
                  <a:pt x="5239" y="2154"/>
                </a:lnTo>
                <a:lnTo>
                  <a:pt x="5236" y="2160"/>
                </a:lnTo>
                <a:lnTo>
                  <a:pt x="5235" y="2163"/>
                </a:lnTo>
                <a:lnTo>
                  <a:pt x="5235" y="2165"/>
                </a:lnTo>
                <a:lnTo>
                  <a:pt x="5234" y="2175"/>
                </a:lnTo>
                <a:lnTo>
                  <a:pt x="5234" y="2177"/>
                </a:lnTo>
                <a:lnTo>
                  <a:pt x="5235" y="2177"/>
                </a:lnTo>
                <a:lnTo>
                  <a:pt x="5239" y="2177"/>
                </a:lnTo>
                <a:lnTo>
                  <a:pt x="5240" y="2177"/>
                </a:lnTo>
                <a:lnTo>
                  <a:pt x="5242" y="2177"/>
                </a:lnTo>
                <a:lnTo>
                  <a:pt x="5246" y="2179"/>
                </a:lnTo>
                <a:lnTo>
                  <a:pt x="5243" y="2201"/>
                </a:lnTo>
                <a:lnTo>
                  <a:pt x="5240" y="2224"/>
                </a:lnTo>
                <a:lnTo>
                  <a:pt x="5247" y="2223"/>
                </a:lnTo>
                <a:lnTo>
                  <a:pt x="5252" y="2223"/>
                </a:lnTo>
                <a:lnTo>
                  <a:pt x="5257" y="2222"/>
                </a:lnTo>
                <a:lnTo>
                  <a:pt x="5260" y="2221"/>
                </a:lnTo>
                <a:lnTo>
                  <a:pt x="5262" y="2221"/>
                </a:lnTo>
                <a:lnTo>
                  <a:pt x="5263" y="2220"/>
                </a:lnTo>
                <a:lnTo>
                  <a:pt x="5264" y="2218"/>
                </a:lnTo>
                <a:lnTo>
                  <a:pt x="5265" y="2216"/>
                </a:lnTo>
                <a:lnTo>
                  <a:pt x="5266" y="2211"/>
                </a:lnTo>
                <a:lnTo>
                  <a:pt x="5266" y="2205"/>
                </a:lnTo>
                <a:lnTo>
                  <a:pt x="5260" y="2196"/>
                </a:lnTo>
                <a:lnTo>
                  <a:pt x="5261" y="2193"/>
                </a:lnTo>
                <a:lnTo>
                  <a:pt x="5261" y="2192"/>
                </a:lnTo>
                <a:lnTo>
                  <a:pt x="5262" y="2192"/>
                </a:lnTo>
                <a:lnTo>
                  <a:pt x="5263" y="2193"/>
                </a:lnTo>
                <a:lnTo>
                  <a:pt x="5265" y="2184"/>
                </a:lnTo>
                <a:lnTo>
                  <a:pt x="5266" y="2178"/>
                </a:lnTo>
                <a:lnTo>
                  <a:pt x="5268" y="2174"/>
                </a:lnTo>
                <a:lnTo>
                  <a:pt x="5270" y="2172"/>
                </a:lnTo>
                <a:lnTo>
                  <a:pt x="5271" y="2171"/>
                </a:lnTo>
                <a:lnTo>
                  <a:pt x="5272" y="2171"/>
                </a:lnTo>
                <a:lnTo>
                  <a:pt x="5274" y="2172"/>
                </a:lnTo>
                <a:lnTo>
                  <a:pt x="5276" y="2175"/>
                </a:lnTo>
                <a:lnTo>
                  <a:pt x="5277" y="2178"/>
                </a:lnTo>
                <a:lnTo>
                  <a:pt x="5280" y="2187"/>
                </a:lnTo>
                <a:lnTo>
                  <a:pt x="5283" y="2197"/>
                </a:lnTo>
                <a:lnTo>
                  <a:pt x="5284" y="2206"/>
                </a:lnTo>
                <a:lnTo>
                  <a:pt x="5285" y="2213"/>
                </a:lnTo>
                <a:lnTo>
                  <a:pt x="5288" y="2212"/>
                </a:lnTo>
                <a:lnTo>
                  <a:pt x="5291" y="2213"/>
                </a:lnTo>
                <a:lnTo>
                  <a:pt x="5294" y="2213"/>
                </a:lnTo>
                <a:lnTo>
                  <a:pt x="5295" y="2213"/>
                </a:lnTo>
                <a:lnTo>
                  <a:pt x="5297" y="2213"/>
                </a:lnTo>
                <a:lnTo>
                  <a:pt x="5297" y="2211"/>
                </a:lnTo>
                <a:lnTo>
                  <a:pt x="5297" y="2208"/>
                </a:lnTo>
                <a:lnTo>
                  <a:pt x="5297" y="2202"/>
                </a:lnTo>
                <a:lnTo>
                  <a:pt x="5305" y="2201"/>
                </a:lnTo>
                <a:lnTo>
                  <a:pt x="5308" y="2200"/>
                </a:lnTo>
                <a:lnTo>
                  <a:pt x="5311" y="2199"/>
                </a:lnTo>
                <a:lnTo>
                  <a:pt x="5312" y="2200"/>
                </a:lnTo>
                <a:lnTo>
                  <a:pt x="5313" y="2200"/>
                </a:lnTo>
                <a:lnTo>
                  <a:pt x="5313" y="2199"/>
                </a:lnTo>
                <a:lnTo>
                  <a:pt x="5313" y="2196"/>
                </a:lnTo>
                <a:lnTo>
                  <a:pt x="5310" y="2193"/>
                </a:lnTo>
                <a:lnTo>
                  <a:pt x="5306" y="2191"/>
                </a:lnTo>
                <a:lnTo>
                  <a:pt x="5302" y="2188"/>
                </a:lnTo>
                <a:lnTo>
                  <a:pt x="5300" y="2186"/>
                </a:lnTo>
                <a:lnTo>
                  <a:pt x="5299" y="2185"/>
                </a:lnTo>
                <a:lnTo>
                  <a:pt x="5299" y="2183"/>
                </a:lnTo>
                <a:lnTo>
                  <a:pt x="5299" y="2182"/>
                </a:lnTo>
                <a:lnTo>
                  <a:pt x="5301" y="2179"/>
                </a:lnTo>
                <a:lnTo>
                  <a:pt x="5303" y="2176"/>
                </a:lnTo>
                <a:lnTo>
                  <a:pt x="5303" y="2175"/>
                </a:lnTo>
                <a:lnTo>
                  <a:pt x="5302" y="2174"/>
                </a:lnTo>
                <a:lnTo>
                  <a:pt x="5300" y="2172"/>
                </a:lnTo>
                <a:lnTo>
                  <a:pt x="5296" y="2171"/>
                </a:lnTo>
                <a:lnTo>
                  <a:pt x="5293" y="2170"/>
                </a:lnTo>
                <a:lnTo>
                  <a:pt x="5292" y="2169"/>
                </a:lnTo>
                <a:lnTo>
                  <a:pt x="5291" y="2168"/>
                </a:lnTo>
                <a:lnTo>
                  <a:pt x="5290" y="2166"/>
                </a:lnTo>
                <a:lnTo>
                  <a:pt x="5290" y="2164"/>
                </a:lnTo>
                <a:lnTo>
                  <a:pt x="5289" y="2160"/>
                </a:lnTo>
                <a:lnTo>
                  <a:pt x="5289" y="2157"/>
                </a:lnTo>
                <a:lnTo>
                  <a:pt x="5288" y="2154"/>
                </a:lnTo>
                <a:lnTo>
                  <a:pt x="5277" y="2151"/>
                </a:lnTo>
                <a:lnTo>
                  <a:pt x="5277" y="2145"/>
                </a:lnTo>
                <a:lnTo>
                  <a:pt x="5280" y="2145"/>
                </a:lnTo>
                <a:lnTo>
                  <a:pt x="5284" y="2145"/>
                </a:lnTo>
                <a:lnTo>
                  <a:pt x="5287" y="2146"/>
                </a:lnTo>
                <a:lnTo>
                  <a:pt x="5291" y="2145"/>
                </a:lnTo>
                <a:lnTo>
                  <a:pt x="5293" y="2145"/>
                </a:lnTo>
                <a:lnTo>
                  <a:pt x="5295" y="2143"/>
                </a:lnTo>
                <a:lnTo>
                  <a:pt x="5298" y="2139"/>
                </a:lnTo>
                <a:lnTo>
                  <a:pt x="5301" y="2136"/>
                </a:lnTo>
                <a:lnTo>
                  <a:pt x="5303" y="2135"/>
                </a:lnTo>
                <a:lnTo>
                  <a:pt x="5305" y="2134"/>
                </a:lnTo>
                <a:lnTo>
                  <a:pt x="5305" y="2143"/>
                </a:lnTo>
                <a:lnTo>
                  <a:pt x="5311" y="2140"/>
                </a:lnTo>
                <a:lnTo>
                  <a:pt x="5314" y="2140"/>
                </a:lnTo>
                <a:lnTo>
                  <a:pt x="5316" y="2139"/>
                </a:lnTo>
                <a:lnTo>
                  <a:pt x="5319" y="2140"/>
                </a:lnTo>
                <a:lnTo>
                  <a:pt x="5310" y="2135"/>
                </a:lnTo>
                <a:lnTo>
                  <a:pt x="5308" y="2133"/>
                </a:lnTo>
                <a:lnTo>
                  <a:pt x="5307" y="2133"/>
                </a:lnTo>
                <a:lnTo>
                  <a:pt x="5307" y="2132"/>
                </a:lnTo>
                <a:lnTo>
                  <a:pt x="5308" y="2130"/>
                </a:lnTo>
                <a:lnTo>
                  <a:pt x="5310" y="2128"/>
                </a:lnTo>
                <a:lnTo>
                  <a:pt x="5316" y="2120"/>
                </a:lnTo>
                <a:lnTo>
                  <a:pt x="5306" y="2120"/>
                </a:lnTo>
                <a:lnTo>
                  <a:pt x="5299" y="2119"/>
                </a:lnTo>
                <a:lnTo>
                  <a:pt x="5295" y="2119"/>
                </a:lnTo>
                <a:lnTo>
                  <a:pt x="5291" y="2119"/>
                </a:lnTo>
                <a:lnTo>
                  <a:pt x="5287" y="2119"/>
                </a:lnTo>
                <a:lnTo>
                  <a:pt x="5282" y="2120"/>
                </a:lnTo>
                <a:lnTo>
                  <a:pt x="5281" y="2121"/>
                </a:lnTo>
                <a:lnTo>
                  <a:pt x="5281" y="2122"/>
                </a:lnTo>
                <a:lnTo>
                  <a:pt x="5279" y="2124"/>
                </a:lnTo>
                <a:lnTo>
                  <a:pt x="5278" y="2125"/>
                </a:lnTo>
                <a:lnTo>
                  <a:pt x="5276" y="2126"/>
                </a:lnTo>
                <a:lnTo>
                  <a:pt x="5274" y="2126"/>
                </a:lnTo>
                <a:lnTo>
                  <a:pt x="5271" y="2126"/>
                </a:lnTo>
                <a:lnTo>
                  <a:pt x="5271" y="2120"/>
                </a:lnTo>
                <a:lnTo>
                  <a:pt x="5263" y="2120"/>
                </a:lnTo>
                <a:lnTo>
                  <a:pt x="5264" y="2106"/>
                </a:lnTo>
                <a:lnTo>
                  <a:pt x="5266" y="2095"/>
                </a:lnTo>
                <a:lnTo>
                  <a:pt x="5274" y="2095"/>
                </a:lnTo>
                <a:lnTo>
                  <a:pt x="5284" y="2096"/>
                </a:lnTo>
                <a:lnTo>
                  <a:pt x="5303" y="2098"/>
                </a:lnTo>
                <a:lnTo>
                  <a:pt x="5313" y="2099"/>
                </a:lnTo>
                <a:lnTo>
                  <a:pt x="5321" y="2098"/>
                </a:lnTo>
                <a:lnTo>
                  <a:pt x="5325" y="2098"/>
                </a:lnTo>
                <a:lnTo>
                  <a:pt x="5329" y="2097"/>
                </a:lnTo>
                <a:lnTo>
                  <a:pt x="5333" y="2096"/>
                </a:lnTo>
                <a:lnTo>
                  <a:pt x="5336" y="2095"/>
                </a:lnTo>
                <a:lnTo>
                  <a:pt x="5336" y="2092"/>
                </a:lnTo>
                <a:lnTo>
                  <a:pt x="5340" y="2087"/>
                </a:lnTo>
                <a:lnTo>
                  <a:pt x="5346" y="2077"/>
                </a:lnTo>
                <a:lnTo>
                  <a:pt x="5348" y="2072"/>
                </a:lnTo>
                <a:lnTo>
                  <a:pt x="5349" y="2070"/>
                </a:lnTo>
                <a:lnTo>
                  <a:pt x="5349" y="2068"/>
                </a:lnTo>
                <a:lnTo>
                  <a:pt x="5348" y="2067"/>
                </a:lnTo>
                <a:lnTo>
                  <a:pt x="5347" y="2066"/>
                </a:lnTo>
                <a:lnTo>
                  <a:pt x="5344" y="2066"/>
                </a:lnTo>
                <a:lnTo>
                  <a:pt x="5342" y="2067"/>
                </a:lnTo>
                <a:close/>
                <a:moveTo>
                  <a:pt x="4804" y="1965"/>
                </a:moveTo>
                <a:lnTo>
                  <a:pt x="4804" y="1968"/>
                </a:lnTo>
                <a:lnTo>
                  <a:pt x="4803" y="1971"/>
                </a:lnTo>
                <a:lnTo>
                  <a:pt x="4802" y="1973"/>
                </a:lnTo>
                <a:lnTo>
                  <a:pt x="4801" y="1975"/>
                </a:lnTo>
                <a:lnTo>
                  <a:pt x="4802" y="1979"/>
                </a:lnTo>
                <a:lnTo>
                  <a:pt x="4802" y="1982"/>
                </a:lnTo>
                <a:lnTo>
                  <a:pt x="4803" y="1985"/>
                </a:lnTo>
                <a:lnTo>
                  <a:pt x="4807" y="1990"/>
                </a:lnTo>
                <a:lnTo>
                  <a:pt x="4811" y="1995"/>
                </a:lnTo>
                <a:lnTo>
                  <a:pt x="4816" y="2000"/>
                </a:lnTo>
                <a:lnTo>
                  <a:pt x="4827" y="2008"/>
                </a:lnTo>
                <a:lnTo>
                  <a:pt x="4831" y="2012"/>
                </a:lnTo>
                <a:lnTo>
                  <a:pt x="4835" y="2016"/>
                </a:lnTo>
                <a:lnTo>
                  <a:pt x="4838" y="2020"/>
                </a:lnTo>
                <a:lnTo>
                  <a:pt x="4840" y="2023"/>
                </a:lnTo>
                <a:lnTo>
                  <a:pt x="4844" y="2031"/>
                </a:lnTo>
                <a:lnTo>
                  <a:pt x="4847" y="2039"/>
                </a:lnTo>
                <a:lnTo>
                  <a:pt x="4849" y="2043"/>
                </a:lnTo>
                <a:lnTo>
                  <a:pt x="4852" y="2047"/>
                </a:lnTo>
                <a:lnTo>
                  <a:pt x="4854" y="2048"/>
                </a:lnTo>
                <a:lnTo>
                  <a:pt x="4856" y="2050"/>
                </a:lnTo>
                <a:lnTo>
                  <a:pt x="4862" y="2053"/>
                </a:lnTo>
                <a:lnTo>
                  <a:pt x="4868" y="2056"/>
                </a:lnTo>
                <a:lnTo>
                  <a:pt x="4871" y="2057"/>
                </a:lnTo>
                <a:lnTo>
                  <a:pt x="4872" y="2058"/>
                </a:lnTo>
                <a:lnTo>
                  <a:pt x="4873" y="2062"/>
                </a:lnTo>
                <a:lnTo>
                  <a:pt x="4874" y="2066"/>
                </a:lnTo>
                <a:lnTo>
                  <a:pt x="4874" y="2075"/>
                </a:lnTo>
                <a:lnTo>
                  <a:pt x="4875" y="2084"/>
                </a:lnTo>
                <a:lnTo>
                  <a:pt x="4876" y="2088"/>
                </a:lnTo>
                <a:lnTo>
                  <a:pt x="4877" y="2092"/>
                </a:lnTo>
                <a:lnTo>
                  <a:pt x="4879" y="2095"/>
                </a:lnTo>
                <a:lnTo>
                  <a:pt x="4882" y="2098"/>
                </a:lnTo>
                <a:lnTo>
                  <a:pt x="4888" y="2103"/>
                </a:lnTo>
                <a:lnTo>
                  <a:pt x="4895" y="2109"/>
                </a:lnTo>
                <a:lnTo>
                  <a:pt x="4898" y="2112"/>
                </a:lnTo>
                <a:lnTo>
                  <a:pt x="4900" y="2115"/>
                </a:lnTo>
                <a:lnTo>
                  <a:pt x="4903" y="2120"/>
                </a:lnTo>
                <a:lnTo>
                  <a:pt x="4906" y="2126"/>
                </a:lnTo>
                <a:lnTo>
                  <a:pt x="4910" y="2138"/>
                </a:lnTo>
                <a:lnTo>
                  <a:pt x="4914" y="2150"/>
                </a:lnTo>
                <a:lnTo>
                  <a:pt x="4917" y="2156"/>
                </a:lnTo>
                <a:lnTo>
                  <a:pt x="4920" y="2162"/>
                </a:lnTo>
                <a:lnTo>
                  <a:pt x="4922" y="2165"/>
                </a:lnTo>
                <a:lnTo>
                  <a:pt x="4925" y="2168"/>
                </a:lnTo>
                <a:lnTo>
                  <a:pt x="4929" y="2171"/>
                </a:lnTo>
                <a:lnTo>
                  <a:pt x="4931" y="2174"/>
                </a:lnTo>
                <a:lnTo>
                  <a:pt x="4933" y="2178"/>
                </a:lnTo>
                <a:lnTo>
                  <a:pt x="4934" y="2183"/>
                </a:lnTo>
                <a:lnTo>
                  <a:pt x="4936" y="2192"/>
                </a:lnTo>
                <a:lnTo>
                  <a:pt x="4938" y="2197"/>
                </a:lnTo>
                <a:lnTo>
                  <a:pt x="4939" y="2201"/>
                </a:lnTo>
                <a:lnTo>
                  <a:pt x="4942" y="2204"/>
                </a:lnTo>
                <a:lnTo>
                  <a:pt x="4945" y="2207"/>
                </a:lnTo>
                <a:lnTo>
                  <a:pt x="4947" y="2208"/>
                </a:lnTo>
                <a:lnTo>
                  <a:pt x="4949" y="2209"/>
                </a:lnTo>
                <a:lnTo>
                  <a:pt x="4953" y="2210"/>
                </a:lnTo>
                <a:lnTo>
                  <a:pt x="4958" y="2211"/>
                </a:lnTo>
                <a:lnTo>
                  <a:pt x="4960" y="2212"/>
                </a:lnTo>
                <a:lnTo>
                  <a:pt x="4962" y="2213"/>
                </a:lnTo>
                <a:lnTo>
                  <a:pt x="4962" y="2219"/>
                </a:lnTo>
                <a:lnTo>
                  <a:pt x="4970" y="2224"/>
                </a:lnTo>
                <a:lnTo>
                  <a:pt x="4975" y="2226"/>
                </a:lnTo>
                <a:lnTo>
                  <a:pt x="4977" y="2227"/>
                </a:lnTo>
                <a:lnTo>
                  <a:pt x="4979" y="2227"/>
                </a:lnTo>
                <a:lnTo>
                  <a:pt x="4978" y="2226"/>
                </a:lnTo>
                <a:lnTo>
                  <a:pt x="4977" y="2224"/>
                </a:lnTo>
                <a:lnTo>
                  <a:pt x="4977" y="2222"/>
                </a:lnTo>
                <a:lnTo>
                  <a:pt x="4978" y="2221"/>
                </a:lnTo>
                <a:lnTo>
                  <a:pt x="4979" y="2220"/>
                </a:lnTo>
                <a:lnTo>
                  <a:pt x="4982" y="2219"/>
                </a:lnTo>
                <a:lnTo>
                  <a:pt x="4988" y="2220"/>
                </a:lnTo>
                <a:lnTo>
                  <a:pt x="4994" y="2221"/>
                </a:lnTo>
                <a:lnTo>
                  <a:pt x="4998" y="2221"/>
                </a:lnTo>
                <a:lnTo>
                  <a:pt x="4998" y="2213"/>
                </a:lnTo>
                <a:lnTo>
                  <a:pt x="4998" y="2206"/>
                </a:lnTo>
                <a:lnTo>
                  <a:pt x="4998" y="2203"/>
                </a:lnTo>
                <a:lnTo>
                  <a:pt x="4997" y="2200"/>
                </a:lnTo>
                <a:lnTo>
                  <a:pt x="4995" y="2198"/>
                </a:lnTo>
                <a:lnTo>
                  <a:pt x="4993" y="2196"/>
                </a:lnTo>
                <a:lnTo>
                  <a:pt x="4993" y="2193"/>
                </a:lnTo>
                <a:lnTo>
                  <a:pt x="5001" y="2190"/>
                </a:lnTo>
                <a:lnTo>
                  <a:pt x="5003" y="2181"/>
                </a:lnTo>
                <a:lnTo>
                  <a:pt x="5004" y="2174"/>
                </a:lnTo>
                <a:lnTo>
                  <a:pt x="5000" y="2170"/>
                </a:lnTo>
                <a:lnTo>
                  <a:pt x="4997" y="2167"/>
                </a:lnTo>
                <a:lnTo>
                  <a:pt x="4996" y="2165"/>
                </a:lnTo>
                <a:lnTo>
                  <a:pt x="4995" y="2162"/>
                </a:lnTo>
                <a:lnTo>
                  <a:pt x="4996" y="2159"/>
                </a:lnTo>
                <a:lnTo>
                  <a:pt x="4996" y="2156"/>
                </a:lnTo>
                <a:lnTo>
                  <a:pt x="4996" y="2154"/>
                </a:lnTo>
                <a:lnTo>
                  <a:pt x="4987" y="2155"/>
                </a:lnTo>
                <a:lnTo>
                  <a:pt x="4982" y="2155"/>
                </a:lnTo>
                <a:lnTo>
                  <a:pt x="4980" y="2154"/>
                </a:lnTo>
                <a:lnTo>
                  <a:pt x="4979" y="2154"/>
                </a:lnTo>
                <a:lnTo>
                  <a:pt x="4978" y="2153"/>
                </a:lnTo>
                <a:lnTo>
                  <a:pt x="4977" y="2152"/>
                </a:lnTo>
                <a:lnTo>
                  <a:pt x="4976" y="2148"/>
                </a:lnTo>
                <a:lnTo>
                  <a:pt x="4975" y="2144"/>
                </a:lnTo>
                <a:lnTo>
                  <a:pt x="4975" y="2140"/>
                </a:lnTo>
                <a:lnTo>
                  <a:pt x="4975" y="2132"/>
                </a:lnTo>
                <a:lnTo>
                  <a:pt x="4976" y="2126"/>
                </a:lnTo>
                <a:lnTo>
                  <a:pt x="4965" y="2124"/>
                </a:lnTo>
                <a:lnTo>
                  <a:pt x="4956" y="2123"/>
                </a:lnTo>
                <a:lnTo>
                  <a:pt x="4959" y="2109"/>
                </a:lnTo>
                <a:lnTo>
                  <a:pt x="4958" y="2110"/>
                </a:lnTo>
                <a:lnTo>
                  <a:pt x="4958" y="2111"/>
                </a:lnTo>
                <a:lnTo>
                  <a:pt x="4958" y="2112"/>
                </a:lnTo>
                <a:lnTo>
                  <a:pt x="4959" y="2113"/>
                </a:lnTo>
                <a:lnTo>
                  <a:pt x="4962" y="2115"/>
                </a:lnTo>
                <a:lnTo>
                  <a:pt x="4962" y="2109"/>
                </a:lnTo>
                <a:lnTo>
                  <a:pt x="4962" y="2105"/>
                </a:lnTo>
                <a:lnTo>
                  <a:pt x="4961" y="2100"/>
                </a:lnTo>
                <a:lnTo>
                  <a:pt x="4959" y="2095"/>
                </a:lnTo>
                <a:lnTo>
                  <a:pt x="4957" y="2093"/>
                </a:lnTo>
                <a:lnTo>
                  <a:pt x="4955" y="2092"/>
                </a:lnTo>
                <a:lnTo>
                  <a:pt x="4952" y="2091"/>
                </a:lnTo>
                <a:lnTo>
                  <a:pt x="4951" y="2089"/>
                </a:lnTo>
                <a:lnTo>
                  <a:pt x="4951" y="2084"/>
                </a:lnTo>
                <a:lnTo>
                  <a:pt x="4945" y="2084"/>
                </a:lnTo>
                <a:lnTo>
                  <a:pt x="4945" y="2082"/>
                </a:lnTo>
                <a:lnTo>
                  <a:pt x="4945" y="2081"/>
                </a:lnTo>
                <a:lnTo>
                  <a:pt x="4947" y="2079"/>
                </a:lnTo>
                <a:lnTo>
                  <a:pt x="4948" y="2076"/>
                </a:lnTo>
                <a:lnTo>
                  <a:pt x="4948" y="2075"/>
                </a:lnTo>
                <a:lnTo>
                  <a:pt x="4948" y="2072"/>
                </a:lnTo>
                <a:lnTo>
                  <a:pt x="4941" y="2078"/>
                </a:lnTo>
                <a:lnTo>
                  <a:pt x="4937" y="2081"/>
                </a:lnTo>
                <a:lnTo>
                  <a:pt x="4934" y="2084"/>
                </a:lnTo>
                <a:lnTo>
                  <a:pt x="4933" y="2080"/>
                </a:lnTo>
                <a:lnTo>
                  <a:pt x="4933" y="2075"/>
                </a:lnTo>
                <a:lnTo>
                  <a:pt x="4932" y="2071"/>
                </a:lnTo>
                <a:lnTo>
                  <a:pt x="4931" y="2067"/>
                </a:lnTo>
                <a:lnTo>
                  <a:pt x="4930" y="2066"/>
                </a:lnTo>
                <a:lnTo>
                  <a:pt x="4929" y="2065"/>
                </a:lnTo>
                <a:lnTo>
                  <a:pt x="4925" y="2064"/>
                </a:lnTo>
                <a:lnTo>
                  <a:pt x="4922" y="2063"/>
                </a:lnTo>
                <a:lnTo>
                  <a:pt x="4920" y="2061"/>
                </a:lnTo>
                <a:lnTo>
                  <a:pt x="4918" y="2058"/>
                </a:lnTo>
                <a:lnTo>
                  <a:pt x="4917" y="2054"/>
                </a:lnTo>
                <a:lnTo>
                  <a:pt x="4916" y="2050"/>
                </a:lnTo>
                <a:lnTo>
                  <a:pt x="4915" y="2048"/>
                </a:lnTo>
                <a:lnTo>
                  <a:pt x="4914" y="2047"/>
                </a:lnTo>
                <a:lnTo>
                  <a:pt x="4913" y="2046"/>
                </a:lnTo>
                <a:lnTo>
                  <a:pt x="4912" y="2046"/>
                </a:lnTo>
                <a:lnTo>
                  <a:pt x="4911" y="2047"/>
                </a:lnTo>
                <a:lnTo>
                  <a:pt x="4911" y="2048"/>
                </a:lnTo>
                <a:lnTo>
                  <a:pt x="4911" y="2053"/>
                </a:lnTo>
                <a:lnTo>
                  <a:pt x="4905" y="2049"/>
                </a:lnTo>
                <a:lnTo>
                  <a:pt x="4902" y="2046"/>
                </a:lnTo>
                <a:lnTo>
                  <a:pt x="4900" y="2044"/>
                </a:lnTo>
                <a:lnTo>
                  <a:pt x="4899" y="2043"/>
                </a:lnTo>
                <a:lnTo>
                  <a:pt x="4899" y="2041"/>
                </a:lnTo>
                <a:lnTo>
                  <a:pt x="4900" y="2037"/>
                </a:lnTo>
                <a:lnTo>
                  <a:pt x="4900" y="2034"/>
                </a:lnTo>
                <a:lnTo>
                  <a:pt x="4900" y="2032"/>
                </a:lnTo>
                <a:lnTo>
                  <a:pt x="4900" y="2030"/>
                </a:lnTo>
                <a:lnTo>
                  <a:pt x="4899" y="2030"/>
                </a:lnTo>
                <a:lnTo>
                  <a:pt x="4896" y="2030"/>
                </a:lnTo>
                <a:lnTo>
                  <a:pt x="4892" y="2030"/>
                </a:lnTo>
                <a:lnTo>
                  <a:pt x="4891" y="2026"/>
                </a:lnTo>
                <a:lnTo>
                  <a:pt x="4892" y="2022"/>
                </a:lnTo>
                <a:lnTo>
                  <a:pt x="4884" y="2019"/>
                </a:lnTo>
                <a:lnTo>
                  <a:pt x="4880" y="2018"/>
                </a:lnTo>
                <a:lnTo>
                  <a:pt x="4877" y="2016"/>
                </a:lnTo>
                <a:lnTo>
                  <a:pt x="4877" y="2015"/>
                </a:lnTo>
                <a:lnTo>
                  <a:pt x="4876" y="2014"/>
                </a:lnTo>
                <a:lnTo>
                  <a:pt x="4876" y="2010"/>
                </a:lnTo>
                <a:lnTo>
                  <a:pt x="4876" y="2007"/>
                </a:lnTo>
                <a:lnTo>
                  <a:pt x="4875" y="2005"/>
                </a:lnTo>
                <a:lnTo>
                  <a:pt x="4866" y="1999"/>
                </a:lnTo>
                <a:lnTo>
                  <a:pt x="4858" y="1994"/>
                </a:lnTo>
                <a:lnTo>
                  <a:pt x="4856" y="1990"/>
                </a:lnTo>
                <a:lnTo>
                  <a:pt x="4855" y="1985"/>
                </a:lnTo>
                <a:lnTo>
                  <a:pt x="4854" y="1980"/>
                </a:lnTo>
                <a:lnTo>
                  <a:pt x="4853" y="1978"/>
                </a:lnTo>
                <a:lnTo>
                  <a:pt x="4852" y="1977"/>
                </a:lnTo>
                <a:lnTo>
                  <a:pt x="4849" y="1975"/>
                </a:lnTo>
                <a:lnTo>
                  <a:pt x="4845" y="1975"/>
                </a:lnTo>
                <a:lnTo>
                  <a:pt x="4838" y="1974"/>
                </a:lnTo>
                <a:lnTo>
                  <a:pt x="4829" y="1975"/>
                </a:lnTo>
                <a:lnTo>
                  <a:pt x="4825" y="1975"/>
                </a:lnTo>
                <a:lnTo>
                  <a:pt x="4821" y="1974"/>
                </a:lnTo>
                <a:lnTo>
                  <a:pt x="4820" y="1972"/>
                </a:lnTo>
                <a:lnTo>
                  <a:pt x="4818" y="1970"/>
                </a:lnTo>
                <a:lnTo>
                  <a:pt x="4817" y="1967"/>
                </a:lnTo>
                <a:lnTo>
                  <a:pt x="4816" y="1965"/>
                </a:lnTo>
                <a:lnTo>
                  <a:pt x="4813" y="1965"/>
                </a:lnTo>
                <a:lnTo>
                  <a:pt x="4810" y="1965"/>
                </a:lnTo>
                <a:lnTo>
                  <a:pt x="4807" y="1966"/>
                </a:lnTo>
                <a:lnTo>
                  <a:pt x="4806" y="1966"/>
                </a:lnTo>
                <a:lnTo>
                  <a:pt x="4804" y="1965"/>
                </a:lnTo>
                <a:close/>
                <a:moveTo>
                  <a:pt x="5356" y="1892"/>
                </a:moveTo>
                <a:lnTo>
                  <a:pt x="5355" y="1895"/>
                </a:lnTo>
                <a:lnTo>
                  <a:pt x="5355" y="1899"/>
                </a:lnTo>
                <a:lnTo>
                  <a:pt x="5356" y="1906"/>
                </a:lnTo>
                <a:lnTo>
                  <a:pt x="5353" y="1907"/>
                </a:lnTo>
                <a:lnTo>
                  <a:pt x="5350" y="1906"/>
                </a:lnTo>
                <a:lnTo>
                  <a:pt x="5347" y="1906"/>
                </a:lnTo>
                <a:lnTo>
                  <a:pt x="5346" y="1906"/>
                </a:lnTo>
                <a:lnTo>
                  <a:pt x="5344" y="1906"/>
                </a:lnTo>
                <a:lnTo>
                  <a:pt x="5344" y="1915"/>
                </a:lnTo>
                <a:lnTo>
                  <a:pt x="5339" y="1915"/>
                </a:lnTo>
                <a:lnTo>
                  <a:pt x="5335" y="1915"/>
                </a:lnTo>
                <a:lnTo>
                  <a:pt x="5331" y="1916"/>
                </a:lnTo>
                <a:lnTo>
                  <a:pt x="5325" y="1918"/>
                </a:lnTo>
                <a:lnTo>
                  <a:pt x="5323" y="1918"/>
                </a:lnTo>
                <a:lnTo>
                  <a:pt x="5323" y="1919"/>
                </a:lnTo>
                <a:lnTo>
                  <a:pt x="5325" y="1920"/>
                </a:lnTo>
                <a:lnTo>
                  <a:pt x="5325" y="1921"/>
                </a:lnTo>
                <a:lnTo>
                  <a:pt x="5322" y="1920"/>
                </a:lnTo>
                <a:lnTo>
                  <a:pt x="5322" y="1919"/>
                </a:lnTo>
                <a:lnTo>
                  <a:pt x="5322" y="1917"/>
                </a:lnTo>
                <a:lnTo>
                  <a:pt x="5321" y="1915"/>
                </a:lnTo>
                <a:lnTo>
                  <a:pt x="5320" y="1913"/>
                </a:lnTo>
                <a:lnTo>
                  <a:pt x="5318" y="1912"/>
                </a:lnTo>
                <a:lnTo>
                  <a:pt x="5315" y="1911"/>
                </a:lnTo>
                <a:lnTo>
                  <a:pt x="5313" y="1912"/>
                </a:lnTo>
                <a:lnTo>
                  <a:pt x="5311" y="1912"/>
                </a:lnTo>
                <a:lnTo>
                  <a:pt x="5310" y="1912"/>
                </a:lnTo>
                <a:lnTo>
                  <a:pt x="5309" y="1913"/>
                </a:lnTo>
                <a:lnTo>
                  <a:pt x="5308" y="1915"/>
                </a:lnTo>
                <a:lnTo>
                  <a:pt x="5305" y="1918"/>
                </a:lnTo>
                <a:lnTo>
                  <a:pt x="5303" y="1919"/>
                </a:lnTo>
                <a:lnTo>
                  <a:pt x="5299" y="1920"/>
                </a:lnTo>
                <a:lnTo>
                  <a:pt x="5294" y="1923"/>
                </a:lnTo>
                <a:lnTo>
                  <a:pt x="5293" y="1926"/>
                </a:lnTo>
                <a:lnTo>
                  <a:pt x="5293" y="1930"/>
                </a:lnTo>
                <a:lnTo>
                  <a:pt x="5294" y="1937"/>
                </a:lnTo>
                <a:lnTo>
                  <a:pt x="5291" y="1938"/>
                </a:lnTo>
                <a:lnTo>
                  <a:pt x="5289" y="1939"/>
                </a:lnTo>
                <a:lnTo>
                  <a:pt x="5289" y="1940"/>
                </a:lnTo>
                <a:lnTo>
                  <a:pt x="5289" y="1942"/>
                </a:lnTo>
                <a:lnTo>
                  <a:pt x="5290" y="1944"/>
                </a:lnTo>
                <a:lnTo>
                  <a:pt x="5291" y="1945"/>
                </a:lnTo>
                <a:lnTo>
                  <a:pt x="5292" y="1946"/>
                </a:lnTo>
                <a:lnTo>
                  <a:pt x="5294" y="1946"/>
                </a:lnTo>
                <a:lnTo>
                  <a:pt x="5302" y="1934"/>
                </a:lnTo>
                <a:lnTo>
                  <a:pt x="5301" y="1934"/>
                </a:lnTo>
                <a:lnTo>
                  <a:pt x="5301" y="1933"/>
                </a:lnTo>
                <a:lnTo>
                  <a:pt x="5302" y="1933"/>
                </a:lnTo>
                <a:lnTo>
                  <a:pt x="5304" y="1933"/>
                </a:lnTo>
                <a:lnTo>
                  <a:pt x="5306" y="1933"/>
                </a:lnTo>
                <a:lnTo>
                  <a:pt x="5307" y="1934"/>
                </a:lnTo>
                <a:lnTo>
                  <a:pt x="5307" y="1935"/>
                </a:lnTo>
                <a:lnTo>
                  <a:pt x="5306" y="1936"/>
                </a:lnTo>
                <a:lnTo>
                  <a:pt x="5305" y="1937"/>
                </a:lnTo>
                <a:lnTo>
                  <a:pt x="5313" y="1937"/>
                </a:lnTo>
                <a:lnTo>
                  <a:pt x="5319" y="1937"/>
                </a:lnTo>
                <a:lnTo>
                  <a:pt x="5324" y="1937"/>
                </a:lnTo>
                <a:lnTo>
                  <a:pt x="5330" y="1937"/>
                </a:lnTo>
                <a:lnTo>
                  <a:pt x="5330" y="1943"/>
                </a:lnTo>
                <a:lnTo>
                  <a:pt x="5325" y="1946"/>
                </a:lnTo>
                <a:lnTo>
                  <a:pt x="5326" y="1950"/>
                </a:lnTo>
                <a:lnTo>
                  <a:pt x="5327" y="1953"/>
                </a:lnTo>
                <a:lnTo>
                  <a:pt x="5327" y="1958"/>
                </a:lnTo>
                <a:lnTo>
                  <a:pt x="5328" y="1959"/>
                </a:lnTo>
                <a:lnTo>
                  <a:pt x="5329" y="1961"/>
                </a:lnTo>
                <a:lnTo>
                  <a:pt x="5330" y="1963"/>
                </a:lnTo>
                <a:lnTo>
                  <a:pt x="5333" y="1965"/>
                </a:lnTo>
                <a:lnTo>
                  <a:pt x="5337" y="1968"/>
                </a:lnTo>
                <a:lnTo>
                  <a:pt x="5340" y="1969"/>
                </a:lnTo>
                <a:lnTo>
                  <a:pt x="5350" y="1971"/>
                </a:lnTo>
                <a:lnTo>
                  <a:pt x="5350" y="1979"/>
                </a:lnTo>
                <a:lnTo>
                  <a:pt x="5354" y="1976"/>
                </a:lnTo>
                <a:lnTo>
                  <a:pt x="5355" y="1975"/>
                </a:lnTo>
                <a:lnTo>
                  <a:pt x="5356" y="1975"/>
                </a:lnTo>
                <a:lnTo>
                  <a:pt x="5358" y="1974"/>
                </a:lnTo>
                <a:lnTo>
                  <a:pt x="5357" y="1964"/>
                </a:lnTo>
                <a:lnTo>
                  <a:pt x="5356" y="1954"/>
                </a:lnTo>
                <a:lnTo>
                  <a:pt x="5359" y="1956"/>
                </a:lnTo>
                <a:lnTo>
                  <a:pt x="5361" y="1957"/>
                </a:lnTo>
                <a:lnTo>
                  <a:pt x="5363" y="1958"/>
                </a:lnTo>
                <a:lnTo>
                  <a:pt x="5364" y="1958"/>
                </a:lnTo>
                <a:lnTo>
                  <a:pt x="5364" y="1957"/>
                </a:lnTo>
                <a:lnTo>
                  <a:pt x="5363" y="1956"/>
                </a:lnTo>
                <a:lnTo>
                  <a:pt x="5362" y="1954"/>
                </a:lnTo>
                <a:lnTo>
                  <a:pt x="5359" y="1948"/>
                </a:lnTo>
                <a:lnTo>
                  <a:pt x="5359" y="1945"/>
                </a:lnTo>
                <a:lnTo>
                  <a:pt x="5358" y="1943"/>
                </a:lnTo>
                <a:lnTo>
                  <a:pt x="5364" y="1943"/>
                </a:lnTo>
                <a:lnTo>
                  <a:pt x="5367" y="1937"/>
                </a:lnTo>
                <a:lnTo>
                  <a:pt x="5370" y="1932"/>
                </a:lnTo>
                <a:lnTo>
                  <a:pt x="5371" y="1930"/>
                </a:lnTo>
                <a:lnTo>
                  <a:pt x="5373" y="1928"/>
                </a:lnTo>
                <a:lnTo>
                  <a:pt x="5375" y="1926"/>
                </a:lnTo>
                <a:lnTo>
                  <a:pt x="5376" y="1923"/>
                </a:lnTo>
                <a:lnTo>
                  <a:pt x="5377" y="1921"/>
                </a:lnTo>
                <a:lnTo>
                  <a:pt x="5377" y="1919"/>
                </a:lnTo>
                <a:lnTo>
                  <a:pt x="5375" y="1918"/>
                </a:lnTo>
                <a:lnTo>
                  <a:pt x="5374" y="1917"/>
                </a:lnTo>
                <a:lnTo>
                  <a:pt x="5373" y="1916"/>
                </a:lnTo>
                <a:lnTo>
                  <a:pt x="5371" y="1913"/>
                </a:lnTo>
                <a:lnTo>
                  <a:pt x="5369" y="1910"/>
                </a:lnTo>
                <a:lnTo>
                  <a:pt x="5368" y="1906"/>
                </a:lnTo>
                <a:lnTo>
                  <a:pt x="5367" y="1898"/>
                </a:lnTo>
                <a:lnTo>
                  <a:pt x="5367" y="1892"/>
                </a:lnTo>
                <a:lnTo>
                  <a:pt x="5361" y="1893"/>
                </a:lnTo>
                <a:lnTo>
                  <a:pt x="5358" y="1893"/>
                </a:lnTo>
                <a:lnTo>
                  <a:pt x="5356" y="1892"/>
                </a:lnTo>
                <a:close/>
                <a:moveTo>
                  <a:pt x="5246" y="1847"/>
                </a:moveTo>
                <a:lnTo>
                  <a:pt x="5245" y="1851"/>
                </a:lnTo>
                <a:lnTo>
                  <a:pt x="5246" y="1854"/>
                </a:lnTo>
                <a:lnTo>
                  <a:pt x="5246" y="1856"/>
                </a:lnTo>
                <a:lnTo>
                  <a:pt x="5246" y="1858"/>
                </a:lnTo>
                <a:lnTo>
                  <a:pt x="5240" y="1858"/>
                </a:lnTo>
                <a:lnTo>
                  <a:pt x="5237" y="1868"/>
                </a:lnTo>
                <a:lnTo>
                  <a:pt x="5233" y="1878"/>
                </a:lnTo>
                <a:lnTo>
                  <a:pt x="5231" y="1883"/>
                </a:lnTo>
                <a:lnTo>
                  <a:pt x="5228" y="1888"/>
                </a:lnTo>
                <a:lnTo>
                  <a:pt x="5226" y="1892"/>
                </a:lnTo>
                <a:lnTo>
                  <a:pt x="5223" y="1895"/>
                </a:lnTo>
                <a:lnTo>
                  <a:pt x="5222" y="1896"/>
                </a:lnTo>
                <a:lnTo>
                  <a:pt x="5219" y="1897"/>
                </a:lnTo>
                <a:lnTo>
                  <a:pt x="5215" y="1899"/>
                </a:lnTo>
                <a:lnTo>
                  <a:pt x="5210" y="1901"/>
                </a:lnTo>
                <a:lnTo>
                  <a:pt x="5208" y="1902"/>
                </a:lnTo>
                <a:lnTo>
                  <a:pt x="5207" y="1903"/>
                </a:lnTo>
                <a:lnTo>
                  <a:pt x="5204" y="1908"/>
                </a:lnTo>
                <a:lnTo>
                  <a:pt x="5203" y="1911"/>
                </a:lnTo>
                <a:lnTo>
                  <a:pt x="5204" y="1912"/>
                </a:lnTo>
                <a:lnTo>
                  <a:pt x="5205" y="1912"/>
                </a:lnTo>
                <a:lnTo>
                  <a:pt x="5207" y="1912"/>
                </a:lnTo>
                <a:lnTo>
                  <a:pt x="5218" y="1907"/>
                </a:lnTo>
                <a:lnTo>
                  <a:pt x="5224" y="1904"/>
                </a:lnTo>
                <a:lnTo>
                  <a:pt x="5227" y="1902"/>
                </a:lnTo>
                <a:lnTo>
                  <a:pt x="5229" y="1901"/>
                </a:lnTo>
                <a:lnTo>
                  <a:pt x="5230" y="1899"/>
                </a:lnTo>
                <a:lnTo>
                  <a:pt x="5231" y="1897"/>
                </a:lnTo>
                <a:lnTo>
                  <a:pt x="5232" y="1893"/>
                </a:lnTo>
                <a:lnTo>
                  <a:pt x="5233" y="1888"/>
                </a:lnTo>
                <a:lnTo>
                  <a:pt x="5234" y="1886"/>
                </a:lnTo>
                <a:lnTo>
                  <a:pt x="5235" y="1884"/>
                </a:lnTo>
                <a:lnTo>
                  <a:pt x="5236" y="1882"/>
                </a:lnTo>
                <a:lnTo>
                  <a:pt x="5238" y="1880"/>
                </a:lnTo>
                <a:lnTo>
                  <a:pt x="5244" y="1876"/>
                </a:lnTo>
                <a:lnTo>
                  <a:pt x="5249" y="1872"/>
                </a:lnTo>
                <a:lnTo>
                  <a:pt x="5251" y="1869"/>
                </a:lnTo>
                <a:lnTo>
                  <a:pt x="5252" y="1867"/>
                </a:lnTo>
                <a:lnTo>
                  <a:pt x="5251" y="1863"/>
                </a:lnTo>
                <a:lnTo>
                  <a:pt x="5249" y="1857"/>
                </a:lnTo>
                <a:lnTo>
                  <a:pt x="5247" y="1851"/>
                </a:lnTo>
                <a:lnTo>
                  <a:pt x="5246" y="1847"/>
                </a:lnTo>
                <a:close/>
                <a:moveTo>
                  <a:pt x="5271" y="1678"/>
                </a:moveTo>
                <a:lnTo>
                  <a:pt x="5269" y="1690"/>
                </a:lnTo>
                <a:lnTo>
                  <a:pt x="5269" y="1695"/>
                </a:lnTo>
                <a:lnTo>
                  <a:pt x="5269" y="1700"/>
                </a:lnTo>
                <a:lnTo>
                  <a:pt x="5269" y="1710"/>
                </a:lnTo>
                <a:lnTo>
                  <a:pt x="5268" y="1721"/>
                </a:lnTo>
                <a:lnTo>
                  <a:pt x="5263" y="1723"/>
                </a:lnTo>
                <a:lnTo>
                  <a:pt x="5262" y="1725"/>
                </a:lnTo>
                <a:lnTo>
                  <a:pt x="5262" y="1728"/>
                </a:lnTo>
                <a:lnTo>
                  <a:pt x="5263" y="1732"/>
                </a:lnTo>
                <a:lnTo>
                  <a:pt x="5264" y="1731"/>
                </a:lnTo>
                <a:lnTo>
                  <a:pt x="5265" y="1731"/>
                </a:lnTo>
                <a:lnTo>
                  <a:pt x="5265" y="1732"/>
                </a:lnTo>
                <a:lnTo>
                  <a:pt x="5266" y="1733"/>
                </a:lnTo>
                <a:lnTo>
                  <a:pt x="5266" y="1738"/>
                </a:lnTo>
                <a:lnTo>
                  <a:pt x="5261" y="1738"/>
                </a:lnTo>
                <a:lnTo>
                  <a:pt x="5259" y="1738"/>
                </a:lnTo>
                <a:lnTo>
                  <a:pt x="5260" y="1738"/>
                </a:lnTo>
                <a:lnTo>
                  <a:pt x="5255" y="1736"/>
                </a:lnTo>
                <a:lnTo>
                  <a:pt x="5253" y="1735"/>
                </a:lnTo>
                <a:lnTo>
                  <a:pt x="5254" y="1735"/>
                </a:lnTo>
                <a:lnTo>
                  <a:pt x="5253" y="1736"/>
                </a:lnTo>
                <a:lnTo>
                  <a:pt x="5252" y="1740"/>
                </a:lnTo>
                <a:lnTo>
                  <a:pt x="5252" y="1742"/>
                </a:lnTo>
                <a:lnTo>
                  <a:pt x="5253" y="1744"/>
                </a:lnTo>
                <a:lnTo>
                  <a:pt x="5254" y="1745"/>
                </a:lnTo>
                <a:lnTo>
                  <a:pt x="5256" y="1746"/>
                </a:lnTo>
                <a:lnTo>
                  <a:pt x="5257" y="1746"/>
                </a:lnTo>
                <a:lnTo>
                  <a:pt x="5261" y="1760"/>
                </a:lnTo>
                <a:lnTo>
                  <a:pt x="5263" y="1765"/>
                </a:lnTo>
                <a:lnTo>
                  <a:pt x="5266" y="1771"/>
                </a:lnTo>
                <a:lnTo>
                  <a:pt x="5267" y="1770"/>
                </a:lnTo>
                <a:lnTo>
                  <a:pt x="5267" y="1769"/>
                </a:lnTo>
                <a:lnTo>
                  <a:pt x="5269" y="1767"/>
                </a:lnTo>
                <a:lnTo>
                  <a:pt x="5270" y="1766"/>
                </a:lnTo>
                <a:lnTo>
                  <a:pt x="5272" y="1766"/>
                </a:lnTo>
                <a:lnTo>
                  <a:pt x="5274" y="1766"/>
                </a:lnTo>
                <a:lnTo>
                  <a:pt x="5272" y="1776"/>
                </a:lnTo>
                <a:lnTo>
                  <a:pt x="5271" y="1779"/>
                </a:lnTo>
                <a:lnTo>
                  <a:pt x="5271" y="1782"/>
                </a:lnTo>
                <a:lnTo>
                  <a:pt x="5272" y="1785"/>
                </a:lnTo>
                <a:lnTo>
                  <a:pt x="5273" y="1788"/>
                </a:lnTo>
                <a:lnTo>
                  <a:pt x="5277" y="1797"/>
                </a:lnTo>
                <a:lnTo>
                  <a:pt x="5288" y="1793"/>
                </a:lnTo>
                <a:lnTo>
                  <a:pt x="5291" y="1792"/>
                </a:lnTo>
                <a:lnTo>
                  <a:pt x="5294" y="1792"/>
                </a:lnTo>
                <a:lnTo>
                  <a:pt x="5296" y="1793"/>
                </a:lnTo>
                <a:lnTo>
                  <a:pt x="5299" y="1795"/>
                </a:lnTo>
                <a:lnTo>
                  <a:pt x="5308" y="1802"/>
                </a:lnTo>
                <a:lnTo>
                  <a:pt x="5307" y="1797"/>
                </a:lnTo>
                <a:lnTo>
                  <a:pt x="5305" y="1792"/>
                </a:lnTo>
                <a:lnTo>
                  <a:pt x="5305" y="1790"/>
                </a:lnTo>
                <a:lnTo>
                  <a:pt x="5306" y="1790"/>
                </a:lnTo>
                <a:lnTo>
                  <a:pt x="5308" y="1791"/>
                </a:lnTo>
                <a:lnTo>
                  <a:pt x="5310" y="1793"/>
                </a:lnTo>
                <a:lnTo>
                  <a:pt x="5313" y="1796"/>
                </a:lnTo>
                <a:lnTo>
                  <a:pt x="5317" y="1802"/>
                </a:lnTo>
                <a:lnTo>
                  <a:pt x="5321" y="1808"/>
                </a:lnTo>
                <a:lnTo>
                  <a:pt x="5325" y="1813"/>
                </a:lnTo>
                <a:lnTo>
                  <a:pt x="5326" y="1813"/>
                </a:lnTo>
                <a:lnTo>
                  <a:pt x="5327" y="1814"/>
                </a:lnTo>
                <a:lnTo>
                  <a:pt x="5330" y="1816"/>
                </a:lnTo>
                <a:lnTo>
                  <a:pt x="5331" y="1813"/>
                </a:lnTo>
                <a:lnTo>
                  <a:pt x="5330" y="1811"/>
                </a:lnTo>
                <a:lnTo>
                  <a:pt x="5331" y="1810"/>
                </a:lnTo>
                <a:lnTo>
                  <a:pt x="5333" y="1808"/>
                </a:lnTo>
                <a:lnTo>
                  <a:pt x="5327" y="1795"/>
                </a:lnTo>
                <a:lnTo>
                  <a:pt x="5326" y="1789"/>
                </a:lnTo>
                <a:lnTo>
                  <a:pt x="5325" y="1783"/>
                </a:lnTo>
                <a:lnTo>
                  <a:pt x="5313" y="1785"/>
                </a:lnTo>
                <a:lnTo>
                  <a:pt x="5313" y="1777"/>
                </a:lnTo>
                <a:lnTo>
                  <a:pt x="5306" y="1779"/>
                </a:lnTo>
                <a:lnTo>
                  <a:pt x="5300" y="1780"/>
                </a:lnTo>
                <a:lnTo>
                  <a:pt x="5295" y="1781"/>
                </a:lnTo>
                <a:lnTo>
                  <a:pt x="5288" y="1783"/>
                </a:lnTo>
                <a:lnTo>
                  <a:pt x="5287" y="1775"/>
                </a:lnTo>
                <a:lnTo>
                  <a:pt x="5286" y="1771"/>
                </a:lnTo>
                <a:lnTo>
                  <a:pt x="5286" y="1769"/>
                </a:lnTo>
                <a:lnTo>
                  <a:pt x="5285" y="1768"/>
                </a:lnTo>
                <a:lnTo>
                  <a:pt x="5285" y="1769"/>
                </a:lnTo>
                <a:lnTo>
                  <a:pt x="5284" y="1766"/>
                </a:lnTo>
                <a:lnTo>
                  <a:pt x="5282" y="1760"/>
                </a:lnTo>
                <a:lnTo>
                  <a:pt x="5285" y="1758"/>
                </a:lnTo>
                <a:lnTo>
                  <a:pt x="5286" y="1757"/>
                </a:lnTo>
                <a:lnTo>
                  <a:pt x="5286" y="1755"/>
                </a:lnTo>
                <a:lnTo>
                  <a:pt x="5285" y="1753"/>
                </a:lnTo>
                <a:lnTo>
                  <a:pt x="5283" y="1749"/>
                </a:lnTo>
                <a:lnTo>
                  <a:pt x="5283" y="1747"/>
                </a:lnTo>
                <a:lnTo>
                  <a:pt x="5282" y="1746"/>
                </a:lnTo>
                <a:lnTo>
                  <a:pt x="5285" y="1746"/>
                </a:lnTo>
                <a:lnTo>
                  <a:pt x="5289" y="1738"/>
                </a:lnTo>
                <a:lnTo>
                  <a:pt x="5294" y="1731"/>
                </a:lnTo>
                <a:lnTo>
                  <a:pt x="5299" y="1724"/>
                </a:lnTo>
                <a:lnTo>
                  <a:pt x="5302" y="1721"/>
                </a:lnTo>
                <a:lnTo>
                  <a:pt x="5305" y="1718"/>
                </a:lnTo>
                <a:lnTo>
                  <a:pt x="5305" y="1717"/>
                </a:lnTo>
                <a:lnTo>
                  <a:pt x="5305" y="1715"/>
                </a:lnTo>
                <a:lnTo>
                  <a:pt x="5302" y="1710"/>
                </a:lnTo>
                <a:lnTo>
                  <a:pt x="5297" y="1704"/>
                </a:lnTo>
                <a:lnTo>
                  <a:pt x="5296" y="1696"/>
                </a:lnTo>
                <a:lnTo>
                  <a:pt x="5297" y="1690"/>
                </a:lnTo>
                <a:lnTo>
                  <a:pt x="5298" y="1684"/>
                </a:lnTo>
                <a:lnTo>
                  <a:pt x="5299" y="1678"/>
                </a:lnTo>
                <a:lnTo>
                  <a:pt x="5297" y="1679"/>
                </a:lnTo>
                <a:lnTo>
                  <a:pt x="5296" y="1681"/>
                </a:lnTo>
                <a:lnTo>
                  <a:pt x="5294" y="1684"/>
                </a:lnTo>
                <a:lnTo>
                  <a:pt x="5290" y="1685"/>
                </a:lnTo>
                <a:lnTo>
                  <a:pt x="5287" y="1685"/>
                </a:lnTo>
                <a:lnTo>
                  <a:pt x="5284" y="1684"/>
                </a:lnTo>
                <a:lnTo>
                  <a:pt x="5282" y="1683"/>
                </a:lnTo>
                <a:lnTo>
                  <a:pt x="5277" y="1681"/>
                </a:lnTo>
                <a:lnTo>
                  <a:pt x="5271" y="1678"/>
                </a:lnTo>
                <a:close/>
                <a:moveTo>
                  <a:pt x="1635" y="1673"/>
                </a:moveTo>
                <a:lnTo>
                  <a:pt x="1630" y="1681"/>
                </a:lnTo>
                <a:lnTo>
                  <a:pt x="1635" y="1684"/>
                </a:lnTo>
                <a:lnTo>
                  <a:pt x="1640" y="1685"/>
                </a:lnTo>
                <a:lnTo>
                  <a:pt x="1644" y="1687"/>
                </a:lnTo>
                <a:lnTo>
                  <a:pt x="1649" y="1690"/>
                </a:lnTo>
                <a:lnTo>
                  <a:pt x="1649" y="1692"/>
                </a:lnTo>
                <a:lnTo>
                  <a:pt x="1652" y="1693"/>
                </a:lnTo>
                <a:lnTo>
                  <a:pt x="1655" y="1693"/>
                </a:lnTo>
                <a:lnTo>
                  <a:pt x="1660" y="1692"/>
                </a:lnTo>
                <a:lnTo>
                  <a:pt x="1665" y="1690"/>
                </a:lnTo>
                <a:lnTo>
                  <a:pt x="1669" y="1687"/>
                </a:lnTo>
                <a:lnTo>
                  <a:pt x="1671" y="1685"/>
                </a:lnTo>
                <a:lnTo>
                  <a:pt x="1671" y="1684"/>
                </a:lnTo>
                <a:lnTo>
                  <a:pt x="1671" y="1683"/>
                </a:lnTo>
                <a:lnTo>
                  <a:pt x="1670" y="1682"/>
                </a:lnTo>
                <a:lnTo>
                  <a:pt x="1669" y="1681"/>
                </a:lnTo>
                <a:lnTo>
                  <a:pt x="1663" y="1681"/>
                </a:lnTo>
                <a:lnTo>
                  <a:pt x="1663" y="1676"/>
                </a:lnTo>
                <a:lnTo>
                  <a:pt x="1660" y="1674"/>
                </a:lnTo>
                <a:lnTo>
                  <a:pt x="1657" y="1674"/>
                </a:lnTo>
                <a:lnTo>
                  <a:pt x="1650" y="1673"/>
                </a:lnTo>
                <a:lnTo>
                  <a:pt x="1643" y="1673"/>
                </a:lnTo>
                <a:lnTo>
                  <a:pt x="1639" y="1673"/>
                </a:lnTo>
                <a:lnTo>
                  <a:pt x="1635" y="1673"/>
                </a:lnTo>
                <a:close/>
                <a:moveTo>
                  <a:pt x="5083" y="1647"/>
                </a:moveTo>
                <a:lnTo>
                  <a:pt x="5080" y="1648"/>
                </a:lnTo>
                <a:lnTo>
                  <a:pt x="5075" y="1650"/>
                </a:lnTo>
                <a:lnTo>
                  <a:pt x="5071" y="1653"/>
                </a:lnTo>
                <a:lnTo>
                  <a:pt x="5066" y="1656"/>
                </a:lnTo>
                <a:lnTo>
                  <a:pt x="5056" y="1662"/>
                </a:lnTo>
                <a:lnTo>
                  <a:pt x="5049" y="1667"/>
                </a:lnTo>
                <a:lnTo>
                  <a:pt x="5052" y="1677"/>
                </a:lnTo>
                <a:lnTo>
                  <a:pt x="5054" y="1682"/>
                </a:lnTo>
                <a:lnTo>
                  <a:pt x="5056" y="1686"/>
                </a:lnTo>
                <a:lnTo>
                  <a:pt x="5058" y="1690"/>
                </a:lnTo>
                <a:lnTo>
                  <a:pt x="5060" y="1691"/>
                </a:lnTo>
                <a:lnTo>
                  <a:pt x="5062" y="1692"/>
                </a:lnTo>
                <a:lnTo>
                  <a:pt x="5065" y="1693"/>
                </a:lnTo>
                <a:lnTo>
                  <a:pt x="5067" y="1693"/>
                </a:lnTo>
                <a:lnTo>
                  <a:pt x="5071" y="1693"/>
                </a:lnTo>
                <a:lnTo>
                  <a:pt x="5074" y="1692"/>
                </a:lnTo>
                <a:lnTo>
                  <a:pt x="5077" y="1692"/>
                </a:lnTo>
                <a:lnTo>
                  <a:pt x="5079" y="1691"/>
                </a:lnTo>
                <a:lnTo>
                  <a:pt x="5083" y="1688"/>
                </a:lnTo>
                <a:lnTo>
                  <a:pt x="5086" y="1685"/>
                </a:lnTo>
                <a:lnTo>
                  <a:pt x="5088" y="1680"/>
                </a:lnTo>
                <a:lnTo>
                  <a:pt x="5090" y="1675"/>
                </a:lnTo>
                <a:lnTo>
                  <a:pt x="5091" y="1670"/>
                </a:lnTo>
                <a:lnTo>
                  <a:pt x="5094" y="1659"/>
                </a:lnTo>
                <a:lnTo>
                  <a:pt x="5095" y="1659"/>
                </a:lnTo>
                <a:lnTo>
                  <a:pt x="5096" y="1659"/>
                </a:lnTo>
                <a:lnTo>
                  <a:pt x="5097" y="1659"/>
                </a:lnTo>
                <a:lnTo>
                  <a:pt x="5098" y="1658"/>
                </a:lnTo>
                <a:lnTo>
                  <a:pt x="5100" y="1656"/>
                </a:lnTo>
                <a:lnTo>
                  <a:pt x="5100" y="1654"/>
                </a:lnTo>
                <a:lnTo>
                  <a:pt x="5099" y="1653"/>
                </a:lnTo>
                <a:lnTo>
                  <a:pt x="5098" y="1651"/>
                </a:lnTo>
                <a:lnTo>
                  <a:pt x="5095" y="1649"/>
                </a:lnTo>
                <a:lnTo>
                  <a:pt x="5093" y="1648"/>
                </a:lnTo>
                <a:lnTo>
                  <a:pt x="5090" y="1648"/>
                </a:lnTo>
                <a:lnTo>
                  <a:pt x="5083" y="1647"/>
                </a:lnTo>
                <a:close/>
                <a:moveTo>
                  <a:pt x="1551" y="1566"/>
                </a:moveTo>
                <a:lnTo>
                  <a:pt x="1545" y="1568"/>
                </a:lnTo>
                <a:lnTo>
                  <a:pt x="1542" y="1569"/>
                </a:lnTo>
                <a:lnTo>
                  <a:pt x="1540" y="1571"/>
                </a:lnTo>
                <a:lnTo>
                  <a:pt x="1538" y="1573"/>
                </a:lnTo>
                <a:lnTo>
                  <a:pt x="1536" y="1575"/>
                </a:lnTo>
                <a:lnTo>
                  <a:pt x="1532" y="1579"/>
                </a:lnTo>
                <a:lnTo>
                  <a:pt x="1529" y="1583"/>
                </a:lnTo>
                <a:lnTo>
                  <a:pt x="1526" y="1588"/>
                </a:lnTo>
                <a:lnTo>
                  <a:pt x="1523" y="1597"/>
                </a:lnTo>
                <a:lnTo>
                  <a:pt x="1525" y="1596"/>
                </a:lnTo>
                <a:lnTo>
                  <a:pt x="1526" y="1596"/>
                </a:lnTo>
                <a:lnTo>
                  <a:pt x="1530" y="1596"/>
                </a:lnTo>
                <a:lnTo>
                  <a:pt x="1533" y="1595"/>
                </a:lnTo>
                <a:lnTo>
                  <a:pt x="1535" y="1595"/>
                </a:lnTo>
                <a:lnTo>
                  <a:pt x="1537" y="1594"/>
                </a:lnTo>
                <a:lnTo>
                  <a:pt x="1537" y="1588"/>
                </a:lnTo>
                <a:lnTo>
                  <a:pt x="1542" y="1585"/>
                </a:lnTo>
                <a:lnTo>
                  <a:pt x="1544" y="1583"/>
                </a:lnTo>
                <a:lnTo>
                  <a:pt x="1546" y="1582"/>
                </a:lnTo>
                <a:lnTo>
                  <a:pt x="1554" y="1574"/>
                </a:lnTo>
                <a:lnTo>
                  <a:pt x="1558" y="1575"/>
                </a:lnTo>
                <a:lnTo>
                  <a:pt x="1562" y="1575"/>
                </a:lnTo>
                <a:lnTo>
                  <a:pt x="1566" y="1576"/>
                </a:lnTo>
                <a:lnTo>
                  <a:pt x="1571" y="1577"/>
                </a:lnTo>
                <a:lnTo>
                  <a:pt x="1572" y="1579"/>
                </a:lnTo>
                <a:lnTo>
                  <a:pt x="1573" y="1581"/>
                </a:lnTo>
                <a:lnTo>
                  <a:pt x="1575" y="1584"/>
                </a:lnTo>
                <a:lnTo>
                  <a:pt x="1576" y="1586"/>
                </a:lnTo>
                <a:lnTo>
                  <a:pt x="1579" y="1586"/>
                </a:lnTo>
                <a:lnTo>
                  <a:pt x="1582" y="1586"/>
                </a:lnTo>
                <a:lnTo>
                  <a:pt x="1585" y="1585"/>
                </a:lnTo>
                <a:lnTo>
                  <a:pt x="1587" y="1586"/>
                </a:lnTo>
                <a:lnTo>
                  <a:pt x="1590" y="1591"/>
                </a:lnTo>
                <a:lnTo>
                  <a:pt x="1592" y="1591"/>
                </a:lnTo>
                <a:lnTo>
                  <a:pt x="1595" y="1591"/>
                </a:lnTo>
                <a:lnTo>
                  <a:pt x="1597" y="1591"/>
                </a:lnTo>
                <a:lnTo>
                  <a:pt x="1599" y="1591"/>
                </a:lnTo>
                <a:lnTo>
                  <a:pt x="1601" y="1594"/>
                </a:lnTo>
                <a:lnTo>
                  <a:pt x="1603" y="1598"/>
                </a:lnTo>
                <a:lnTo>
                  <a:pt x="1605" y="1601"/>
                </a:lnTo>
                <a:lnTo>
                  <a:pt x="1607" y="1603"/>
                </a:lnTo>
                <a:lnTo>
                  <a:pt x="1608" y="1604"/>
                </a:lnTo>
                <a:lnTo>
                  <a:pt x="1610" y="1605"/>
                </a:lnTo>
                <a:lnTo>
                  <a:pt x="1615" y="1605"/>
                </a:lnTo>
                <a:lnTo>
                  <a:pt x="1620" y="1605"/>
                </a:lnTo>
                <a:lnTo>
                  <a:pt x="1625" y="1604"/>
                </a:lnTo>
                <a:lnTo>
                  <a:pt x="1628" y="1605"/>
                </a:lnTo>
                <a:lnTo>
                  <a:pt x="1630" y="1605"/>
                </a:lnTo>
                <a:lnTo>
                  <a:pt x="1630" y="1607"/>
                </a:lnTo>
                <a:lnTo>
                  <a:pt x="1630" y="1609"/>
                </a:lnTo>
                <a:lnTo>
                  <a:pt x="1630" y="1612"/>
                </a:lnTo>
                <a:lnTo>
                  <a:pt x="1630" y="1614"/>
                </a:lnTo>
                <a:lnTo>
                  <a:pt x="1631" y="1617"/>
                </a:lnTo>
                <a:lnTo>
                  <a:pt x="1634" y="1620"/>
                </a:lnTo>
                <a:lnTo>
                  <a:pt x="1637" y="1622"/>
                </a:lnTo>
                <a:lnTo>
                  <a:pt x="1640" y="1624"/>
                </a:lnTo>
                <a:lnTo>
                  <a:pt x="1648" y="1628"/>
                </a:lnTo>
                <a:lnTo>
                  <a:pt x="1655" y="1631"/>
                </a:lnTo>
                <a:lnTo>
                  <a:pt x="1653" y="1635"/>
                </a:lnTo>
                <a:lnTo>
                  <a:pt x="1651" y="1639"/>
                </a:lnTo>
                <a:lnTo>
                  <a:pt x="1647" y="1647"/>
                </a:lnTo>
                <a:lnTo>
                  <a:pt x="1661" y="1646"/>
                </a:lnTo>
                <a:lnTo>
                  <a:pt x="1676" y="1643"/>
                </a:lnTo>
                <a:lnTo>
                  <a:pt x="1691" y="1641"/>
                </a:lnTo>
                <a:lnTo>
                  <a:pt x="1706" y="1639"/>
                </a:lnTo>
                <a:lnTo>
                  <a:pt x="1703" y="1628"/>
                </a:lnTo>
                <a:lnTo>
                  <a:pt x="1693" y="1629"/>
                </a:lnTo>
                <a:lnTo>
                  <a:pt x="1687" y="1629"/>
                </a:lnTo>
                <a:lnTo>
                  <a:pt x="1685" y="1628"/>
                </a:lnTo>
                <a:lnTo>
                  <a:pt x="1683" y="1628"/>
                </a:lnTo>
                <a:lnTo>
                  <a:pt x="1680" y="1614"/>
                </a:lnTo>
                <a:lnTo>
                  <a:pt x="1676" y="1613"/>
                </a:lnTo>
                <a:lnTo>
                  <a:pt x="1672" y="1613"/>
                </a:lnTo>
                <a:lnTo>
                  <a:pt x="1663" y="1614"/>
                </a:lnTo>
                <a:lnTo>
                  <a:pt x="1663" y="1611"/>
                </a:lnTo>
                <a:lnTo>
                  <a:pt x="1662" y="1609"/>
                </a:lnTo>
                <a:lnTo>
                  <a:pt x="1662" y="1607"/>
                </a:lnTo>
                <a:lnTo>
                  <a:pt x="1661" y="1605"/>
                </a:lnTo>
                <a:lnTo>
                  <a:pt x="1657" y="1603"/>
                </a:lnTo>
                <a:lnTo>
                  <a:pt x="1653" y="1600"/>
                </a:lnTo>
                <a:lnTo>
                  <a:pt x="1645" y="1595"/>
                </a:lnTo>
                <a:lnTo>
                  <a:pt x="1636" y="1591"/>
                </a:lnTo>
                <a:lnTo>
                  <a:pt x="1631" y="1590"/>
                </a:lnTo>
                <a:lnTo>
                  <a:pt x="1627" y="1588"/>
                </a:lnTo>
                <a:lnTo>
                  <a:pt x="1625" y="1588"/>
                </a:lnTo>
                <a:lnTo>
                  <a:pt x="1623" y="1589"/>
                </a:lnTo>
                <a:lnTo>
                  <a:pt x="1620" y="1589"/>
                </a:lnTo>
                <a:lnTo>
                  <a:pt x="1619" y="1589"/>
                </a:lnTo>
                <a:lnTo>
                  <a:pt x="1618" y="1588"/>
                </a:lnTo>
                <a:lnTo>
                  <a:pt x="1617" y="1587"/>
                </a:lnTo>
                <a:lnTo>
                  <a:pt x="1616" y="1586"/>
                </a:lnTo>
                <a:lnTo>
                  <a:pt x="1614" y="1581"/>
                </a:lnTo>
                <a:lnTo>
                  <a:pt x="1612" y="1577"/>
                </a:lnTo>
                <a:lnTo>
                  <a:pt x="1610" y="1574"/>
                </a:lnTo>
                <a:lnTo>
                  <a:pt x="1606" y="1573"/>
                </a:lnTo>
                <a:lnTo>
                  <a:pt x="1598" y="1572"/>
                </a:lnTo>
                <a:lnTo>
                  <a:pt x="1579" y="1569"/>
                </a:lnTo>
                <a:lnTo>
                  <a:pt x="1560" y="1567"/>
                </a:lnTo>
                <a:lnTo>
                  <a:pt x="1551" y="1566"/>
                </a:lnTo>
                <a:close/>
                <a:moveTo>
                  <a:pt x="5280" y="1524"/>
                </a:moveTo>
                <a:lnTo>
                  <a:pt x="5277" y="1529"/>
                </a:lnTo>
                <a:lnTo>
                  <a:pt x="5274" y="1533"/>
                </a:lnTo>
                <a:lnTo>
                  <a:pt x="5269" y="1543"/>
                </a:lnTo>
                <a:lnTo>
                  <a:pt x="5264" y="1552"/>
                </a:lnTo>
                <a:lnTo>
                  <a:pt x="5262" y="1558"/>
                </a:lnTo>
                <a:lnTo>
                  <a:pt x="5260" y="1563"/>
                </a:lnTo>
                <a:lnTo>
                  <a:pt x="5259" y="1570"/>
                </a:lnTo>
                <a:lnTo>
                  <a:pt x="5258" y="1575"/>
                </a:lnTo>
                <a:lnTo>
                  <a:pt x="5258" y="1579"/>
                </a:lnTo>
                <a:lnTo>
                  <a:pt x="5259" y="1582"/>
                </a:lnTo>
                <a:lnTo>
                  <a:pt x="5260" y="1585"/>
                </a:lnTo>
                <a:lnTo>
                  <a:pt x="5261" y="1589"/>
                </a:lnTo>
                <a:lnTo>
                  <a:pt x="5266" y="1597"/>
                </a:lnTo>
                <a:lnTo>
                  <a:pt x="5271" y="1597"/>
                </a:lnTo>
                <a:lnTo>
                  <a:pt x="5275" y="1588"/>
                </a:lnTo>
                <a:lnTo>
                  <a:pt x="5278" y="1580"/>
                </a:lnTo>
                <a:lnTo>
                  <a:pt x="5281" y="1570"/>
                </a:lnTo>
                <a:lnTo>
                  <a:pt x="5283" y="1561"/>
                </a:lnTo>
                <a:lnTo>
                  <a:pt x="5285" y="1551"/>
                </a:lnTo>
                <a:lnTo>
                  <a:pt x="5287" y="1542"/>
                </a:lnTo>
                <a:lnTo>
                  <a:pt x="5288" y="1524"/>
                </a:lnTo>
                <a:lnTo>
                  <a:pt x="5284" y="1524"/>
                </a:lnTo>
                <a:lnTo>
                  <a:pt x="5280" y="1524"/>
                </a:lnTo>
                <a:close/>
                <a:moveTo>
                  <a:pt x="5448" y="1313"/>
                </a:moveTo>
                <a:lnTo>
                  <a:pt x="5443" y="1324"/>
                </a:lnTo>
                <a:lnTo>
                  <a:pt x="5441" y="1324"/>
                </a:lnTo>
                <a:lnTo>
                  <a:pt x="5440" y="1325"/>
                </a:lnTo>
                <a:lnTo>
                  <a:pt x="5439" y="1324"/>
                </a:lnTo>
                <a:lnTo>
                  <a:pt x="5438" y="1324"/>
                </a:lnTo>
                <a:lnTo>
                  <a:pt x="5436" y="1322"/>
                </a:lnTo>
                <a:lnTo>
                  <a:pt x="5434" y="1321"/>
                </a:lnTo>
                <a:lnTo>
                  <a:pt x="5435" y="1323"/>
                </a:lnTo>
                <a:lnTo>
                  <a:pt x="5434" y="1324"/>
                </a:lnTo>
                <a:lnTo>
                  <a:pt x="5434" y="1326"/>
                </a:lnTo>
                <a:lnTo>
                  <a:pt x="5433" y="1327"/>
                </a:lnTo>
                <a:lnTo>
                  <a:pt x="5431" y="1328"/>
                </a:lnTo>
                <a:lnTo>
                  <a:pt x="5432" y="1330"/>
                </a:lnTo>
                <a:lnTo>
                  <a:pt x="5434" y="1333"/>
                </a:lnTo>
                <a:lnTo>
                  <a:pt x="5436" y="1336"/>
                </a:lnTo>
                <a:lnTo>
                  <a:pt x="5440" y="1344"/>
                </a:lnTo>
                <a:lnTo>
                  <a:pt x="5437" y="1342"/>
                </a:lnTo>
                <a:lnTo>
                  <a:pt x="5436" y="1341"/>
                </a:lnTo>
                <a:lnTo>
                  <a:pt x="5435" y="1342"/>
                </a:lnTo>
                <a:lnTo>
                  <a:pt x="5435" y="1344"/>
                </a:lnTo>
                <a:lnTo>
                  <a:pt x="5436" y="1346"/>
                </a:lnTo>
                <a:lnTo>
                  <a:pt x="5437" y="1349"/>
                </a:lnTo>
                <a:lnTo>
                  <a:pt x="5438" y="1351"/>
                </a:lnTo>
                <a:lnTo>
                  <a:pt x="5440" y="1352"/>
                </a:lnTo>
                <a:lnTo>
                  <a:pt x="5441" y="1352"/>
                </a:lnTo>
                <a:lnTo>
                  <a:pt x="5442" y="1352"/>
                </a:lnTo>
                <a:lnTo>
                  <a:pt x="5443" y="1352"/>
                </a:lnTo>
                <a:lnTo>
                  <a:pt x="5445" y="1351"/>
                </a:lnTo>
                <a:lnTo>
                  <a:pt x="5448" y="1352"/>
                </a:lnTo>
                <a:lnTo>
                  <a:pt x="5448" y="1341"/>
                </a:lnTo>
                <a:lnTo>
                  <a:pt x="5447" y="1341"/>
                </a:lnTo>
                <a:lnTo>
                  <a:pt x="5446" y="1341"/>
                </a:lnTo>
                <a:lnTo>
                  <a:pt x="5445" y="1340"/>
                </a:lnTo>
                <a:lnTo>
                  <a:pt x="5446" y="1339"/>
                </a:lnTo>
                <a:lnTo>
                  <a:pt x="5447" y="1339"/>
                </a:lnTo>
                <a:lnTo>
                  <a:pt x="5448" y="1338"/>
                </a:lnTo>
                <a:lnTo>
                  <a:pt x="5451" y="1338"/>
                </a:lnTo>
                <a:lnTo>
                  <a:pt x="5451" y="1341"/>
                </a:lnTo>
                <a:lnTo>
                  <a:pt x="5451" y="1343"/>
                </a:lnTo>
                <a:lnTo>
                  <a:pt x="5451" y="1344"/>
                </a:lnTo>
                <a:lnTo>
                  <a:pt x="5452" y="1345"/>
                </a:lnTo>
                <a:lnTo>
                  <a:pt x="5454" y="1346"/>
                </a:lnTo>
                <a:lnTo>
                  <a:pt x="5447" y="1355"/>
                </a:lnTo>
                <a:lnTo>
                  <a:pt x="5445" y="1359"/>
                </a:lnTo>
                <a:lnTo>
                  <a:pt x="5444" y="1362"/>
                </a:lnTo>
                <a:lnTo>
                  <a:pt x="5443" y="1369"/>
                </a:lnTo>
                <a:lnTo>
                  <a:pt x="5443" y="1380"/>
                </a:lnTo>
                <a:lnTo>
                  <a:pt x="5445" y="1379"/>
                </a:lnTo>
                <a:lnTo>
                  <a:pt x="5446" y="1378"/>
                </a:lnTo>
                <a:lnTo>
                  <a:pt x="5448" y="1377"/>
                </a:lnTo>
                <a:lnTo>
                  <a:pt x="5450" y="1377"/>
                </a:lnTo>
                <a:lnTo>
                  <a:pt x="5451" y="1377"/>
                </a:lnTo>
                <a:lnTo>
                  <a:pt x="5450" y="1378"/>
                </a:lnTo>
                <a:lnTo>
                  <a:pt x="5449" y="1379"/>
                </a:lnTo>
                <a:lnTo>
                  <a:pt x="5448" y="1380"/>
                </a:lnTo>
                <a:lnTo>
                  <a:pt x="5448" y="1381"/>
                </a:lnTo>
                <a:lnTo>
                  <a:pt x="5449" y="1382"/>
                </a:lnTo>
                <a:lnTo>
                  <a:pt x="5451" y="1384"/>
                </a:lnTo>
                <a:lnTo>
                  <a:pt x="5454" y="1386"/>
                </a:lnTo>
                <a:lnTo>
                  <a:pt x="5456" y="1382"/>
                </a:lnTo>
                <a:lnTo>
                  <a:pt x="5460" y="1378"/>
                </a:lnTo>
                <a:lnTo>
                  <a:pt x="5463" y="1373"/>
                </a:lnTo>
                <a:lnTo>
                  <a:pt x="5464" y="1371"/>
                </a:lnTo>
                <a:lnTo>
                  <a:pt x="5465" y="1369"/>
                </a:lnTo>
                <a:lnTo>
                  <a:pt x="5466" y="1366"/>
                </a:lnTo>
                <a:lnTo>
                  <a:pt x="5466" y="1363"/>
                </a:lnTo>
                <a:lnTo>
                  <a:pt x="5467" y="1357"/>
                </a:lnTo>
                <a:lnTo>
                  <a:pt x="5467" y="1352"/>
                </a:lnTo>
                <a:lnTo>
                  <a:pt x="5467" y="1349"/>
                </a:lnTo>
                <a:lnTo>
                  <a:pt x="5468" y="1346"/>
                </a:lnTo>
                <a:lnTo>
                  <a:pt x="5474" y="1344"/>
                </a:lnTo>
                <a:lnTo>
                  <a:pt x="5474" y="1340"/>
                </a:lnTo>
                <a:lnTo>
                  <a:pt x="5472" y="1338"/>
                </a:lnTo>
                <a:lnTo>
                  <a:pt x="5471" y="1336"/>
                </a:lnTo>
                <a:lnTo>
                  <a:pt x="5471" y="1334"/>
                </a:lnTo>
                <a:lnTo>
                  <a:pt x="5471" y="1332"/>
                </a:lnTo>
                <a:lnTo>
                  <a:pt x="5465" y="1332"/>
                </a:lnTo>
                <a:lnTo>
                  <a:pt x="5466" y="1330"/>
                </a:lnTo>
                <a:lnTo>
                  <a:pt x="5468" y="1328"/>
                </a:lnTo>
                <a:lnTo>
                  <a:pt x="5468" y="1326"/>
                </a:lnTo>
                <a:lnTo>
                  <a:pt x="5469" y="1325"/>
                </a:lnTo>
                <a:lnTo>
                  <a:pt x="5469" y="1323"/>
                </a:lnTo>
                <a:lnTo>
                  <a:pt x="5468" y="1321"/>
                </a:lnTo>
                <a:lnTo>
                  <a:pt x="5464" y="1321"/>
                </a:lnTo>
                <a:lnTo>
                  <a:pt x="5460" y="1321"/>
                </a:lnTo>
                <a:lnTo>
                  <a:pt x="5458" y="1320"/>
                </a:lnTo>
                <a:lnTo>
                  <a:pt x="5457" y="1318"/>
                </a:lnTo>
                <a:lnTo>
                  <a:pt x="5456" y="1315"/>
                </a:lnTo>
                <a:lnTo>
                  <a:pt x="5455" y="1314"/>
                </a:lnTo>
                <a:lnTo>
                  <a:pt x="5454" y="1313"/>
                </a:lnTo>
                <a:lnTo>
                  <a:pt x="5451" y="1313"/>
                </a:lnTo>
                <a:lnTo>
                  <a:pt x="5448" y="1313"/>
                </a:lnTo>
                <a:close/>
                <a:moveTo>
                  <a:pt x="5628" y="1130"/>
                </a:moveTo>
                <a:lnTo>
                  <a:pt x="5628" y="1131"/>
                </a:lnTo>
                <a:lnTo>
                  <a:pt x="5628" y="1132"/>
                </a:lnTo>
                <a:lnTo>
                  <a:pt x="5628" y="1134"/>
                </a:lnTo>
                <a:lnTo>
                  <a:pt x="5629" y="1136"/>
                </a:lnTo>
                <a:lnTo>
                  <a:pt x="5628" y="1138"/>
                </a:lnTo>
                <a:lnTo>
                  <a:pt x="5627" y="1140"/>
                </a:lnTo>
                <a:lnTo>
                  <a:pt x="5625" y="1141"/>
                </a:lnTo>
                <a:lnTo>
                  <a:pt x="5620" y="1144"/>
                </a:lnTo>
                <a:lnTo>
                  <a:pt x="5622" y="1152"/>
                </a:lnTo>
                <a:lnTo>
                  <a:pt x="5623" y="1161"/>
                </a:lnTo>
                <a:lnTo>
                  <a:pt x="5618" y="1163"/>
                </a:lnTo>
                <a:lnTo>
                  <a:pt x="5616" y="1164"/>
                </a:lnTo>
                <a:lnTo>
                  <a:pt x="5614" y="1166"/>
                </a:lnTo>
                <a:lnTo>
                  <a:pt x="5617" y="1167"/>
                </a:lnTo>
                <a:lnTo>
                  <a:pt x="5620" y="1168"/>
                </a:lnTo>
                <a:lnTo>
                  <a:pt x="5622" y="1171"/>
                </a:lnTo>
                <a:lnTo>
                  <a:pt x="5623" y="1172"/>
                </a:lnTo>
                <a:lnTo>
                  <a:pt x="5623" y="1173"/>
                </a:lnTo>
                <a:lnTo>
                  <a:pt x="5623" y="1175"/>
                </a:lnTo>
                <a:lnTo>
                  <a:pt x="5622" y="1177"/>
                </a:lnTo>
                <a:lnTo>
                  <a:pt x="5620" y="1179"/>
                </a:lnTo>
                <a:lnTo>
                  <a:pt x="5618" y="1180"/>
                </a:lnTo>
                <a:lnTo>
                  <a:pt x="5617" y="1180"/>
                </a:lnTo>
                <a:lnTo>
                  <a:pt x="5618" y="1186"/>
                </a:lnTo>
                <a:lnTo>
                  <a:pt x="5617" y="1192"/>
                </a:lnTo>
                <a:lnTo>
                  <a:pt x="5597" y="1220"/>
                </a:lnTo>
                <a:lnTo>
                  <a:pt x="5592" y="1220"/>
                </a:lnTo>
                <a:lnTo>
                  <a:pt x="5591" y="1222"/>
                </a:lnTo>
                <a:lnTo>
                  <a:pt x="5590" y="1224"/>
                </a:lnTo>
                <a:lnTo>
                  <a:pt x="5590" y="1228"/>
                </a:lnTo>
                <a:lnTo>
                  <a:pt x="5590" y="1230"/>
                </a:lnTo>
                <a:lnTo>
                  <a:pt x="5589" y="1231"/>
                </a:lnTo>
                <a:lnTo>
                  <a:pt x="5588" y="1233"/>
                </a:lnTo>
                <a:lnTo>
                  <a:pt x="5586" y="1234"/>
                </a:lnTo>
                <a:lnTo>
                  <a:pt x="5586" y="1237"/>
                </a:lnTo>
                <a:lnTo>
                  <a:pt x="5584" y="1238"/>
                </a:lnTo>
                <a:lnTo>
                  <a:pt x="5583" y="1238"/>
                </a:lnTo>
                <a:lnTo>
                  <a:pt x="5579" y="1238"/>
                </a:lnTo>
                <a:lnTo>
                  <a:pt x="5576" y="1238"/>
                </a:lnTo>
                <a:lnTo>
                  <a:pt x="5572" y="1240"/>
                </a:lnTo>
                <a:lnTo>
                  <a:pt x="5572" y="1245"/>
                </a:lnTo>
                <a:lnTo>
                  <a:pt x="5567" y="1245"/>
                </a:lnTo>
                <a:lnTo>
                  <a:pt x="5561" y="1245"/>
                </a:lnTo>
                <a:lnTo>
                  <a:pt x="5561" y="1243"/>
                </a:lnTo>
                <a:lnTo>
                  <a:pt x="5561" y="1240"/>
                </a:lnTo>
                <a:lnTo>
                  <a:pt x="5561" y="1237"/>
                </a:lnTo>
                <a:lnTo>
                  <a:pt x="5561" y="1234"/>
                </a:lnTo>
                <a:lnTo>
                  <a:pt x="5562" y="1232"/>
                </a:lnTo>
                <a:lnTo>
                  <a:pt x="5565" y="1230"/>
                </a:lnTo>
                <a:lnTo>
                  <a:pt x="5568" y="1228"/>
                </a:lnTo>
                <a:lnTo>
                  <a:pt x="5569" y="1225"/>
                </a:lnTo>
                <a:lnTo>
                  <a:pt x="5566" y="1227"/>
                </a:lnTo>
                <a:lnTo>
                  <a:pt x="5562" y="1229"/>
                </a:lnTo>
                <a:lnTo>
                  <a:pt x="5558" y="1231"/>
                </a:lnTo>
                <a:lnTo>
                  <a:pt x="5556" y="1232"/>
                </a:lnTo>
                <a:lnTo>
                  <a:pt x="5555" y="1234"/>
                </a:lnTo>
                <a:lnTo>
                  <a:pt x="5555" y="1235"/>
                </a:lnTo>
                <a:lnTo>
                  <a:pt x="5555" y="1237"/>
                </a:lnTo>
                <a:lnTo>
                  <a:pt x="5555" y="1241"/>
                </a:lnTo>
                <a:lnTo>
                  <a:pt x="5555" y="1244"/>
                </a:lnTo>
                <a:lnTo>
                  <a:pt x="5555" y="1248"/>
                </a:lnTo>
                <a:lnTo>
                  <a:pt x="5555" y="1250"/>
                </a:lnTo>
                <a:lnTo>
                  <a:pt x="5553" y="1252"/>
                </a:lnTo>
                <a:lnTo>
                  <a:pt x="5550" y="1255"/>
                </a:lnTo>
                <a:lnTo>
                  <a:pt x="5546" y="1259"/>
                </a:lnTo>
                <a:lnTo>
                  <a:pt x="5544" y="1262"/>
                </a:lnTo>
                <a:lnTo>
                  <a:pt x="5544" y="1264"/>
                </a:lnTo>
                <a:lnTo>
                  <a:pt x="5544" y="1266"/>
                </a:lnTo>
                <a:lnTo>
                  <a:pt x="5545" y="1268"/>
                </a:lnTo>
                <a:lnTo>
                  <a:pt x="5547" y="1270"/>
                </a:lnTo>
                <a:lnTo>
                  <a:pt x="5547" y="1271"/>
                </a:lnTo>
                <a:lnTo>
                  <a:pt x="5547" y="1273"/>
                </a:lnTo>
                <a:lnTo>
                  <a:pt x="5547" y="1274"/>
                </a:lnTo>
                <a:lnTo>
                  <a:pt x="5546" y="1275"/>
                </a:lnTo>
                <a:lnTo>
                  <a:pt x="5544" y="1276"/>
                </a:lnTo>
                <a:lnTo>
                  <a:pt x="5543" y="1278"/>
                </a:lnTo>
                <a:lnTo>
                  <a:pt x="5541" y="1282"/>
                </a:lnTo>
                <a:lnTo>
                  <a:pt x="5531" y="1277"/>
                </a:lnTo>
                <a:lnTo>
                  <a:pt x="5527" y="1276"/>
                </a:lnTo>
                <a:lnTo>
                  <a:pt x="5524" y="1275"/>
                </a:lnTo>
                <a:lnTo>
                  <a:pt x="5520" y="1276"/>
                </a:lnTo>
                <a:lnTo>
                  <a:pt x="5518" y="1276"/>
                </a:lnTo>
                <a:lnTo>
                  <a:pt x="5516" y="1277"/>
                </a:lnTo>
                <a:lnTo>
                  <a:pt x="5505" y="1282"/>
                </a:lnTo>
                <a:lnTo>
                  <a:pt x="5505" y="1279"/>
                </a:lnTo>
                <a:lnTo>
                  <a:pt x="5505" y="1277"/>
                </a:lnTo>
                <a:lnTo>
                  <a:pt x="5504" y="1276"/>
                </a:lnTo>
                <a:lnTo>
                  <a:pt x="5502" y="1276"/>
                </a:lnTo>
                <a:lnTo>
                  <a:pt x="5497" y="1278"/>
                </a:lnTo>
                <a:lnTo>
                  <a:pt x="5495" y="1279"/>
                </a:lnTo>
                <a:lnTo>
                  <a:pt x="5493" y="1281"/>
                </a:lnTo>
                <a:lnTo>
                  <a:pt x="5489" y="1285"/>
                </a:lnTo>
                <a:lnTo>
                  <a:pt x="5485" y="1289"/>
                </a:lnTo>
                <a:lnTo>
                  <a:pt x="5477" y="1298"/>
                </a:lnTo>
                <a:lnTo>
                  <a:pt x="5473" y="1301"/>
                </a:lnTo>
                <a:lnTo>
                  <a:pt x="5468" y="1304"/>
                </a:lnTo>
                <a:lnTo>
                  <a:pt x="5466" y="1305"/>
                </a:lnTo>
                <a:lnTo>
                  <a:pt x="5464" y="1305"/>
                </a:lnTo>
                <a:lnTo>
                  <a:pt x="5463" y="1305"/>
                </a:lnTo>
                <a:lnTo>
                  <a:pt x="5462" y="1304"/>
                </a:lnTo>
                <a:lnTo>
                  <a:pt x="5459" y="1302"/>
                </a:lnTo>
                <a:lnTo>
                  <a:pt x="5457" y="1301"/>
                </a:lnTo>
                <a:lnTo>
                  <a:pt x="5457" y="1307"/>
                </a:lnTo>
                <a:lnTo>
                  <a:pt x="5457" y="1313"/>
                </a:lnTo>
                <a:lnTo>
                  <a:pt x="5467" y="1312"/>
                </a:lnTo>
                <a:lnTo>
                  <a:pt x="5474" y="1312"/>
                </a:lnTo>
                <a:lnTo>
                  <a:pt x="5482" y="1313"/>
                </a:lnTo>
                <a:lnTo>
                  <a:pt x="5483" y="1308"/>
                </a:lnTo>
                <a:lnTo>
                  <a:pt x="5484" y="1305"/>
                </a:lnTo>
                <a:lnTo>
                  <a:pt x="5485" y="1304"/>
                </a:lnTo>
                <a:lnTo>
                  <a:pt x="5498" y="1303"/>
                </a:lnTo>
                <a:lnTo>
                  <a:pt x="5508" y="1303"/>
                </a:lnTo>
                <a:lnTo>
                  <a:pt x="5516" y="1301"/>
                </a:lnTo>
                <a:lnTo>
                  <a:pt x="5533" y="1301"/>
                </a:lnTo>
                <a:lnTo>
                  <a:pt x="5532" y="1304"/>
                </a:lnTo>
                <a:lnTo>
                  <a:pt x="5531" y="1305"/>
                </a:lnTo>
                <a:lnTo>
                  <a:pt x="5527" y="1307"/>
                </a:lnTo>
                <a:lnTo>
                  <a:pt x="5528" y="1309"/>
                </a:lnTo>
                <a:lnTo>
                  <a:pt x="5528" y="1313"/>
                </a:lnTo>
                <a:lnTo>
                  <a:pt x="5527" y="1318"/>
                </a:lnTo>
                <a:lnTo>
                  <a:pt x="5530" y="1320"/>
                </a:lnTo>
                <a:lnTo>
                  <a:pt x="5531" y="1321"/>
                </a:lnTo>
                <a:lnTo>
                  <a:pt x="5531" y="1323"/>
                </a:lnTo>
                <a:lnTo>
                  <a:pt x="5533" y="1327"/>
                </a:lnTo>
                <a:lnTo>
                  <a:pt x="5534" y="1326"/>
                </a:lnTo>
                <a:lnTo>
                  <a:pt x="5535" y="1326"/>
                </a:lnTo>
                <a:lnTo>
                  <a:pt x="5538" y="1327"/>
                </a:lnTo>
                <a:lnTo>
                  <a:pt x="5541" y="1327"/>
                </a:lnTo>
                <a:lnTo>
                  <a:pt x="5544" y="1327"/>
                </a:lnTo>
                <a:lnTo>
                  <a:pt x="5545" y="1326"/>
                </a:lnTo>
                <a:lnTo>
                  <a:pt x="5546" y="1325"/>
                </a:lnTo>
                <a:lnTo>
                  <a:pt x="5547" y="1321"/>
                </a:lnTo>
                <a:lnTo>
                  <a:pt x="5548" y="1318"/>
                </a:lnTo>
                <a:lnTo>
                  <a:pt x="5549" y="1317"/>
                </a:lnTo>
                <a:lnTo>
                  <a:pt x="5550" y="1315"/>
                </a:lnTo>
                <a:lnTo>
                  <a:pt x="5552" y="1314"/>
                </a:lnTo>
                <a:lnTo>
                  <a:pt x="5555" y="1313"/>
                </a:lnTo>
                <a:lnTo>
                  <a:pt x="5558" y="1312"/>
                </a:lnTo>
                <a:lnTo>
                  <a:pt x="5561" y="1310"/>
                </a:lnTo>
                <a:lnTo>
                  <a:pt x="5559" y="1304"/>
                </a:lnTo>
                <a:lnTo>
                  <a:pt x="5558" y="1302"/>
                </a:lnTo>
                <a:lnTo>
                  <a:pt x="5558" y="1299"/>
                </a:lnTo>
                <a:lnTo>
                  <a:pt x="5564" y="1299"/>
                </a:lnTo>
                <a:lnTo>
                  <a:pt x="5567" y="1299"/>
                </a:lnTo>
                <a:lnTo>
                  <a:pt x="5570" y="1300"/>
                </a:lnTo>
                <a:lnTo>
                  <a:pt x="5572" y="1301"/>
                </a:lnTo>
                <a:lnTo>
                  <a:pt x="5570" y="1301"/>
                </a:lnTo>
                <a:lnTo>
                  <a:pt x="5569" y="1302"/>
                </a:lnTo>
                <a:lnTo>
                  <a:pt x="5569" y="1303"/>
                </a:lnTo>
                <a:lnTo>
                  <a:pt x="5569" y="1305"/>
                </a:lnTo>
                <a:lnTo>
                  <a:pt x="5569" y="1307"/>
                </a:lnTo>
                <a:lnTo>
                  <a:pt x="5571" y="1307"/>
                </a:lnTo>
                <a:lnTo>
                  <a:pt x="5572" y="1306"/>
                </a:lnTo>
                <a:lnTo>
                  <a:pt x="5573" y="1304"/>
                </a:lnTo>
                <a:lnTo>
                  <a:pt x="5574" y="1302"/>
                </a:lnTo>
                <a:lnTo>
                  <a:pt x="5575" y="1301"/>
                </a:lnTo>
                <a:lnTo>
                  <a:pt x="5578" y="1301"/>
                </a:lnTo>
                <a:lnTo>
                  <a:pt x="5582" y="1302"/>
                </a:lnTo>
                <a:lnTo>
                  <a:pt x="5585" y="1303"/>
                </a:lnTo>
                <a:lnTo>
                  <a:pt x="5589" y="1304"/>
                </a:lnTo>
                <a:lnTo>
                  <a:pt x="5593" y="1298"/>
                </a:lnTo>
                <a:lnTo>
                  <a:pt x="5595" y="1295"/>
                </a:lnTo>
                <a:lnTo>
                  <a:pt x="5597" y="1293"/>
                </a:lnTo>
                <a:lnTo>
                  <a:pt x="5600" y="1298"/>
                </a:lnTo>
                <a:lnTo>
                  <a:pt x="5601" y="1302"/>
                </a:lnTo>
                <a:lnTo>
                  <a:pt x="5601" y="1304"/>
                </a:lnTo>
                <a:lnTo>
                  <a:pt x="5600" y="1304"/>
                </a:lnTo>
                <a:lnTo>
                  <a:pt x="5606" y="1304"/>
                </a:lnTo>
                <a:lnTo>
                  <a:pt x="5607" y="1297"/>
                </a:lnTo>
                <a:lnTo>
                  <a:pt x="5607" y="1294"/>
                </a:lnTo>
                <a:lnTo>
                  <a:pt x="5609" y="1290"/>
                </a:lnTo>
                <a:lnTo>
                  <a:pt x="5617" y="1290"/>
                </a:lnTo>
                <a:lnTo>
                  <a:pt x="5618" y="1288"/>
                </a:lnTo>
                <a:lnTo>
                  <a:pt x="5618" y="1285"/>
                </a:lnTo>
                <a:lnTo>
                  <a:pt x="5618" y="1281"/>
                </a:lnTo>
                <a:lnTo>
                  <a:pt x="5618" y="1277"/>
                </a:lnTo>
                <a:lnTo>
                  <a:pt x="5618" y="1276"/>
                </a:lnTo>
                <a:lnTo>
                  <a:pt x="5619" y="1275"/>
                </a:lnTo>
                <a:lnTo>
                  <a:pt x="5620" y="1273"/>
                </a:lnTo>
                <a:lnTo>
                  <a:pt x="5621" y="1272"/>
                </a:lnTo>
                <a:lnTo>
                  <a:pt x="5622" y="1272"/>
                </a:lnTo>
                <a:lnTo>
                  <a:pt x="5623" y="1273"/>
                </a:lnTo>
                <a:lnTo>
                  <a:pt x="5624" y="1273"/>
                </a:lnTo>
                <a:lnTo>
                  <a:pt x="5625" y="1275"/>
                </a:lnTo>
                <a:lnTo>
                  <a:pt x="5626" y="1276"/>
                </a:lnTo>
                <a:lnTo>
                  <a:pt x="5624" y="1279"/>
                </a:lnTo>
                <a:lnTo>
                  <a:pt x="5620" y="1286"/>
                </a:lnTo>
                <a:lnTo>
                  <a:pt x="5619" y="1290"/>
                </a:lnTo>
                <a:lnTo>
                  <a:pt x="5619" y="1291"/>
                </a:lnTo>
                <a:lnTo>
                  <a:pt x="5619" y="1293"/>
                </a:lnTo>
                <a:lnTo>
                  <a:pt x="5619" y="1294"/>
                </a:lnTo>
                <a:lnTo>
                  <a:pt x="5620" y="1295"/>
                </a:lnTo>
                <a:lnTo>
                  <a:pt x="5621" y="1296"/>
                </a:lnTo>
                <a:lnTo>
                  <a:pt x="5623" y="1296"/>
                </a:lnTo>
                <a:lnTo>
                  <a:pt x="5631" y="1287"/>
                </a:lnTo>
                <a:lnTo>
                  <a:pt x="5635" y="1281"/>
                </a:lnTo>
                <a:lnTo>
                  <a:pt x="5635" y="1278"/>
                </a:lnTo>
                <a:lnTo>
                  <a:pt x="5636" y="1275"/>
                </a:lnTo>
                <a:lnTo>
                  <a:pt x="5635" y="1273"/>
                </a:lnTo>
                <a:lnTo>
                  <a:pt x="5634" y="1271"/>
                </a:lnTo>
                <a:lnTo>
                  <a:pt x="5632" y="1269"/>
                </a:lnTo>
                <a:lnTo>
                  <a:pt x="5628" y="1268"/>
                </a:lnTo>
                <a:lnTo>
                  <a:pt x="5631" y="1266"/>
                </a:lnTo>
                <a:lnTo>
                  <a:pt x="5632" y="1264"/>
                </a:lnTo>
                <a:lnTo>
                  <a:pt x="5632" y="1263"/>
                </a:lnTo>
                <a:lnTo>
                  <a:pt x="5632" y="1261"/>
                </a:lnTo>
                <a:lnTo>
                  <a:pt x="5631" y="1255"/>
                </a:lnTo>
                <a:lnTo>
                  <a:pt x="5631" y="1252"/>
                </a:lnTo>
                <a:lnTo>
                  <a:pt x="5631" y="1250"/>
                </a:lnTo>
                <a:lnTo>
                  <a:pt x="5631" y="1248"/>
                </a:lnTo>
                <a:lnTo>
                  <a:pt x="5637" y="1240"/>
                </a:lnTo>
                <a:lnTo>
                  <a:pt x="5637" y="1235"/>
                </a:lnTo>
                <a:lnTo>
                  <a:pt x="5637" y="1231"/>
                </a:lnTo>
                <a:lnTo>
                  <a:pt x="5637" y="1223"/>
                </a:lnTo>
                <a:lnTo>
                  <a:pt x="5636" y="1214"/>
                </a:lnTo>
                <a:lnTo>
                  <a:pt x="5636" y="1210"/>
                </a:lnTo>
                <a:lnTo>
                  <a:pt x="5637" y="1206"/>
                </a:lnTo>
                <a:lnTo>
                  <a:pt x="5638" y="1204"/>
                </a:lnTo>
                <a:lnTo>
                  <a:pt x="5639" y="1203"/>
                </a:lnTo>
                <a:lnTo>
                  <a:pt x="5642" y="1202"/>
                </a:lnTo>
                <a:lnTo>
                  <a:pt x="5645" y="1202"/>
                </a:lnTo>
                <a:lnTo>
                  <a:pt x="5647" y="1201"/>
                </a:lnTo>
                <a:lnTo>
                  <a:pt x="5648" y="1200"/>
                </a:lnTo>
                <a:lnTo>
                  <a:pt x="5649" y="1199"/>
                </a:lnTo>
                <a:lnTo>
                  <a:pt x="5649" y="1198"/>
                </a:lnTo>
                <a:lnTo>
                  <a:pt x="5647" y="1195"/>
                </a:lnTo>
                <a:lnTo>
                  <a:pt x="5645" y="1193"/>
                </a:lnTo>
                <a:lnTo>
                  <a:pt x="5645" y="1192"/>
                </a:lnTo>
                <a:lnTo>
                  <a:pt x="5651" y="1192"/>
                </a:lnTo>
                <a:lnTo>
                  <a:pt x="5653" y="1185"/>
                </a:lnTo>
                <a:lnTo>
                  <a:pt x="5654" y="1179"/>
                </a:lnTo>
                <a:lnTo>
                  <a:pt x="5655" y="1173"/>
                </a:lnTo>
                <a:lnTo>
                  <a:pt x="5655" y="1168"/>
                </a:lnTo>
                <a:lnTo>
                  <a:pt x="5654" y="1163"/>
                </a:lnTo>
                <a:lnTo>
                  <a:pt x="5653" y="1158"/>
                </a:lnTo>
                <a:lnTo>
                  <a:pt x="5648" y="1147"/>
                </a:lnTo>
                <a:lnTo>
                  <a:pt x="5647" y="1144"/>
                </a:lnTo>
                <a:lnTo>
                  <a:pt x="5647" y="1141"/>
                </a:lnTo>
                <a:lnTo>
                  <a:pt x="5646" y="1137"/>
                </a:lnTo>
                <a:lnTo>
                  <a:pt x="5645" y="1135"/>
                </a:lnTo>
                <a:lnTo>
                  <a:pt x="5628" y="1130"/>
                </a:lnTo>
                <a:close/>
                <a:moveTo>
                  <a:pt x="5651" y="1012"/>
                </a:moveTo>
                <a:lnTo>
                  <a:pt x="5650" y="1012"/>
                </a:lnTo>
                <a:lnTo>
                  <a:pt x="5649" y="1013"/>
                </a:lnTo>
                <a:lnTo>
                  <a:pt x="5648" y="1014"/>
                </a:lnTo>
                <a:lnTo>
                  <a:pt x="5647" y="1015"/>
                </a:lnTo>
                <a:lnTo>
                  <a:pt x="5646" y="1018"/>
                </a:lnTo>
                <a:lnTo>
                  <a:pt x="5645" y="1021"/>
                </a:lnTo>
                <a:lnTo>
                  <a:pt x="5646" y="1024"/>
                </a:lnTo>
                <a:lnTo>
                  <a:pt x="5646" y="1027"/>
                </a:lnTo>
                <a:lnTo>
                  <a:pt x="5647" y="1028"/>
                </a:lnTo>
                <a:lnTo>
                  <a:pt x="5648" y="1028"/>
                </a:lnTo>
                <a:lnTo>
                  <a:pt x="5651" y="1029"/>
                </a:lnTo>
                <a:lnTo>
                  <a:pt x="5651" y="1032"/>
                </a:lnTo>
                <a:lnTo>
                  <a:pt x="5652" y="1037"/>
                </a:lnTo>
                <a:lnTo>
                  <a:pt x="5652" y="1042"/>
                </a:lnTo>
                <a:lnTo>
                  <a:pt x="5652" y="1045"/>
                </a:lnTo>
                <a:lnTo>
                  <a:pt x="5651" y="1048"/>
                </a:lnTo>
                <a:lnTo>
                  <a:pt x="5647" y="1055"/>
                </a:lnTo>
                <a:lnTo>
                  <a:pt x="5644" y="1060"/>
                </a:lnTo>
                <a:lnTo>
                  <a:pt x="5642" y="1062"/>
                </a:lnTo>
                <a:lnTo>
                  <a:pt x="5643" y="1066"/>
                </a:lnTo>
                <a:lnTo>
                  <a:pt x="5644" y="1068"/>
                </a:lnTo>
                <a:lnTo>
                  <a:pt x="5645" y="1070"/>
                </a:lnTo>
                <a:lnTo>
                  <a:pt x="5645" y="1071"/>
                </a:lnTo>
                <a:lnTo>
                  <a:pt x="5645" y="1074"/>
                </a:lnTo>
                <a:lnTo>
                  <a:pt x="5643" y="1074"/>
                </a:lnTo>
                <a:lnTo>
                  <a:pt x="5642" y="1076"/>
                </a:lnTo>
                <a:lnTo>
                  <a:pt x="5641" y="1077"/>
                </a:lnTo>
                <a:lnTo>
                  <a:pt x="5640" y="1079"/>
                </a:lnTo>
                <a:lnTo>
                  <a:pt x="5636" y="1077"/>
                </a:lnTo>
                <a:lnTo>
                  <a:pt x="5634" y="1075"/>
                </a:lnTo>
                <a:lnTo>
                  <a:pt x="5633" y="1074"/>
                </a:lnTo>
                <a:lnTo>
                  <a:pt x="5634" y="1074"/>
                </a:lnTo>
                <a:lnTo>
                  <a:pt x="5627" y="1073"/>
                </a:lnTo>
                <a:lnTo>
                  <a:pt x="5623" y="1074"/>
                </a:lnTo>
                <a:lnTo>
                  <a:pt x="5624" y="1076"/>
                </a:lnTo>
                <a:lnTo>
                  <a:pt x="5624" y="1078"/>
                </a:lnTo>
                <a:lnTo>
                  <a:pt x="5626" y="1082"/>
                </a:lnTo>
                <a:lnTo>
                  <a:pt x="5623" y="1084"/>
                </a:lnTo>
                <a:lnTo>
                  <a:pt x="5620" y="1085"/>
                </a:lnTo>
                <a:lnTo>
                  <a:pt x="5614" y="1088"/>
                </a:lnTo>
                <a:lnTo>
                  <a:pt x="5619" y="1095"/>
                </a:lnTo>
                <a:lnTo>
                  <a:pt x="5622" y="1099"/>
                </a:lnTo>
                <a:lnTo>
                  <a:pt x="5623" y="1102"/>
                </a:lnTo>
                <a:lnTo>
                  <a:pt x="5623" y="1104"/>
                </a:lnTo>
                <a:lnTo>
                  <a:pt x="5623" y="1105"/>
                </a:lnTo>
                <a:lnTo>
                  <a:pt x="5623" y="1107"/>
                </a:lnTo>
                <a:lnTo>
                  <a:pt x="5622" y="1109"/>
                </a:lnTo>
                <a:lnTo>
                  <a:pt x="5621" y="1111"/>
                </a:lnTo>
                <a:lnTo>
                  <a:pt x="5620" y="1113"/>
                </a:lnTo>
                <a:lnTo>
                  <a:pt x="5620" y="1114"/>
                </a:lnTo>
                <a:lnTo>
                  <a:pt x="5621" y="1115"/>
                </a:lnTo>
                <a:lnTo>
                  <a:pt x="5625" y="1114"/>
                </a:lnTo>
                <a:lnTo>
                  <a:pt x="5631" y="1113"/>
                </a:lnTo>
                <a:lnTo>
                  <a:pt x="5640" y="1110"/>
                </a:lnTo>
                <a:lnTo>
                  <a:pt x="5641" y="1110"/>
                </a:lnTo>
                <a:lnTo>
                  <a:pt x="5642" y="1109"/>
                </a:lnTo>
                <a:lnTo>
                  <a:pt x="5642" y="1108"/>
                </a:lnTo>
                <a:lnTo>
                  <a:pt x="5641" y="1106"/>
                </a:lnTo>
                <a:lnTo>
                  <a:pt x="5639" y="1105"/>
                </a:lnTo>
                <a:lnTo>
                  <a:pt x="5633" y="1103"/>
                </a:lnTo>
                <a:lnTo>
                  <a:pt x="5628" y="1102"/>
                </a:lnTo>
                <a:lnTo>
                  <a:pt x="5628" y="1101"/>
                </a:lnTo>
                <a:lnTo>
                  <a:pt x="5628" y="1100"/>
                </a:lnTo>
                <a:lnTo>
                  <a:pt x="5628" y="1097"/>
                </a:lnTo>
                <a:lnTo>
                  <a:pt x="5629" y="1095"/>
                </a:lnTo>
                <a:lnTo>
                  <a:pt x="5628" y="1093"/>
                </a:lnTo>
                <a:lnTo>
                  <a:pt x="5634" y="1092"/>
                </a:lnTo>
                <a:lnTo>
                  <a:pt x="5640" y="1090"/>
                </a:lnTo>
                <a:lnTo>
                  <a:pt x="5643" y="1090"/>
                </a:lnTo>
                <a:lnTo>
                  <a:pt x="5647" y="1089"/>
                </a:lnTo>
                <a:lnTo>
                  <a:pt x="5650" y="1089"/>
                </a:lnTo>
                <a:lnTo>
                  <a:pt x="5654" y="1090"/>
                </a:lnTo>
                <a:lnTo>
                  <a:pt x="5659" y="1102"/>
                </a:lnTo>
                <a:lnTo>
                  <a:pt x="5669" y="1101"/>
                </a:lnTo>
                <a:lnTo>
                  <a:pt x="5674" y="1101"/>
                </a:lnTo>
                <a:lnTo>
                  <a:pt x="5679" y="1102"/>
                </a:lnTo>
                <a:lnTo>
                  <a:pt x="5681" y="1096"/>
                </a:lnTo>
                <a:lnTo>
                  <a:pt x="5682" y="1092"/>
                </a:lnTo>
                <a:lnTo>
                  <a:pt x="5684" y="1088"/>
                </a:lnTo>
                <a:lnTo>
                  <a:pt x="5685" y="1087"/>
                </a:lnTo>
                <a:lnTo>
                  <a:pt x="5687" y="1085"/>
                </a:lnTo>
                <a:lnTo>
                  <a:pt x="5691" y="1083"/>
                </a:lnTo>
                <a:lnTo>
                  <a:pt x="5695" y="1081"/>
                </a:lnTo>
                <a:lnTo>
                  <a:pt x="5702" y="1080"/>
                </a:lnTo>
                <a:lnTo>
                  <a:pt x="5711" y="1078"/>
                </a:lnTo>
                <a:lnTo>
                  <a:pt x="5717" y="1078"/>
                </a:lnTo>
                <a:lnTo>
                  <a:pt x="5722" y="1076"/>
                </a:lnTo>
                <a:lnTo>
                  <a:pt x="5720" y="1073"/>
                </a:lnTo>
                <a:lnTo>
                  <a:pt x="5719" y="1071"/>
                </a:lnTo>
                <a:lnTo>
                  <a:pt x="5713" y="1068"/>
                </a:lnTo>
                <a:lnTo>
                  <a:pt x="5714" y="1065"/>
                </a:lnTo>
                <a:lnTo>
                  <a:pt x="5716" y="1062"/>
                </a:lnTo>
                <a:lnTo>
                  <a:pt x="5717" y="1060"/>
                </a:lnTo>
                <a:lnTo>
                  <a:pt x="5717" y="1057"/>
                </a:lnTo>
                <a:lnTo>
                  <a:pt x="5714" y="1057"/>
                </a:lnTo>
                <a:lnTo>
                  <a:pt x="5713" y="1057"/>
                </a:lnTo>
                <a:lnTo>
                  <a:pt x="5710" y="1059"/>
                </a:lnTo>
                <a:lnTo>
                  <a:pt x="5706" y="1060"/>
                </a:lnTo>
                <a:lnTo>
                  <a:pt x="5704" y="1060"/>
                </a:lnTo>
                <a:lnTo>
                  <a:pt x="5702" y="1059"/>
                </a:lnTo>
                <a:lnTo>
                  <a:pt x="5700" y="1058"/>
                </a:lnTo>
                <a:lnTo>
                  <a:pt x="5700" y="1056"/>
                </a:lnTo>
                <a:lnTo>
                  <a:pt x="5699" y="1054"/>
                </a:lnTo>
                <a:lnTo>
                  <a:pt x="5699" y="1051"/>
                </a:lnTo>
                <a:lnTo>
                  <a:pt x="5692" y="1051"/>
                </a:lnTo>
                <a:lnTo>
                  <a:pt x="5686" y="1051"/>
                </a:lnTo>
                <a:lnTo>
                  <a:pt x="5681" y="1050"/>
                </a:lnTo>
                <a:lnTo>
                  <a:pt x="5679" y="1049"/>
                </a:lnTo>
                <a:lnTo>
                  <a:pt x="5676" y="1048"/>
                </a:lnTo>
                <a:lnTo>
                  <a:pt x="5675" y="1047"/>
                </a:lnTo>
                <a:lnTo>
                  <a:pt x="5673" y="1045"/>
                </a:lnTo>
                <a:lnTo>
                  <a:pt x="5671" y="1039"/>
                </a:lnTo>
                <a:lnTo>
                  <a:pt x="5670" y="1033"/>
                </a:lnTo>
                <a:lnTo>
                  <a:pt x="5668" y="1029"/>
                </a:lnTo>
                <a:lnTo>
                  <a:pt x="5664" y="1024"/>
                </a:lnTo>
                <a:lnTo>
                  <a:pt x="5660" y="1020"/>
                </a:lnTo>
                <a:lnTo>
                  <a:pt x="5655" y="1016"/>
                </a:lnTo>
                <a:lnTo>
                  <a:pt x="5651" y="1012"/>
                </a:lnTo>
                <a:close/>
                <a:moveTo>
                  <a:pt x="5673" y="777"/>
                </a:moveTo>
                <a:lnTo>
                  <a:pt x="5671" y="781"/>
                </a:lnTo>
                <a:lnTo>
                  <a:pt x="5670" y="783"/>
                </a:lnTo>
                <a:lnTo>
                  <a:pt x="5668" y="783"/>
                </a:lnTo>
                <a:lnTo>
                  <a:pt x="5665" y="786"/>
                </a:lnTo>
                <a:lnTo>
                  <a:pt x="5667" y="790"/>
                </a:lnTo>
                <a:lnTo>
                  <a:pt x="5669" y="796"/>
                </a:lnTo>
                <a:lnTo>
                  <a:pt x="5670" y="798"/>
                </a:lnTo>
                <a:lnTo>
                  <a:pt x="5671" y="801"/>
                </a:lnTo>
                <a:lnTo>
                  <a:pt x="5671" y="805"/>
                </a:lnTo>
                <a:lnTo>
                  <a:pt x="5671" y="808"/>
                </a:lnTo>
                <a:lnTo>
                  <a:pt x="5669" y="809"/>
                </a:lnTo>
                <a:lnTo>
                  <a:pt x="5664" y="813"/>
                </a:lnTo>
                <a:lnTo>
                  <a:pt x="5662" y="815"/>
                </a:lnTo>
                <a:lnTo>
                  <a:pt x="5660" y="817"/>
                </a:lnTo>
                <a:lnTo>
                  <a:pt x="5658" y="820"/>
                </a:lnTo>
                <a:lnTo>
                  <a:pt x="5657" y="822"/>
                </a:lnTo>
                <a:lnTo>
                  <a:pt x="5655" y="828"/>
                </a:lnTo>
                <a:lnTo>
                  <a:pt x="5655" y="834"/>
                </a:lnTo>
                <a:lnTo>
                  <a:pt x="5655" y="839"/>
                </a:lnTo>
                <a:lnTo>
                  <a:pt x="5655" y="844"/>
                </a:lnTo>
                <a:lnTo>
                  <a:pt x="5656" y="849"/>
                </a:lnTo>
                <a:lnTo>
                  <a:pt x="5658" y="853"/>
                </a:lnTo>
                <a:lnTo>
                  <a:pt x="5659" y="857"/>
                </a:lnTo>
                <a:lnTo>
                  <a:pt x="5659" y="862"/>
                </a:lnTo>
                <a:lnTo>
                  <a:pt x="5660" y="870"/>
                </a:lnTo>
                <a:lnTo>
                  <a:pt x="5660" y="878"/>
                </a:lnTo>
                <a:lnTo>
                  <a:pt x="5659" y="894"/>
                </a:lnTo>
                <a:lnTo>
                  <a:pt x="5658" y="909"/>
                </a:lnTo>
                <a:lnTo>
                  <a:pt x="5657" y="922"/>
                </a:lnTo>
                <a:lnTo>
                  <a:pt x="5658" y="921"/>
                </a:lnTo>
                <a:lnTo>
                  <a:pt x="5659" y="922"/>
                </a:lnTo>
                <a:lnTo>
                  <a:pt x="5659" y="924"/>
                </a:lnTo>
                <a:lnTo>
                  <a:pt x="5660" y="925"/>
                </a:lnTo>
                <a:lnTo>
                  <a:pt x="5659" y="930"/>
                </a:lnTo>
                <a:lnTo>
                  <a:pt x="5659" y="933"/>
                </a:lnTo>
                <a:lnTo>
                  <a:pt x="5658" y="934"/>
                </a:lnTo>
                <a:lnTo>
                  <a:pt x="5657" y="936"/>
                </a:lnTo>
                <a:lnTo>
                  <a:pt x="5657" y="939"/>
                </a:lnTo>
                <a:lnTo>
                  <a:pt x="5662" y="950"/>
                </a:lnTo>
                <a:lnTo>
                  <a:pt x="5662" y="955"/>
                </a:lnTo>
                <a:lnTo>
                  <a:pt x="5661" y="962"/>
                </a:lnTo>
                <a:lnTo>
                  <a:pt x="5659" y="975"/>
                </a:lnTo>
                <a:lnTo>
                  <a:pt x="5656" y="990"/>
                </a:lnTo>
                <a:lnTo>
                  <a:pt x="5654" y="1003"/>
                </a:lnTo>
                <a:lnTo>
                  <a:pt x="5657" y="997"/>
                </a:lnTo>
                <a:lnTo>
                  <a:pt x="5660" y="992"/>
                </a:lnTo>
                <a:lnTo>
                  <a:pt x="5662" y="989"/>
                </a:lnTo>
                <a:lnTo>
                  <a:pt x="5663" y="989"/>
                </a:lnTo>
                <a:lnTo>
                  <a:pt x="5663" y="988"/>
                </a:lnTo>
                <a:lnTo>
                  <a:pt x="5664" y="988"/>
                </a:lnTo>
                <a:lnTo>
                  <a:pt x="5666" y="989"/>
                </a:lnTo>
                <a:lnTo>
                  <a:pt x="5668" y="991"/>
                </a:lnTo>
                <a:lnTo>
                  <a:pt x="5676" y="998"/>
                </a:lnTo>
                <a:lnTo>
                  <a:pt x="5677" y="999"/>
                </a:lnTo>
                <a:lnTo>
                  <a:pt x="5679" y="1002"/>
                </a:lnTo>
                <a:lnTo>
                  <a:pt x="5682" y="1006"/>
                </a:lnTo>
                <a:lnTo>
                  <a:pt x="5681" y="1002"/>
                </a:lnTo>
                <a:lnTo>
                  <a:pt x="5682" y="999"/>
                </a:lnTo>
                <a:lnTo>
                  <a:pt x="5682" y="996"/>
                </a:lnTo>
                <a:lnTo>
                  <a:pt x="5682" y="992"/>
                </a:lnTo>
                <a:lnTo>
                  <a:pt x="5679" y="987"/>
                </a:lnTo>
                <a:lnTo>
                  <a:pt x="5675" y="980"/>
                </a:lnTo>
                <a:lnTo>
                  <a:pt x="5670" y="973"/>
                </a:lnTo>
                <a:lnTo>
                  <a:pt x="5669" y="970"/>
                </a:lnTo>
                <a:lnTo>
                  <a:pt x="5668" y="967"/>
                </a:lnTo>
                <a:lnTo>
                  <a:pt x="5667" y="960"/>
                </a:lnTo>
                <a:lnTo>
                  <a:pt x="5668" y="954"/>
                </a:lnTo>
                <a:lnTo>
                  <a:pt x="5669" y="947"/>
                </a:lnTo>
                <a:lnTo>
                  <a:pt x="5670" y="941"/>
                </a:lnTo>
                <a:lnTo>
                  <a:pt x="5673" y="929"/>
                </a:lnTo>
                <a:lnTo>
                  <a:pt x="5675" y="923"/>
                </a:lnTo>
                <a:lnTo>
                  <a:pt x="5676" y="916"/>
                </a:lnTo>
                <a:lnTo>
                  <a:pt x="5679" y="915"/>
                </a:lnTo>
                <a:lnTo>
                  <a:pt x="5679" y="913"/>
                </a:lnTo>
                <a:lnTo>
                  <a:pt x="5679" y="910"/>
                </a:lnTo>
                <a:lnTo>
                  <a:pt x="5682" y="911"/>
                </a:lnTo>
                <a:lnTo>
                  <a:pt x="5686" y="910"/>
                </a:lnTo>
                <a:lnTo>
                  <a:pt x="5690" y="910"/>
                </a:lnTo>
                <a:lnTo>
                  <a:pt x="5692" y="910"/>
                </a:lnTo>
                <a:lnTo>
                  <a:pt x="5693" y="910"/>
                </a:lnTo>
                <a:lnTo>
                  <a:pt x="5695" y="912"/>
                </a:lnTo>
                <a:lnTo>
                  <a:pt x="5699" y="915"/>
                </a:lnTo>
                <a:lnTo>
                  <a:pt x="5704" y="922"/>
                </a:lnTo>
                <a:lnTo>
                  <a:pt x="5701" y="915"/>
                </a:lnTo>
                <a:lnTo>
                  <a:pt x="5697" y="906"/>
                </a:lnTo>
                <a:lnTo>
                  <a:pt x="5695" y="902"/>
                </a:lnTo>
                <a:lnTo>
                  <a:pt x="5693" y="898"/>
                </a:lnTo>
                <a:lnTo>
                  <a:pt x="5690" y="895"/>
                </a:lnTo>
                <a:lnTo>
                  <a:pt x="5687" y="893"/>
                </a:lnTo>
                <a:lnTo>
                  <a:pt x="5685" y="893"/>
                </a:lnTo>
                <a:lnTo>
                  <a:pt x="5684" y="889"/>
                </a:lnTo>
                <a:lnTo>
                  <a:pt x="5684" y="882"/>
                </a:lnTo>
                <a:lnTo>
                  <a:pt x="5685" y="864"/>
                </a:lnTo>
                <a:lnTo>
                  <a:pt x="5685" y="848"/>
                </a:lnTo>
                <a:lnTo>
                  <a:pt x="5684" y="843"/>
                </a:lnTo>
                <a:lnTo>
                  <a:pt x="5683" y="840"/>
                </a:lnTo>
                <a:lnTo>
                  <a:pt x="5682" y="839"/>
                </a:lnTo>
                <a:lnTo>
                  <a:pt x="5683" y="836"/>
                </a:lnTo>
                <a:lnTo>
                  <a:pt x="5685" y="833"/>
                </a:lnTo>
                <a:lnTo>
                  <a:pt x="5687" y="829"/>
                </a:lnTo>
                <a:lnTo>
                  <a:pt x="5687" y="827"/>
                </a:lnTo>
                <a:lnTo>
                  <a:pt x="5687" y="825"/>
                </a:lnTo>
                <a:lnTo>
                  <a:pt x="5687" y="823"/>
                </a:lnTo>
                <a:lnTo>
                  <a:pt x="5686" y="821"/>
                </a:lnTo>
                <a:lnTo>
                  <a:pt x="5682" y="815"/>
                </a:lnTo>
                <a:lnTo>
                  <a:pt x="5678" y="810"/>
                </a:lnTo>
                <a:lnTo>
                  <a:pt x="5677" y="807"/>
                </a:lnTo>
                <a:lnTo>
                  <a:pt x="5676" y="805"/>
                </a:lnTo>
                <a:lnTo>
                  <a:pt x="5676" y="803"/>
                </a:lnTo>
                <a:lnTo>
                  <a:pt x="5677" y="801"/>
                </a:lnTo>
                <a:lnTo>
                  <a:pt x="5679" y="797"/>
                </a:lnTo>
                <a:lnTo>
                  <a:pt x="5681" y="793"/>
                </a:lnTo>
                <a:lnTo>
                  <a:pt x="5682" y="788"/>
                </a:lnTo>
                <a:lnTo>
                  <a:pt x="5681" y="787"/>
                </a:lnTo>
                <a:lnTo>
                  <a:pt x="5681" y="786"/>
                </a:lnTo>
                <a:lnTo>
                  <a:pt x="5678" y="783"/>
                </a:lnTo>
                <a:lnTo>
                  <a:pt x="5675" y="780"/>
                </a:lnTo>
                <a:lnTo>
                  <a:pt x="5673" y="777"/>
                </a:lnTo>
                <a:close/>
                <a:moveTo>
                  <a:pt x="2998" y="634"/>
                </a:moveTo>
                <a:lnTo>
                  <a:pt x="2994" y="638"/>
                </a:lnTo>
                <a:lnTo>
                  <a:pt x="2991" y="641"/>
                </a:lnTo>
                <a:lnTo>
                  <a:pt x="2989" y="642"/>
                </a:lnTo>
                <a:lnTo>
                  <a:pt x="2981" y="636"/>
                </a:lnTo>
                <a:lnTo>
                  <a:pt x="2980" y="639"/>
                </a:lnTo>
                <a:lnTo>
                  <a:pt x="2981" y="642"/>
                </a:lnTo>
                <a:lnTo>
                  <a:pt x="2981" y="645"/>
                </a:lnTo>
                <a:lnTo>
                  <a:pt x="2981" y="648"/>
                </a:lnTo>
                <a:lnTo>
                  <a:pt x="2975" y="651"/>
                </a:lnTo>
                <a:lnTo>
                  <a:pt x="2974" y="653"/>
                </a:lnTo>
                <a:lnTo>
                  <a:pt x="2973" y="655"/>
                </a:lnTo>
                <a:lnTo>
                  <a:pt x="2974" y="657"/>
                </a:lnTo>
                <a:lnTo>
                  <a:pt x="2974" y="658"/>
                </a:lnTo>
                <a:lnTo>
                  <a:pt x="2976" y="661"/>
                </a:lnTo>
                <a:lnTo>
                  <a:pt x="2976" y="662"/>
                </a:lnTo>
                <a:lnTo>
                  <a:pt x="2975" y="665"/>
                </a:lnTo>
                <a:lnTo>
                  <a:pt x="2967" y="665"/>
                </a:lnTo>
                <a:lnTo>
                  <a:pt x="2967" y="669"/>
                </a:lnTo>
                <a:lnTo>
                  <a:pt x="2967" y="673"/>
                </a:lnTo>
                <a:lnTo>
                  <a:pt x="2964" y="673"/>
                </a:lnTo>
                <a:lnTo>
                  <a:pt x="2965" y="674"/>
                </a:lnTo>
                <a:lnTo>
                  <a:pt x="2966" y="676"/>
                </a:lnTo>
                <a:lnTo>
                  <a:pt x="2967" y="681"/>
                </a:lnTo>
                <a:lnTo>
                  <a:pt x="2971" y="681"/>
                </a:lnTo>
                <a:lnTo>
                  <a:pt x="2968" y="681"/>
                </a:lnTo>
                <a:lnTo>
                  <a:pt x="2967" y="682"/>
                </a:lnTo>
                <a:lnTo>
                  <a:pt x="2969" y="684"/>
                </a:lnTo>
                <a:lnTo>
                  <a:pt x="2966" y="685"/>
                </a:lnTo>
                <a:lnTo>
                  <a:pt x="2964" y="685"/>
                </a:lnTo>
                <a:lnTo>
                  <a:pt x="2964" y="686"/>
                </a:lnTo>
                <a:lnTo>
                  <a:pt x="2964" y="687"/>
                </a:lnTo>
                <a:lnTo>
                  <a:pt x="2964" y="688"/>
                </a:lnTo>
                <a:lnTo>
                  <a:pt x="2965" y="690"/>
                </a:lnTo>
                <a:lnTo>
                  <a:pt x="2967" y="691"/>
                </a:lnTo>
                <a:lnTo>
                  <a:pt x="2969" y="693"/>
                </a:lnTo>
                <a:lnTo>
                  <a:pt x="2964" y="696"/>
                </a:lnTo>
                <a:lnTo>
                  <a:pt x="2964" y="700"/>
                </a:lnTo>
                <a:lnTo>
                  <a:pt x="2964" y="707"/>
                </a:lnTo>
                <a:lnTo>
                  <a:pt x="2969" y="707"/>
                </a:lnTo>
                <a:lnTo>
                  <a:pt x="2974" y="706"/>
                </a:lnTo>
                <a:lnTo>
                  <a:pt x="2975" y="706"/>
                </a:lnTo>
                <a:lnTo>
                  <a:pt x="2974" y="707"/>
                </a:lnTo>
                <a:lnTo>
                  <a:pt x="2972" y="710"/>
                </a:lnTo>
                <a:lnTo>
                  <a:pt x="2969" y="711"/>
                </a:lnTo>
                <a:lnTo>
                  <a:pt x="2967" y="712"/>
                </a:lnTo>
                <a:lnTo>
                  <a:pt x="2967" y="715"/>
                </a:lnTo>
                <a:lnTo>
                  <a:pt x="2967" y="718"/>
                </a:lnTo>
                <a:lnTo>
                  <a:pt x="2968" y="721"/>
                </a:lnTo>
                <a:lnTo>
                  <a:pt x="2967" y="724"/>
                </a:lnTo>
                <a:lnTo>
                  <a:pt x="2967" y="726"/>
                </a:lnTo>
                <a:lnTo>
                  <a:pt x="2969" y="725"/>
                </a:lnTo>
                <a:lnTo>
                  <a:pt x="2970" y="723"/>
                </a:lnTo>
                <a:lnTo>
                  <a:pt x="2972" y="718"/>
                </a:lnTo>
                <a:lnTo>
                  <a:pt x="2975" y="719"/>
                </a:lnTo>
                <a:lnTo>
                  <a:pt x="2977" y="718"/>
                </a:lnTo>
                <a:lnTo>
                  <a:pt x="2979" y="718"/>
                </a:lnTo>
                <a:lnTo>
                  <a:pt x="2981" y="718"/>
                </a:lnTo>
                <a:lnTo>
                  <a:pt x="2981" y="724"/>
                </a:lnTo>
                <a:lnTo>
                  <a:pt x="2980" y="727"/>
                </a:lnTo>
                <a:lnTo>
                  <a:pt x="2979" y="735"/>
                </a:lnTo>
                <a:lnTo>
                  <a:pt x="2977" y="746"/>
                </a:lnTo>
                <a:lnTo>
                  <a:pt x="2975" y="755"/>
                </a:lnTo>
                <a:lnTo>
                  <a:pt x="2991" y="753"/>
                </a:lnTo>
                <a:lnTo>
                  <a:pt x="3012" y="752"/>
                </a:lnTo>
                <a:lnTo>
                  <a:pt x="3008" y="759"/>
                </a:lnTo>
                <a:lnTo>
                  <a:pt x="3003" y="766"/>
                </a:lnTo>
                <a:lnTo>
                  <a:pt x="3007" y="767"/>
                </a:lnTo>
                <a:lnTo>
                  <a:pt x="3011" y="767"/>
                </a:lnTo>
                <a:lnTo>
                  <a:pt x="3020" y="769"/>
                </a:lnTo>
                <a:lnTo>
                  <a:pt x="3017" y="783"/>
                </a:lnTo>
                <a:lnTo>
                  <a:pt x="3015" y="788"/>
                </a:lnTo>
                <a:lnTo>
                  <a:pt x="3014" y="789"/>
                </a:lnTo>
                <a:lnTo>
                  <a:pt x="3012" y="791"/>
                </a:lnTo>
                <a:lnTo>
                  <a:pt x="3011" y="792"/>
                </a:lnTo>
                <a:lnTo>
                  <a:pt x="3009" y="792"/>
                </a:lnTo>
                <a:lnTo>
                  <a:pt x="3003" y="792"/>
                </a:lnTo>
                <a:lnTo>
                  <a:pt x="2996" y="791"/>
                </a:lnTo>
                <a:lnTo>
                  <a:pt x="2986" y="788"/>
                </a:lnTo>
                <a:lnTo>
                  <a:pt x="2987" y="792"/>
                </a:lnTo>
                <a:lnTo>
                  <a:pt x="2986" y="797"/>
                </a:lnTo>
                <a:lnTo>
                  <a:pt x="2988" y="796"/>
                </a:lnTo>
                <a:lnTo>
                  <a:pt x="2989" y="796"/>
                </a:lnTo>
                <a:lnTo>
                  <a:pt x="2990" y="796"/>
                </a:lnTo>
                <a:lnTo>
                  <a:pt x="2991" y="797"/>
                </a:lnTo>
                <a:lnTo>
                  <a:pt x="2992" y="800"/>
                </a:lnTo>
                <a:lnTo>
                  <a:pt x="2989" y="803"/>
                </a:lnTo>
                <a:lnTo>
                  <a:pt x="2986" y="806"/>
                </a:lnTo>
                <a:lnTo>
                  <a:pt x="2981" y="814"/>
                </a:lnTo>
                <a:lnTo>
                  <a:pt x="2986" y="812"/>
                </a:lnTo>
                <a:lnTo>
                  <a:pt x="2988" y="811"/>
                </a:lnTo>
                <a:lnTo>
                  <a:pt x="2992" y="811"/>
                </a:lnTo>
                <a:lnTo>
                  <a:pt x="2992" y="817"/>
                </a:lnTo>
                <a:lnTo>
                  <a:pt x="2992" y="822"/>
                </a:lnTo>
                <a:lnTo>
                  <a:pt x="2987" y="825"/>
                </a:lnTo>
                <a:lnTo>
                  <a:pt x="2982" y="828"/>
                </a:lnTo>
                <a:lnTo>
                  <a:pt x="2978" y="830"/>
                </a:lnTo>
                <a:lnTo>
                  <a:pt x="2972" y="833"/>
                </a:lnTo>
                <a:lnTo>
                  <a:pt x="2974" y="842"/>
                </a:lnTo>
                <a:lnTo>
                  <a:pt x="2975" y="844"/>
                </a:lnTo>
                <a:lnTo>
                  <a:pt x="2977" y="845"/>
                </a:lnTo>
                <a:lnTo>
                  <a:pt x="2978" y="845"/>
                </a:lnTo>
                <a:lnTo>
                  <a:pt x="2981" y="844"/>
                </a:lnTo>
                <a:lnTo>
                  <a:pt x="2989" y="839"/>
                </a:lnTo>
                <a:lnTo>
                  <a:pt x="2989" y="847"/>
                </a:lnTo>
                <a:lnTo>
                  <a:pt x="2995" y="846"/>
                </a:lnTo>
                <a:lnTo>
                  <a:pt x="2999" y="845"/>
                </a:lnTo>
                <a:lnTo>
                  <a:pt x="3006" y="845"/>
                </a:lnTo>
                <a:lnTo>
                  <a:pt x="3009" y="844"/>
                </a:lnTo>
                <a:lnTo>
                  <a:pt x="3012" y="843"/>
                </a:lnTo>
                <a:lnTo>
                  <a:pt x="3023" y="843"/>
                </a:lnTo>
                <a:lnTo>
                  <a:pt x="3021" y="843"/>
                </a:lnTo>
                <a:lnTo>
                  <a:pt x="3020" y="844"/>
                </a:lnTo>
                <a:lnTo>
                  <a:pt x="3019" y="847"/>
                </a:lnTo>
                <a:lnTo>
                  <a:pt x="3017" y="853"/>
                </a:lnTo>
                <a:lnTo>
                  <a:pt x="2986" y="853"/>
                </a:lnTo>
                <a:lnTo>
                  <a:pt x="2981" y="863"/>
                </a:lnTo>
                <a:lnTo>
                  <a:pt x="2978" y="869"/>
                </a:lnTo>
                <a:lnTo>
                  <a:pt x="2974" y="873"/>
                </a:lnTo>
                <a:lnTo>
                  <a:pt x="2971" y="877"/>
                </a:lnTo>
                <a:lnTo>
                  <a:pt x="2967" y="881"/>
                </a:lnTo>
                <a:lnTo>
                  <a:pt x="2963" y="885"/>
                </a:lnTo>
                <a:lnTo>
                  <a:pt x="2958" y="888"/>
                </a:lnTo>
                <a:lnTo>
                  <a:pt x="2961" y="888"/>
                </a:lnTo>
                <a:lnTo>
                  <a:pt x="2963" y="888"/>
                </a:lnTo>
                <a:lnTo>
                  <a:pt x="2967" y="890"/>
                </a:lnTo>
                <a:lnTo>
                  <a:pt x="2970" y="891"/>
                </a:lnTo>
                <a:lnTo>
                  <a:pt x="2973" y="891"/>
                </a:lnTo>
                <a:lnTo>
                  <a:pt x="2975" y="891"/>
                </a:lnTo>
                <a:lnTo>
                  <a:pt x="2975" y="882"/>
                </a:lnTo>
                <a:lnTo>
                  <a:pt x="2981" y="879"/>
                </a:lnTo>
                <a:lnTo>
                  <a:pt x="2986" y="877"/>
                </a:lnTo>
                <a:lnTo>
                  <a:pt x="2989" y="876"/>
                </a:lnTo>
                <a:lnTo>
                  <a:pt x="2992" y="877"/>
                </a:lnTo>
                <a:lnTo>
                  <a:pt x="2994" y="877"/>
                </a:lnTo>
                <a:lnTo>
                  <a:pt x="2996" y="878"/>
                </a:lnTo>
                <a:lnTo>
                  <a:pt x="2999" y="879"/>
                </a:lnTo>
                <a:lnTo>
                  <a:pt x="3001" y="880"/>
                </a:lnTo>
                <a:lnTo>
                  <a:pt x="3003" y="879"/>
                </a:lnTo>
                <a:lnTo>
                  <a:pt x="3006" y="875"/>
                </a:lnTo>
                <a:lnTo>
                  <a:pt x="3009" y="871"/>
                </a:lnTo>
                <a:lnTo>
                  <a:pt x="3012" y="871"/>
                </a:lnTo>
                <a:lnTo>
                  <a:pt x="3015" y="871"/>
                </a:lnTo>
                <a:lnTo>
                  <a:pt x="3021" y="872"/>
                </a:lnTo>
                <a:lnTo>
                  <a:pt x="3027" y="874"/>
                </a:lnTo>
                <a:lnTo>
                  <a:pt x="3029" y="874"/>
                </a:lnTo>
                <a:lnTo>
                  <a:pt x="3031" y="874"/>
                </a:lnTo>
                <a:lnTo>
                  <a:pt x="3033" y="872"/>
                </a:lnTo>
                <a:lnTo>
                  <a:pt x="3034" y="870"/>
                </a:lnTo>
                <a:lnTo>
                  <a:pt x="3036" y="867"/>
                </a:lnTo>
                <a:lnTo>
                  <a:pt x="3037" y="864"/>
                </a:lnTo>
                <a:lnTo>
                  <a:pt x="3041" y="864"/>
                </a:lnTo>
                <a:lnTo>
                  <a:pt x="3046" y="864"/>
                </a:lnTo>
                <a:lnTo>
                  <a:pt x="3057" y="865"/>
                </a:lnTo>
                <a:lnTo>
                  <a:pt x="3067" y="868"/>
                </a:lnTo>
                <a:lnTo>
                  <a:pt x="3072" y="868"/>
                </a:lnTo>
                <a:lnTo>
                  <a:pt x="3076" y="868"/>
                </a:lnTo>
                <a:lnTo>
                  <a:pt x="3080" y="867"/>
                </a:lnTo>
                <a:lnTo>
                  <a:pt x="3084" y="864"/>
                </a:lnTo>
                <a:lnTo>
                  <a:pt x="3089" y="861"/>
                </a:lnTo>
                <a:lnTo>
                  <a:pt x="3093" y="859"/>
                </a:lnTo>
                <a:lnTo>
                  <a:pt x="3093" y="853"/>
                </a:lnTo>
                <a:lnTo>
                  <a:pt x="3090" y="853"/>
                </a:lnTo>
                <a:lnTo>
                  <a:pt x="3086" y="853"/>
                </a:lnTo>
                <a:lnTo>
                  <a:pt x="3079" y="853"/>
                </a:lnTo>
                <a:lnTo>
                  <a:pt x="3081" y="850"/>
                </a:lnTo>
                <a:lnTo>
                  <a:pt x="3082" y="846"/>
                </a:lnTo>
                <a:lnTo>
                  <a:pt x="3083" y="842"/>
                </a:lnTo>
                <a:lnTo>
                  <a:pt x="3084" y="840"/>
                </a:lnTo>
                <a:lnTo>
                  <a:pt x="3085" y="839"/>
                </a:lnTo>
                <a:lnTo>
                  <a:pt x="3087" y="838"/>
                </a:lnTo>
                <a:lnTo>
                  <a:pt x="3089" y="838"/>
                </a:lnTo>
                <a:lnTo>
                  <a:pt x="3093" y="838"/>
                </a:lnTo>
                <a:lnTo>
                  <a:pt x="3096" y="838"/>
                </a:lnTo>
                <a:lnTo>
                  <a:pt x="3098" y="837"/>
                </a:lnTo>
                <a:lnTo>
                  <a:pt x="3099" y="836"/>
                </a:lnTo>
                <a:lnTo>
                  <a:pt x="3100" y="834"/>
                </a:lnTo>
                <a:lnTo>
                  <a:pt x="3101" y="832"/>
                </a:lnTo>
                <a:lnTo>
                  <a:pt x="3102" y="827"/>
                </a:lnTo>
                <a:lnTo>
                  <a:pt x="3103" y="821"/>
                </a:lnTo>
                <a:lnTo>
                  <a:pt x="3104" y="817"/>
                </a:lnTo>
                <a:lnTo>
                  <a:pt x="3103" y="816"/>
                </a:lnTo>
                <a:lnTo>
                  <a:pt x="3102" y="814"/>
                </a:lnTo>
                <a:lnTo>
                  <a:pt x="3101" y="812"/>
                </a:lnTo>
                <a:lnTo>
                  <a:pt x="3101" y="810"/>
                </a:lnTo>
                <a:lnTo>
                  <a:pt x="3099" y="808"/>
                </a:lnTo>
                <a:lnTo>
                  <a:pt x="3095" y="807"/>
                </a:lnTo>
                <a:lnTo>
                  <a:pt x="3092" y="806"/>
                </a:lnTo>
                <a:lnTo>
                  <a:pt x="3088" y="806"/>
                </a:lnTo>
                <a:lnTo>
                  <a:pt x="3087" y="806"/>
                </a:lnTo>
                <a:lnTo>
                  <a:pt x="3085" y="805"/>
                </a:lnTo>
                <a:lnTo>
                  <a:pt x="3082" y="814"/>
                </a:lnTo>
                <a:lnTo>
                  <a:pt x="3081" y="814"/>
                </a:lnTo>
                <a:lnTo>
                  <a:pt x="3080" y="814"/>
                </a:lnTo>
                <a:lnTo>
                  <a:pt x="3078" y="812"/>
                </a:lnTo>
                <a:lnTo>
                  <a:pt x="3078" y="811"/>
                </a:lnTo>
                <a:lnTo>
                  <a:pt x="3077" y="810"/>
                </a:lnTo>
                <a:lnTo>
                  <a:pt x="3076" y="810"/>
                </a:lnTo>
                <a:lnTo>
                  <a:pt x="3074" y="811"/>
                </a:lnTo>
                <a:lnTo>
                  <a:pt x="3075" y="804"/>
                </a:lnTo>
                <a:lnTo>
                  <a:pt x="3076" y="794"/>
                </a:lnTo>
                <a:lnTo>
                  <a:pt x="3073" y="793"/>
                </a:lnTo>
                <a:lnTo>
                  <a:pt x="3072" y="793"/>
                </a:lnTo>
                <a:lnTo>
                  <a:pt x="3072" y="792"/>
                </a:lnTo>
                <a:lnTo>
                  <a:pt x="3071" y="788"/>
                </a:lnTo>
                <a:lnTo>
                  <a:pt x="3073" y="788"/>
                </a:lnTo>
                <a:lnTo>
                  <a:pt x="3076" y="788"/>
                </a:lnTo>
                <a:lnTo>
                  <a:pt x="3077" y="787"/>
                </a:lnTo>
                <a:lnTo>
                  <a:pt x="3077" y="786"/>
                </a:lnTo>
                <a:lnTo>
                  <a:pt x="3077" y="785"/>
                </a:lnTo>
                <a:lnTo>
                  <a:pt x="3076" y="783"/>
                </a:lnTo>
                <a:lnTo>
                  <a:pt x="3071" y="783"/>
                </a:lnTo>
                <a:lnTo>
                  <a:pt x="3068" y="779"/>
                </a:lnTo>
                <a:lnTo>
                  <a:pt x="3062" y="772"/>
                </a:lnTo>
                <a:lnTo>
                  <a:pt x="3057" y="764"/>
                </a:lnTo>
                <a:lnTo>
                  <a:pt x="3054" y="760"/>
                </a:lnTo>
                <a:lnTo>
                  <a:pt x="3051" y="759"/>
                </a:lnTo>
                <a:lnTo>
                  <a:pt x="3049" y="759"/>
                </a:lnTo>
                <a:lnTo>
                  <a:pt x="3047" y="759"/>
                </a:lnTo>
                <a:lnTo>
                  <a:pt x="3045" y="757"/>
                </a:lnTo>
                <a:lnTo>
                  <a:pt x="3044" y="754"/>
                </a:lnTo>
                <a:lnTo>
                  <a:pt x="3042" y="751"/>
                </a:lnTo>
                <a:lnTo>
                  <a:pt x="3040" y="743"/>
                </a:lnTo>
                <a:lnTo>
                  <a:pt x="3039" y="739"/>
                </a:lnTo>
                <a:lnTo>
                  <a:pt x="3038" y="735"/>
                </a:lnTo>
                <a:lnTo>
                  <a:pt x="3036" y="732"/>
                </a:lnTo>
                <a:lnTo>
                  <a:pt x="3034" y="729"/>
                </a:lnTo>
                <a:lnTo>
                  <a:pt x="3032" y="728"/>
                </a:lnTo>
                <a:lnTo>
                  <a:pt x="3030" y="728"/>
                </a:lnTo>
                <a:lnTo>
                  <a:pt x="3027" y="728"/>
                </a:lnTo>
                <a:lnTo>
                  <a:pt x="3026" y="726"/>
                </a:lnTo>
                <a:lnTo>
                  <a:pt x="3026" y="721"/>
                </a:lnTo>
                <a:lnTo>
                  <a:pt x="3024" y="720"/>
                </a:lnTo>
                <a:lnTo>
                  <a:pt x="3022" y="720"/>
                </a:lnTo>
                <a:lnTo>
                  <a:pt x="3020" y="721"/>
                </a:lnTo>
                <a:lnTo>
                  <a:pt x="3019" y="721"/>
                </a:lnTo>
                <a:lnTo>
                  <a:pt x="3018" y="721"/>
                </a:lnTo>
                <a:lnTo>
                  <a:pt x="3016" y="721"/>
                </a:lnTo>
                <a:lnTo>
                  <a:pt x="3014" y="721"/>
                </a:lnTo>
                <a:lnTo>
                  <a:pt x="3017" y="717"/>
                </a:lnTo>
                <a:lnTo>
                  <a:pt x="3020" y="714"/>
                </a:lnTo>
                <a:lnTo>
                  <a:pt x="3021" y="711"/>
                </a:lnTo>
                <a:lnTo>
                  <a:pt x="3023" y="708"/>
                </a:lnTo>
                <a:lnTo>
                  <a:pt x="3023" y="705"/>
                </a:lnTo>
                <a:lnTo>
                  <a:pt x="3022" y="704"/>
                </a:lnTo>
                <a:lnTo>
                  <a:pt x="3021" y="703"/>
                </a:lnTo>
                <a:lnTo>
                  <a:pt x="3017" y="701"/>
                </a:lnTo>
                <a:lnTo>
                  <a:pt x="3024" y="696"/>
                </a:lnTo>
                <a:lnTo>
                  <a:pt x="3029" y="692"/>
                </a:lnTo>
                <a:lnTo>
                  <a:pt x="3031" y="690"/>
                </a:lnTo>
                <a:lnTo>
                  <a:pt x="3033" y="684"/>
                </a:lnTo>
                <a:lnTo>
                  <a:pt x="3035" y="679"/>
                </a:lnTo>
                <a:lnTo>
                  <a:pt x="3035" y="675"/>
                </a:lnTo>
                <a:lnTo>
                  <a:pt x="3034" y="673"/>
                </a:lnTo>
                <a:lnTo>
                  <a:pt x="3034" y="672"/>
                </a:lnTo>
                <a:lnTo>
                  <a:pt x="3032" y="670"/>
                </a:lnTo>
                <a:lnTo>
                  <a:pt x="3030" y="668"/>
                </a:lnTo>
                <a:lnTo>
                  <a:pt x="3028" y="668"/>
                </a:lnTo>
                <a:lnTo>
                  <a:pt x="3025" y="667"/>
                </a:lnTo>
                <a:lnTo>
                  <a:pt x="3021" y="668"/>
                </a:lnTo>
                <a:lnTo>
                  <a:pt x="3018" y="668"/>
                </a:lnTo>
                <a:lnTo>
                  <a:pt x="3010" y="670"/>
                </a:lnTo>
                <a:lnTo>
                  <a:pt x="3003" y="672"/>
                </a:lnTo>
                <a:lnTo>
                  <a:pt x="3000" y="673"/>
                </a:lnTo>
                <a:lnTo>
                  <a:pt x="2998" y="673"/>
                </a:lnTo>
                <a:lnTo>
                  <a:pt x="2996" y="673"/>
                </a:lnTo>
                <a:lnTo>
                  <a:pt x="2995" y="673"/>
                </a:lnTo>
                <a:lnTo>
                  <a:pt x="2995" y="671"/>
                </a:lnTo>
                <a:lnTo>
                  <a:pt x="2995" y="670"/>
                </a:lnTo>
                <a:lnTo>
                  <a:pt x="2992" y="670"/>
                </a:lnTo>
                <a:lnTo>
                  <a:pt x="2993" y="668"/>
                </a:lnTo>
                <a:lnTo>
                  <a:pt x="2993" y="665"/>
                </a:lnTo>
                <a:lnTo>
                  <a:pt x="2994" y="661"/>
                </a:lnTo>
                <a:lnTo>
                  <a:pt x="2995" y="659"/>
                </a:lnTo>
                <a:lnTo>
                  <a:pt x="2997" y="657"/>
                </a:lnTo>
                <a:lnTo>
                  <a:pt x="2999" y="656"/>
                </a:lnTo>
                <a:lnTo>
                  <a:pt x="3000" y="657"/>
                </a:lnTo>
                <a:lnTo>
                  <a:pt x="3001" y="657"/>
                </a:lnTo>
                <a:lnTo>
                  <a:pt x="3002" y="656"/>
                </a:lnTo>
                <a:lnTo>
                  <a:pt x="3006" y="648"/>
                </a:lnTo>
                <a:lnTo>
                  <a:pt x="3012" y="648"/>
                </a:lnTo>
                <a:lnTo>
                  <a:pt x="3011" y="640"/>
                </a:lnTo>
                <a:lnTo>
                  <a:pt x="3010" y="636"/>
                </a:lnTo>
                <a:lnTo>
                  <a:pt x="3009" y="636"/>
                </a:lnTo>
                <a:lnTo>
                  <a:pt x="3007" y="636"/>
                </a:lnTo>
                <a:lnTo>
                  <a:pt x="3004" y="635"/>
                </a:lnTo>
                <a:lnTo>
                  <a:pt x="3000" y="634"/>
                </a:lnTo>
                <a:lnTo>
                  <a:pt x="2998" y="634"/>
                </a:lnTo>
                <a:close/>
                <a:moveTo>
                  <a:pt x="2773" y="392"/>
                </a:moveTo>
                <a:lnTo>
                  <a:pt x="2773" y="403"/>
                </a:lnTo>
                <a:lnTo>
                  <a:pt x="2767" y="402"/>
                </a:lnTo>
                <a:lnTo>
                  <a:pt x="2763" y="401"/>
                </a:lnTo>
                <a:lnTo>
                  <a:pt x="2760" y="400"/>
                </a:lnTo>
                <a:lnTo>
                  <a:pt x="2756" y="400"/>
                </a:lnTo>
                <a:lnTo>
                  <a:pt x="2756" y="406"/>
                </a:lnTo>
                <a:lnTo>
                  <a:pt x="2749" y="408"/>
                </a:lnTo>
                <a:lnTo>
                  <a:pt x="2744" y="409"/>
                </a:lnTo>
                <a:lnTo>
                  <a:pt x="2744" y="408"/>
                </a:lnTo>
                <a:lnTo>
                  <a:pt x="2743" y="408"/>
                </a:lnTo>
                <a:lnTo>
                  <a:pt x="2742" y="406"/>
                </a:lnTo>
                <a:lnTo>
                  <a:pt x="2739" y="404"/>
                </a:lnTo>
                <a:lnTo>
                  <a:pt x="2736" y="403"/>
                </a:lnTo>
                <a:lnTo>
                  <a:pt x="2738" y="409"/>
                </a:lnTo>
                <a:lnTo>
                  <a:pt x="2739" y="413"/>
                </a:lnTo>
                <a:lnTo>
                  <a:pt x="2739" y="414"/>
                </a:lnTo>
                <a:lnTo>
                  <a:pt x="2735" y="413"/>
                </a:lnTo>
                <a:lnTo>
                  <a:pt x="2732" y="412"/>
                </a:lnTo>
                <a:lnTo>
                  <a:pt x="2731" y="412"/>
                </a:lnTo>
                <a:lnTo>
                  <a:pt x="2730" y="411"/>
                </a:lnTo>
                <a:lnTo>
                  <a:pt x="2729" y="404"/>
                </a:lnTo>
                <a:lnTo>
                  <a:pt x="2728" y="397"/>
                </a:lnTo>
                <a:lnTo>
                  <a:pt x="2726" y="400"/>
                </a:lnTo>
                <a:lnTo>
                  <a:pt x="2725" y="402"/>
                </a:lnTo>
                <a:lnTo>
                  <a:pt x="2724" y="402"/>
                </a:lnTo>
                <a:lnTo>
                  <a:pt x="2725" y="403"/>
                </a:lnTo>
                <a:lnTo>
                  <a:pt x="2723" y="403"/>
                </a:lnTo>
                <a:lnTo>
                  <a:pt x="2721" y="403"/>
                </a:lnTo>
                <a:lnTo>
                  <a:pt x="2718" y="403"/>
                </a:lnTo>
                <a:lnTo>
                  <a:pt x="2716" y="403"/>
                </a:lnTo>
                <a:lnTo>
                  <a:pt x="2716" y="406"/>
                </a:lnTo>
                <a:lnTo>
                  <a:pt x="2714" y="407"/>
                </a:lnTo>
                <a:lnTo>
                  <a:pt x="2714" y="408"/>
                </a:lnTo>
                <a:lnTo>
                  <a:pt x="2714" y="409"/>
                </a:lnTo>
                <a:lnTo>
                  <a:pt x="2714" y="414"/>
                </a:lnTo>
                <a:lnTo>
                  <a:pt x="2708" y="414"/>
                </a:lnTo>
                <a:lnTo>
                  <a:pt x="2707" y="411"/>
                </a:lnTo>
                <a:lnTo>
                  <a:pt x="2706" y="409"/>
                </a:lnTo>
                <a:lnTo>
                  <a:pt x="2706" y="406"/>
                </a:lnTo>
                <a:lnTo>
                  <a:pt x="2705" y="403"/>
                </a:lnTo>
                <a:lnTo>
                  <a:pt x="2699" y="403"/>
                </a:lnTo>
                <a:lnTo>
                  <a:pt x="2700" y="413"/>
                </a:lnTo>
                <a:lnTo>
                  <a:pt x="2700" y="419"/>
                </a:lnTo>
                <a:lnTo>
                  <a:pt x="2700" y="421"/>
                </a:lnTo>
                <a:lnTo>
                  <a:pt x="2699" y="423"/>
                </a:lnTo>
                <a:lnTo>
                  <a:pt x="2688" y="423"/>
                </a:lnTo>
                <a:lnTo>
                  <a:pt x="2689" y="423"/>
                </a:lnTo>
                <a:lnTo>
                  <a:pt x="2689" y="425"/>
                </a:lnTo>
                <a:lnTo>
                  <a:pt x="2689" y="426"/>
                </a:lnTo>
                <a:lnTo>
                  <a:pt x="2687" y="427"/>
                </a:lnTo>
                <a:lnTo>
                  <a:pt x="2684" y="430"/>
                </a:lnTo>
                <a:lnTo>
                  <a:pt x="2683" y="431"/>
                </a:lnTo>
                <a:lnTo>
                  <a:pt x="2681" y="424"/>
                </a:lnTo>
                <a:lnTo>
                  <a:pt x="2680" y="422"/>
                </a:lnTo>
                <a:lnTo>
                  <a:pt x="2680" y="420"/>
                </a:lnTo>
                <a:lnTo>
                  <a:pt x="2681" y="420"/>
                </a:lnTo>
                <a:lnTo>
                  <a:pt x="2681" y="419"/>
                </a:lnTo>
                <a:lnTo>
                  <a:pt x="2683" y="420"/>
                </a:lnTo>
                <a:lnTo>
                  <a:pt x="2682" y="417"/>
                </a:lnTo>
                <a:lnTo>
                  <a:pt x="2682" y="413"/>
                </a:lnTo>
                <a:lnTo>
                  <a:pt x="2683" y="409"/>
                </a:lnTo>
                <a:lnTo>
                  <a:pt x="2677" y="409"/>
                </a:lnTo>
                <a:lnTo>
                  <a:pt x="2674" y="404"/>
                </a:lnTo>
                <a:lnTo>
                  <a:pt x="2671" y="400"/>
                </a:lnTo>
                <a:lnTo>
                  <a:pt x="2668" y="400"/>
                </a:lnTo>
                <a:lnTo>
                  <a:pt x="2660" y="400"/>
                </a:lnTo>
                <a:lnTo>
                  <a:pt x="2662" y="403"/>
                </a:lnTo>
                <a:lnTo>
                  <a:pt x="2667" y="407"/>
                </a:lnTo>
                <a:lnTo>
                  <a:pt x="2668" y="410"/>
                </a:lnTo>
                <a:lnTo>
                  <a:pt x="2669" y="412"/>
                </a:lnTo>
                <a:lnTo>
                  <a:pt x="2669" y="413"/>
                </a:lnTo>
                <a:lnTo>
                  <a:pt x="2668" y="414"/>
                </a:lnTo>
                <a:lnTo>
                  <a:pt x="2667" y="414"/>
                </a:lnTo>
                <a:lnTo>
                  <a:pt x="2666" y="414"/>
                </a:lnTo>
                <a:lnTo>
                  <a:pt x="2657" y="409"/>
                </a:lnTo>
                <a:lnTo>
                  <a:pt x="2655" y="409"/>
                </a:lnTo>
                <a:lnTo>
                  <a:pt x="2651" y="410"/>
                </a:lnTo>
                <a:lnTo>
                  <a:pt x="2649" y="411"/>
                </a:lnTo>
                <a:lnTo>
                  <a:pt x="2648" y="411"/>
                </a:lnTo>
                <a:lnTo>
                  <a:pt x="2649" y="411"/>
                </a:lnTo>
                <a:lnTo>
                  <a:pt x="2647" y="411"/>
                </a:lnTo>
                <a:lnTo>
                  <a:pt x="2646" y="411"/>
                </a:lnTo>
                <a:lnTo>
                  <a:pt x="2646" y="412"/>
                </a:lnTo>
                <a:lnTo>
                  <a:pt x="2647" y="413"/>
                </a:lnTo>
                <a:lnTo>
                  <a:pt x="2649" y="417"/>
                </a:lnTo>
                <a:lnTo>
                  <a:pt x="2648" y="418"/>
                </a:lnTo>
                <a:lnTo>
                  <a:pt x="2647" y="419"/>
                </a:lnTo>
                <a:lnTo>
                  <a:pt x="2644" y="420"/>
                </a:lnTo>
                <a:lnTo>
                  <a:pt x="2640" y="421"/>
                </a:lnTo>
                <a:lnTo>
                  <a:pt x="2639" y="422"/>
                </a:lnTo>
                <a:lnTo>
                  <a:pt x="2638" y="423"/>
                </a:lnTo>
                <a:lnTo>
                  <a:pt x="2637" y="424"/>
                </a:lnTo>
                <a:lnTo>
                  <a:pt x="2634" y="426"/>
                </a:lnTo>
                <a:lnTo>
                  <a:pt x="2629" y="428"/>
                </a:lnTo>
                <a:lnTo>
                  <a:pt x="2636" y="431"/>
                </a:lnTo>
                <a:lnTo>
                  <a:pt x="2640" y="431"/>
                </a:lnTo>
                <a:lnTo>
                  <a:pt x="2643" y="431"/>
                </a:lnTo>
                <a:lnTo>
                  <a:pt x="2646" y="429"/>
                </a:lnTo>
                <a:lnTo>
                  <a:pt x="2651" y="425"/>
                </a:lnTo>
                <a:lnTo>
                  <a:pt x="2656" y="422"/>
                </a:lnTo>
                <a:lnTo>
                  <a:pt x="2658" y="420"/>
                </a:lnTo>
                <a:lnTo>
                  <a:pt x="2660" y="420"/>
                </a:lnTo>
                <a:lnTo>
                  <a:pt x="2665" y="420"/>
                </a:lnTo>
                <a:lnTo>
                  <a:pt x="2666" y="420"/>
                </a:lnTo>
                <a:lnTo>
                  <a:pt x="2666" y="421"/>
                </a:lnTo>
                <a:lnTo>
                  <a:pt x="2665" y="423"/>
                </a:lnTo>
                <a:lnTo>
                  <a:pt x="2663" y="425"/>
                </a:lnTo>
                <a:lnTo>
                  <a:pt x="2661" y="428"/>
                </a:lnTo>
                <a:lnTo>
                  <a:pt x="2661" y="431"/>
                </a:lnTo>
                <a:lnTo>
                  <a:pt x="2661" y="433"/>
                </a:lnTo>
                <a:lnTo>
                  <a:pt x="2663" y="434"/>
                </a:lnTo>
                <a:lnTo>
                  <a:pt x="2665" y="436"/>
                </a:lnTo>
                <a:lnTo>
                  <a:pt x="2669" y="437"/>
                </a:lnTo>
                <a:lnTo>
                  <a:pt x="2664" y="437"/>
                </a:lnTo>
                <a:lnTo>
                  <a:pt x="2660" y="437"/>
                </a:lnTo>
                <a:lnTo>
                  <a:pt x="2652" y="437"/>
                </a:lnTo>
                <a:lnTo>
                  <a:pt x="2649" y="442"/>
                </a:lnTo>
                <a:lnTo>
                  <a:pt x="2645" y="443"/>
                </a:lnTo>
                <a:lnTo>
                  <a:pt x="2641" y="444"/>
                </a:lnTo>
                <a:lnTo>
                  <a:pt x="2635" y="445"/>
                </a:lnTo>
                <a:lnTo>
                  <a:pt x="2638" y="451"/>
                </a:lnTo>
                <a:lnTo>
                  <a:pt x="2642" y="450"/>
                </a:lnTo>
                <a:lnTo>
                  <a:pt x="2649" y="448"/>
                </a:lnTo>
                <a:lnTo>
                  <a:pt x="2652" y="448"/>
                </a:lnTo>
                <a:lnTo>
                  <a:pt x="2656" y="447"/>
                </a:lnTo>
                <a:lnTo>
                  <a:pt x="2659" y="447"/>
                </a:lnTo>
                <a:lnTo>
                  <a:pt x="2663" y="448"/>
                </a:lnTo>
                <a:lnTo>
                  <a:pt x="2665" y="449"/>
                </a:lnTo>
                <a:lnTo>
                  <a:pt x="2666" y="450"/>
                </a:lnTo>
                <a:lnTo>
                  <a:pt x="2670" y="454"/>
                </a:lnTo>
                <a:lnTo>
                  <a:pt x="2674" y="459"/>
                </a:lnTo>
                <a:lnTo>
                  <a:pt x="2677" y="462"/>
                </a:lnTo>
                <a:lnTo>
                  <a:pt x="2667" y="465"/>
                </a:lnTo>
                <a:lnTo>
                  <a:pt x="2657" y="468"/>
                </a:lnTo>
                <a:lnTo>
                  <a:pt x="2660" y="472"/>
                </a:lnTo>
                <a:lnTo>
                  <a:pt x="2663" y="476"/>
                </a:lnTo>
                <a:lnTo>
                  <a:pt x="2668" y="474"/>
                </a:lnTo>
                <a:lnTo>
                  <a:pt x="2671" y="473"/>
                </a:lnTo>
                <a:lnTo>
                  <a:pt x="2674" y="473"/>
                </a:lnTo>
                <a:lnTo>
                  <a:pt x="2677" y="471"/>
                </a:lnTo>
                <a:lnTo>
                  <a:pt x="2681" y="470"/>
                </a:lnTo>
                <a:lnTo>
                  <a:pt x="2685" y="470"/>
                </a:lnTo>
                <a:lnTo>
                  <a:pt x="2689" y="471"/>
                </a:lnTo>
                <a:lnTo>
                  <a:pt x="2694" y="473"/>
                </a:lnTo>
                <a:lnTo>
                  <a:pt x="2705" y="476"/>
                </a:lnTo>
                <a:lnTo>
                  <a:pt x="2705" y="478"/>
                </a:lnTo>
                <a:lnTo>
                  <a:pt x="2705" y="480"/>
                </a:lnTo>
                <a:lnTo>
                  <a:pt x="2705" y="481"/>
                </a:lnTo>
                <a:lnTo>
                  <a:pt x="2705" y="482"/>
                </a:lnTo>
                <a:lnTo>
                  <a:pt x="2704" y="482"/>
                </a:lnTo>
                <a:lnTo>
                  <a:pt x="2702" y="482"/>
                </a:lnTo>
                <a:lnTo>
                  <a:pt x="2700" y="485"/>
                </a:lnTo>
                <a:lnTo>
                  <a:pt x="2700" y="486"/>
                </a:lnTo>
                <a:lnTo>
                  <a:pt x="2699" y="487"/>
                </a:lnTo>
                <a:lnTo>
                  <a:pt x="2739" y="487"/>
                </a:lnTo>
                <a:lnTo>
                  <a:pt x="2743" y="482"/>
                </a:lnTo>
                <a:lnTo>
                  <a:pt x="2744" y="479"/>
                </a:lnTo>
                <a:lnTo>
                  <a:pt x="2744" y="478"/>
                </a:lnTo>
                <a:lnTo>
                  <a:pt x="2742" y="479"/>
                </a:lnTo>
                <a:lnTo>
                  <a:pt x="2739" y="470"/>
                </a:lnTo>
                <a:lnTo>
                  <a:pt x="2743" y="472"/>
                </a:lnTo>
                <a:lnTo>
                  <a:pt x="2747" y="474"/>
                </a:lnTo>
                <a:lnTo>
                  <a:pt x="2751" y="476"/>
                </a:lnTo>
                <a:lnTo>
                  <a:pt x="2753" y="476"/>
                </a:lnTo>
                <a:lnTo>
                  <a:pt x="2756" y="476"/>
                </a:lnTo>
                <a:lnTo>
                  <a:pt x="2757" y="475"/>
                </a:lnTo>
                <a:lnTo>
                  <a:pt x="2759" y="473"/>
                </a:lnTo>
                <a:lnTo>
                  <a:pt x="2762" y="471"/>
                </a:lnTo>
                <a:lnTo>
                  <a:pt x="2764" y="470"/>
                </a:lnTo>
                <a:lnTo>
                  <a:pt x="2765" y="472"/>
                </a:lnTo>
                <a:lnTo>
                  <a:pt x="2767" y="473"/>
                </a:lnTo>
                <a:lnTo>
                  <a:pt x="2768" y="474"/>
                </a:lnTo>
                <a:lnTo>
                  <a:pt x="2770" y="473"/>
                </a:lnTo>
                <a:lnTo>
                  <a:pt x="2771" y="472"/>
                </a:lnTo>
                <a:lnTo>
                  <a:pt x="2773" y="471"/>
                </a:lnTo>
                <a:lnTo>
                  <a:pt x="2776" y="468"/>
                </a:lnTo>
                <a:lnTo>
                  <a:pt x="2780" y="464"/>
                </a:lnTo>
                <a:lnTo>
                  <a:pt x="2782" y="463"/>
                </a:lnTo>
                <a:lnTo>
                  <a:pt x="2784" y="462"/>
                </a:lnTo>
                <a:lnTo>
                  <a:pt x="2786" y="462"/>
                </a:lnTo>
                <a:lnTo>
                  <a:pt x="2788" y="462"/>
                </a:lnTo>
                <a:lnTo>
                  <a:pt x="2790" y="462"/>
                </a:lnTo>
                <a:lnTo>
                  <a:pt x="2791" y="462"/>
                </a:lnTo>
                <a:lnTo>
                  <a:pt x="2792" y="462"/>
                </a:lnTo>
                <a:lnTo>
                  <a:pt x="2795" y="460"/>
                </a:lnTo>
                <a:lnTo>
                  <a:pt x="2798" y="458"/>
                </a:lnTo>
                <a:lnTo>
                  <a:pt x="2803" y="452"/>
                </a:lnTo>
                <a:lnTo>
                  <a:pt x="2808" y="446"/>
                </a:lnTo>
                <a:lnTo>
                  <a:pt x="2812" y="440"/>
                </a:lnTo>
                <a:lnTo>
                  <a:pt x="2810" y="440"/>
                </a:lnTo>
                <a:lnTo>
                  <a:pt x="2810" y="441"/>
                </a:lnTo>
                <a:lnTo>
                  <a:pt x="2810" y="442"/>
                </a:lnTo>
                <a:lnTo>
                  <a:pt x="2811" y="442"/>
                </a:lnTo>
                <a:lnTo>
                  <a:pt x="2815" y="442"/>
                </a:lnTo>
                <a:lnTo>
                  <a:pt x="2815" y="445"/>
                </a:lnTo>
                <a:lnTo>
                  <a:pt x="2816" y="445"/>
                </a:lnTo>
                <a:lnTo>
                  <a:pt x="2817" y="445"/>
                </a:lnTo>
                <a:lnTo>
                  <a:pt x="2819" y="443"/>
                </a:lnTo>
                <a:lnTo>
                  <a:pt x="2820" y="442"/>
                </a:lnTo>
                <a:lnTo>
                  <a:pt x="2818" y="423"/>
                </a:lnTo>
                <a:lnTo>
                  <a:pt x="2814" y="421"/>
                </a:lnTo>
                <a:lnTo>
                  <a:pt x="2810" y="419"/>
                </a:lnTo>
                <a:lnTo>
                  <a:pt x="2806" y="417"/>
                </a:lnTo>
                <a:lnTo>
                  <a:pt x="2805" y="417"/>
                </a:lnTo>
                <a:lnTo>
                  <a:pt x="2804" y="418"/>
                </a:lnTo>
                <a:lnTo>
                  <a:pt x="2802" y="420"/>
                </a:lnTo>
                <a:lnTo>
                  <a:pt x="2800" y="422"/>
                </a:lnTo>
                <a:lnTo>
                  <a:pt x="2799" y="423"/>
                </a:lnTo>
                <a:lnTo>
                  <a:pt x="2798" y="423"/>
                </a:lnTo>
                <a:lnTo>
                  <a:pt x="2797" y="422"/>
                </a:lnTo>
                <a:lnTo>
                  <a:pt x="2797" y="420"/>
                </a:lnTo>
                <a:lnTo>
                  <a:pt x="2797" y="419"/>
                </a:lnTo>
                <a:lnTo>
                  <a:pt x="2798" y="418"/>
                </a:lnTo>
                <a:lnTo>
                  <a:pt x="2801" y="414"/>
                </a:lnTo>
                <a:lnTo>
                  <a:pt x="2802" y="413"/>
                </a:lnTo>
                <a:lnTo>
                  <a:pt x="2802" y="412"/>
                </a:lnTo>
                <a:lnTo>
                  <a:pt x="2799" y="409"/>
                </a:lnTo>
                <a:lnTo>
                  <a:pt x="2795" y="406"/>
                </a:lnTo>
                <a:lnTo>
                  <a:pt x="2799" y="401"/>
                </a:lnTo>
                <a:lnTo>
                  <a:pt x="2802" y="399"/>
                </a:lnTo>
                <a:lnTo>
                  <a:pt x="2804" y="397"/>
                </a:lnTo>
                <a:lnTo>
                  <a:pt x="2805" y="396"/>
                </a:lnTo>
                <a:lnTo>
                  <a:pt x="2802" y="396"/>
                </a:lnTo>
                <a:lnTo>
                  <a:pt x="2792" y="400"/>
                </a:lnTo>
                <a:lnTo>
                  <a:pt x="2794" y="401"/>
                </a:lnTo>
                <a:lnTo>
                  <a:pt x="2794" y="402"/>
                </a:lnTo>
                <a:lnTo>
                  <a:pt x="2793" y="403"/>
                </a:lnTo>
                <a:lnTo>
                  <a:pt x="2789" y="403"/>
                </a:lnTo>
                <a:lnTo>
                  <a:pt x="2787" y="401"/>
                </a:lnTo>
                <a:lnTo>
                  <a:pt x="2786" y="399"/>
                </a:lnTo>
                <a:lnTo>
                  <a:pt x="2784" y="395"/>
                </a:lnTo>
                <a:lnTo>
                  <a:pt x="2782" y="393"/>
                </a:lnTo>
                <a:lnTo>
                  <a:pt x="2780" y="392"/>
                </a:lnTo>
                <a:lnTo>
                  <a:pt x="2777" y="391"/>
                </a:lnTo>
                <a:lnTo>
                  <a:pt x="2773" y="392"/>
                </a:lnTo>
                <a:close/>
                <a:moveTo>
                  <a:pt x="2093" y="2881"/>
                </a:moveTo>
                <a:lnTo>
                  <a:pt x="2099" y="2871"/>
                </a:lnTo>
                <a:lnTo>
                  <a:pt x="2101" y="2867"/>
                </a:lnTo>
                <a:lnTo>
                  <a:pt x="2102" y="2864"/>
                </a:lnTo>
                <a:lnTo>
                  <a:pt x="2103" y="2861"/>
                </a:lnTo>
                <a:lnTo>
                  <a:pt x="2102" y="2859"/>
                </a:lnTo>
                <a:lnTo>
                  <a:pt x="2102" y="2858"/>
                </a:lnTo>
                <a:lnTo>
                  <a:pt x="2101" y="2856"/>
                </a:lnTo>
                <a:lnTo>
                  <a:pt x="2100" y="2855"/>
                </a:lnTo>
                <a:lnTo>
                  <a:pt x="2099" y="2854"/>
                </a:lnTo>
                <a:lnTo>
                  <a:pt x="2099" y="2852"/>
                </a:lnTo>
                <a:lnTo>
                  <a:pt x="2099" y="2850"/>
                </a:lnTo>
                <a:lnTo>
                  <a:pt x="2103" y="2845"/>
                </a:lnTo>
                <a:lnTo>
                  <a:pt x="2112" y="2835"/>
                </a:lnTo>
                <a:lnTo>
                  <a:pt x="2121" y="2824"/>
                </a:lnTo>
                <a:lnTo>
                  <a:pt x="2125" y="2819"/>
                </a:lnTo>
                <a:lnTo>
                  <a:pt x="2125" y="2815"/>
                </a:lnTo>
                <a:lnTo>
                  <a:pt x="2125" y="2812"/>
                </a:lnTo>
                <a:lnTo>
                  <a:pt x="2124" y="2808"/>
                </a:lnTo>
                <a:lnTo>
                  <a:pt x="2124" y="2807"/>
                </a:lnTo>
                <a:lnTo>
                  <a:pt x="2125" y="2805"/>
                </a:lnTo>
                <a:lnTo>
                  <a:pt x="2127" y="2806"/>
                </a:lnTo>
                <a:lnTo>
                  <a:pt x="2130" y="2808"/>
                </a:lnTo>
                <a:lnTo>
                  <a:pt x="2132" y="2810"/>
                </a:lnTo>
                <a:lnTo>
                  <a:pt x="2133" y="2810"/>
                </a:lnTo>
                <a:lnTo>
                  <a:pt x="2135" y="2811"/>
                </a:lnTo>
                <a:lnTo>
                  <a:pt x="2137" y="2810"/>
                </a:lnTo>
                <a:lnTo>
                  <a:pt x="2138" y="2810"/>
                </a:lnTo>
                <a:lnTo>
                  <a:pt x="2138" y="2809"/>
                </a:lnTo>
                <a:lnTo>
                  <a:pt x="2139" y="2808"/>
                </a:lnTo>
                <a:lnTo>
                  <a:pt x="2140" y="2807"/>
                </a:lnTo>
                <a:lnTo>
                  <a:pt x="2142" y="2808"/>
                </a:lnTo>
                <a:lnTo>
                  <a:pt x="2139" y="2816"/>
                </a:lnTo>
                <a:lnTo>
                  <a:pt x="2136" y="2823"/>
                </a:lnTo>
                <a:lnTo>
                  <a:pt x="2130" y="2836"/>
                </a:lnTo>
                <a:lnTo>
                  <a:pt x="2133" y="2833"/>
                </a:lnTo>
                <a:lnTo>
                  <a:pt x="2136" y="2830"/>
                </a:lnTo>
                <a:lnTo>
                  <a:pt x="2139" y="2827"/>
                </a:lnTo>
                <a:lnTo>
                  <a:pt x="2142" y="2824"/>
                </a:lnTo>
                <a:lnTo>
                  <a:pt x="2144" y="2819"/>
                </a:lnTo>
                <a:lnTo>
                  <a:pt x="2145" y="2814"/>
                </a:lnTo>
                <a:lnTo>
                  <a:pt x="2147" y="2804"/>
                </a:lnTo>
                <a:lnTo>
                  <a:pt x="2148" y="2799"/>
                </a:lnTo>
                <a:lnTo>
                  <a:pt x="2149" y="2795"/>
                </a:lnTo>
                <a:lnTo>
                  <a:pt x="2151" y="2790"/>
                </a:lnTo>
                <a:lnTo>
                  <a:pt x="2153" y="2785"/>
                </a:lnTo>
                <a:lnTo>
                  <a:pt x="2155" y="2782"/>
                </a:lnTo>
                <a:lnTo>
                  <a:pt x="2158" y="2779"/>
                </a:lnTo>
                <a:lnTo>
                  <a:pt x="2165" y="2773"/>
                </a:lnTo>
                <a:lnTo>
                  <a:pt x="2171" y="2767"/>
                </a:lnTo>
                <a:lnTo>
                  <a:pt x="2174" y="2763"/>
                </a:lnTo>
                <a:lnTo>
                  <a:pt x="2175" y="2760"/>
                </a:lnTo>
                <a:lnTo>
                  <a:pt x="2176" y="2756"/>
                </a:lnTo>
                <a:lnTo>
                  <a:pt x="2176" y="2753"/>
                </a:lnTo>
                <a:lnTo>
                  <a:pt x="2175" y="2743"/>
                </a:lnTo>
                <a:lnTo>
                  <a:pt x="2172" y="2723"/>
                </a:lnTo>
                <a:lnTo>
                  <a:pt x="2170" y="2713"/>
                </a:lnTo>
                <a:lnTo>
                  <a:pt x="2170" y="2704"/>
                </a:lnTo>
                <a:lnTo>
                  <a:pt x="2170" y="2700"/>
                </a:lnTo>
                <a:lnTo>
                  <a:pt x="2171" y="2697"/>
                </a:lnTo>
                <a:lnTo>
                  <a:pt x="2173" y="2694"/>
                </a:lnTo>
                <a:lnTo>
                  <a:pt x="2175" y="2692"/>
                </a:lnTo>
                <a:lnTo>
                  <a:pt x="2176" y="2692"/>
                </a:lnTo>
                <a:lnTo>
                  <a:pt x="2176" y="2691"/>
                </a:lnTo>
                <a:lnTo>
                  <a:pt x="2174" y="2690"/>
                </a:lnTo>
                <a:lnTo>
                  <a:pt x="2172" y="2689"/>
                </a:lnTo>
                <a:lnTo>
                  <a:pt x="2172" y="2688"/>
                </a:lnTo>
                <a:lnTo>
                  <a:pt x="2172" y="2687"/>
                </a:lnTo>
                <a:lnTo>
                  <a:pt x="2174" y="2685"/>
                </a:lnTo>
                <a:lnTo>
                  <a:pt x="2175" y="2685"/>
                </a:lnTo>
                <a:lnTo>
                  <a:pt x="2177" y="2685"/>
                </a:lnTo>
                <a:lnTo>
                  <a:pt x="2181" y="2685"/>
                </a:lnTo>
                <a:lnTo>
                  <a:pt x="2182" y="2684"/>
                </a:lnTo>
                <a:lnTo>
                  <a:pt x="2184" y="2684"/>
                </a:lnTo>
                <a:lnTo>
                  <a:pt x="2184" y="2678"/>
                </a:lnTo>
                <a:lnTo>
                  <a:pt x="2192" y="2674"/>
                </a:lnTo>
                <a:lnTo>
                  <a:pt x="2202" y="2670"/>
                </a:lnTo>
                <a:lnTo>
                  <a:pt x="2207" y="2667"/>
                </a:lnTo>
                <a:lnTo>
                  <a:pt x="2211" y="2664"/>
                </a:lnTo>
                <a:lnTo>
                  <a:pt x="2215" y="2661"/>
                </a:lnTo>
                <a:lnTo>
                  <a:pt x="2217" y="2658"/>
                </a:lnTo>
                <a:lnTo>
                  <a:pt x="2218" y="2657"/>
                </a:lnTo>
                <a:lnTo>
                  <a:pt x="2218" y="2656"/>
                </a:lnTo>
                <a:lnTo>
                  <a:pt x="2218" y="2654"/>
                </a:lnTo>
                <a:lnTo>
                  <a:pt x="2219" y="2652"/>
                </a:lnTo>
                <a:lnTo>
                  <a:pt x="2219" y="2651"/>
                </a:lnTo>
                <a:lnTo>
                  <a:pt x="2220" y="2650"/>
                </a:lnTo>
                <a:lnTo>
                  <a:pt x="2223" y="2649"/>
                </a:lnTo>
                <a:lnTo>
                  <a:pt x="2226" y="2648"/>
                </a:lnTo>
                <a:lnTo>
                  <a:pt x="2235" y="2647"/>
                </a:lnTo>
                <a:lnTo>
                  <a:pt x="2243" y="2646"/>
                </a:lnTo>
                <a:lnTo>
                  <a:pt x="2246" y="2646"/>
                </a:lnTo>
                <a:lnTo>
                  <a:pt x="2248" y="2644"/>
                </a:lnTo>
                <a:lnTo>
                  <a:pt x="2246" y="2633"/>
                </a:lnTo>
                <a:lnTo>
                  <a:pt x="2248" y="2633"/>
                </a:lnTo>
                <a:lnTo>
                  <a:pt x="2250" y="2633"/>
                </a:lnTo>
                <a:lnTo>
                  <a:pt x="2251" y="2630"/>
                </a:lnTo>
                <a:lnTo>
                  <a:pt x="2265" y="2629"/>
                </a:lnTo>
                <a:lnTo>
                  <a:pt x="2279" y="2628"/>
                </a:lnTo>
                <a:lnTo>
                  <a:pt x="2279" y="2623"/>
                </a:lnTo>
                <a:lnTo>
                  <a:pt x="2279" y="2619"/>
                </a:lnTo>
                <a:lnTo>
                  <a:pt x="2282" y="2620"/>
                </a:lnTo>
                <a:lnTo>
                  <a:pt x="2283" y="2621"/>
                </a:lnTo>
                <a:lnTo>
                  <a:pt x="2285" y="2623"/>
                </a:lnTo>
                <a:lnTo>
                  <a:pt x="2288" y="2624"/>
                </a:lnTo>
                <a:lnTo>
                  <a:pt x="2291" y="2624"/>
                </a:lnTo>
                <a:lnTo>
                  <a:pt x="2295" y="2624"/>
                </a:lnTo>
                <a:lnTo>
                  <a:pt x="2297" y="2623"/>
                </a:lnTo>
                <a:lnTo>
                  <a:pt x="2299" y="2622"/>
                </a:lnTo>
                <a:lnTo>
                  <a:pt x="2299" y="2620"/>
                </a:lnTo>
                <a:lnTo>
                  <a:pt x="2299" y="2618"/>
                </a:lnTo>
                <a:lnTo>
                  <a:pt x="2299" y="2615"/>
                </a:lnTo>
                <a:lnTo>
                  <a:pt x="2299" y="2613"/>
                </a:lnTo>
                <a:lnTo>
                  <a:pt x="2310" y="2608"/>
                </a:lnTo>
                <a:lnTo>
                  <a:pt x="2308" y="2597"/>
                </a:lnTo>
                <a:lnTo>
                  <a:pt x="2307" y="2594"/>
                </a:lnTo>
                <a:lnTo>
                  <a:pt x="2307" y="2591"/>
                </a:lnTo>
                <a:lnTo>
                  <a:pt x="2307" y="2588"/>
                </a:lnTo>
                <a:lnTo>
                  <a:pt x="2308" y="2584"/>
                </a:lnTo>
                <a:lnTo>
                  <a:pt x="2308" y="2582"/>
                </a:lnTo>
                <a:lnTo>
                  <a:pt x="2309" y="2579"/>
                </a:lnTo>
                <a:lnTo>
                  <a:pt x="2313" y="2573"/>
                </a:lnTo>
                <a:lnTo>
                  <a:pt x="2318" y="2567"/>
                </a:lnTo>
                <a:lnTo>
                  <a:pt x="2323" y="2560"/>
                </a:lnTo>
                <a:lnTo>
                  <a:pt x="2333" y="2548"/>
                </a:lnTo>
                <a:lnTo>
                  <a:pt x="2336" y="2543"/>
                </a:lnTo>
                <a:lnTo>
                  <a:pt x="2338" y="2539"/>
                </a:lnTo>
                <a:lnTo>
                  <a:pt x="2339" y="2537"/>
                </a:lnTo>
                <a:lnTo>
                  <a:pt x="2339" y="2534"/>
                </a:lnTo>
                <a:lnTo>
                  <a:pt x="2338" y="2528"/>
                </a:lnTo>
                <a:lnTo>
                  <a:pt x="2338" y="2522"/>
                </a:lnTo>
                <a:lnTo>
                  <a:pt x="2338" y="2519"/>
                </a:lnTo>
                <a:lnTo>
                  <a:pt x="2338" y="2517"/>
                </a:lnTo>
                <a:lnTo>
                  <a:pt x="2339" y="2516"/>
                </a:lnTo>
                <a:lnTo>
                  <a:pt x="2340" y="2515"/>
                </a:lnTo>
                <a:lnTo>
                  <a:pt x="2344" y="2513"/>
                </a:lnTo>
                <a:lnTo>
                  <a:pt x="2348" y="2510"/>
                </a:lnTo>
                <a:lnTo>
                  <a:pt x="2349" y="2509"/>
                </a:lnTo>
                <a:lnTo>
                  <a:pt x="2350" y="2508"/>
                </a:lnTo>
                <a:lnTo>
                  <a:pt x="2349" y="2505"/>
                </a:lnTo>
                <a:lnTo>
                  <a:pt x="2347" y="2500"/>
                </a:lnTo>
                <a:lnTo>
                  <a:pt x="2345" y="2493"/>
                </a:lnTo>
                <a:lnTo>
                  <a:pt x="2344" y="2489"/>
                </a:lnTo>
                <a:lnTo>
                  <a:pt x="2344" y="2486"/>
                </a:lnTo>
                <a:lnTo>
                  <a:pt x="2350" y="2483"/>
                </a:lnTo>
                <a:lnTo>
                  <a:pt x="2349" y="2473"/>
                </a:lnTo>
                <a:lnTo>
                  <a:pt x="2349" y="2468"/>
                </a:lnTo>
                <a:lnTo>
                  <a:pt x="2350" y="2463"/>
                </a:lnTo>
                <a:lnTo>
                  <a:pt x="2353" y="2463"/>
                </a:lnTo>
                <a:lnTo>
                  <a:pt x="2352" y="2452"/>
                </a:lnTo>
                <a:lnTo>
                  <a:pt x="2351" y="2440"/>
                </a:lnTo>
                <a:lnTo>
                  <a:pt x="2350" y="2430"/>
                </a:lnTo>
                <a:lnTo>
                  <a:pt x="2350" y="2421"/>
                </a:lnTo>
                <a:lnTo>
                  <a:pt x="2347" y="2420"/>
                </a:lnTo>
                <a:lnTo>
                  <a:pt x="2345" y="2420"/>
                </a:lnTo>
                <a:lnTo>
                  <a:pt x="2344" y="2420"/>
                </a:lnTo>
                <a:lnTo>
                  <a:pt x="2344" y="2419"/>
                </a:lnTo>
                <a:lnTo>
                  <a:pt x="2344" y="2416"/>
                </a:lnTo>
                <a:lnTo>
                  <a:pt x="2350" y="2416"/>
                </a:lnTo>
                <a:lnTo>
                  <a:pt x="2350" y="2412"/>
                </a:lnTo>
                <a:lnTo>
                  <a:pt x="2350" y="2409"/>
                </a:lnTo>
                <a:lnTo>
                  <a:pt x="2350" y="2405"/>
                </a:lnTo>
                <a:lnTo>
                  <a:pt x="2351" y="2403"/>
                </a:lnTo>
                <a:lnTo>
                  <a:pt x="2352" y="2400"/>
                </a:lnTo>
                <a:lnTo>
                  <a:pt x="2354" y="2397"/>
                </a:lnTo>
                <a:lnTo>
                  <a:pt x="2358" y="2393"/>
                </a:lnTo>
                <a:lnTo>
                  <a:pt x="2358" y="2392"/>
                </a:lnTo>
                <a:lnTo>
                  <a:pt x="2357" y="2390"/>
                </a:lnTo>
                <a:lnTo>
                  <a:pt x="2355" y="2388"/>
                </a:lnTo>
                <a:lnTo>
                  <a:pt x="2355" y="2386"/>
                </a:lnTo>
                <a:lnTo>
                  <a:pt x="2355" y="2385"/>
                </a:lnTo>
                <a:lnTo>
                  <a:pt x="2363" y="2388"/>
                </a:lnTo>
                <a:lnTo>
                  <a:pt x="2369" y="2393"/>
                </a:lnTo>
                <a:lnTo>
                  <a:pt x="2372" y="2387"/>
                </a:lnTo>
                <a:lnTo>
                  <a:pt x="2374" y="2381"/>
                </a:lnTo>
                <a:lnTo>
                  <a:pt x="2378" y="2368"/>
                </a:lnTo>
                <a:lnTo>
                  <a:pt x="2380" y="2362"/>
                </a:lnTo>
                <a:lnTo>
                  <a:pt x="2383" y="2356"/>
                </a:lnTo>
                <a:lnTo>
                  <a:pt x="2386" y="2350"/>
                </a:lnTo>
                <a:lnTo>
                  <a:pt x="2389" y="2345"/>
                </a:lnTo>
                <a:lnTo>
                  <a:pt x="2390" y="2344"/>
                </a:lnTo>
                <a:lnTo>
                  <a:pt x="2392" y="2342"/>
                </a:lnTo>
                <a:lnTo>
                  <a:pt x="2395" y="2339"/>
                </a:lnTo>
                <a:lnTo>
                  <a:pt x="2403" y="2334"/>
                </a:lnTo>
                <a:lnTo>
                  <a:pt x="2411" y="2329"/>
                </a:lnTo>
                <a:lnTo>
                  <a:pt x="2414" y="2326"/>
                </a:lnTo>
                <a:lnTo>
                  <a:pt x="2417" y="2323"/>
                </a:lnTo>
                <a:lnTo>
                  <a:pt x="2421" y="2316"/>
                </a:lnTo>
                <a:lnTo>
                  <a:pt x="2425" y="2308"/>
                </a:lnTo>
                <a:lnTo>
                  <a:pt x="2426" y="2303"/>
                </a:lnTo>
                <a:lnTo>
                  <a:pt x="2428" y="2298"/>
                </a:lnTo>
                <a:lnTo>
                  <a:pt x="2429" y="2293"/>
                </a:lnTo>
                <a:lnTo>
                  <a:pt x="2430" y="2287"/>
                </a:lnTo>
                <a:lnTo>
                  <a:pt x="2432" y="2276"/>
                </a:lnTo>
                <a:lnTo>
                  <a:pt x="2432" y="2271"/>
                </a:lnTo>
                <a:lnTo>
                  <a:pt x="2432" y="2265"/>
                </a:lnTo>
                <a:lnTo>
                  <a:pt x="2432" y="2259"/>
                </a:lnTo>
                <a:lnTo>
                  <a:pt x="2431" y="2254"/>
                </a:lnTo>
                <a:lnTo>
                  <a:pt x="2430" y="2249"/>
                </a:lnTo>
                <a:lnTo>
                  <a:pt x="2428" y="2244"/>
                </a:lnTo>
                <a:lnTo>
                  <a:pt x="2427" y="2242"/>
                </a:lnTo>
                <a:lnTo>
                  <a:pt x="2424" y="2241"/>
                </a:lnTo>
                <a:lnTo>
                  <a:pt x="2422" y="2240"/>
                </a:lnTo>
                <a:lnTo>
                  <a:pt x="2420" y="2238"/>
                </a:lnTo>
                <a:lnTo>
                  <a:pt x="2417" y="2233"/>
                </a:lnTo>
                <a:lnTo>
                  <a:pt x="2415" y="2227"/>
                </a:lnTo>
                <a:lnTo>
                  <a:pt x="2412" y="2216"/>
                </a:lnTo>
                <a:lnTo>
                  <a:pt x="2403" y="2218"/>
                </a:lnTo>
                <a:lnTo>
                  <a:pt x="2399" y="2218"/>
                </a:lnTo>
                <a:lnTo>
                  <a:pt x="2398" y="2219"/>
                </a:lnTo>
                <a:lnTo>
                  <a:pt x="2398" y="2210"/>
                </a:lnTo>
                <a:lnTo>
                  <a:pt x="2395" y="2210"/>
                </a:lnTo>
                <a:lnTo>
                  <a:pt x="2393" y="2210"/>
                </a:lnTo>
                <a:lnTo>
                  <a:pt x="2390" y="2212"/>
                </a:lnTo>
                <a:lnTo>
                  <a:pt x="2387" y="2214"/>
                </a:lnTo>
                <a:lnTo>
                  <a:pt x="2385" y="2214"/>
                </a:lnTo>
                <a:lnTo>
                  <a:pt x="2383" y="2213"/>
                </a:lnTo>
                <a:lnTo>
                  <a:pt x="2376" y="2201"/>
                </a:lnTo>
                <a:lnTo>
                  <a:pt x="2371" y="2193"/>
                </a:lnTo>
                <a:lnTo>
                  <a:pt x="2367" y="2188"/>
                </a:lnTo>
                <a:lnTo>
                  <a:pt x="2360" y="2183"/>
                </a:lnTo>
                <a:lnTo>
                  <a:pt x="2350" y="2177"/>
                </a:lnTo>
                <a:lnTo>
                  <a:pt x="2340" y="2171"/>
                </a:lnTo>
                <a:lnTo>
                  <a:pt x="2333" y="2168"/>
                </a:lnTo>
                <a:lnTo>
                  <a:pt x="2330" y="2168"/>
                </a:lnTo>
                <a:lnTo>
                  <a:pt x="2327" y="2168"/>
                </a:lnTo>
                <a:lnTo>
                  <a:pt x="2320" y="2169"/>
                </a:lnTo>
                <a:lnTo>
                  <a:pt x="2313" y="2170"/>
                </a:lnTo>
                <a:lnTo>
                  <a:pt x="2309" y="2169"/>
                </a:lnTo>
                <a:lnTo>
                  <a:pt x="2305" y="2168"/>
                </a:lnTo>
                <a:lnTo>
                  <a:pt x="2302" y="2162"/>
                </a:lnTo>
                <a:lnTo>
                  <a:pt x="2298" y="2162"/>
                </a:lnTo>
                <a:lnTo>
                  <a:pt x="2295" y="2164"/>
                </a:lnTo>
                <a:lnTo>
                  <a:pt x="2293" y="2165"/>
                </a:lnTo>
                <a:lnTo>
                  <a:pt x="2292" y="2165"/>
                </a:lnTo>
                <a:lnTo>
                  <a:pt x="2291" y="2165"/>
                </a:lnTo>
                <a:lnTo>
                  <a:pt x="2289" y="2164"/>
                </a:lnTo>
                <a:lnTo>
                  <a:pt x="2287" y="2162"/>
                </a:lnTo>
                <a:lnTo>
                  <a:pt x="2285" y="2160"/>
                </a:lnTo>
                <a:lnTo>
                  <a:pt x="2283" y="2158"/>
                </a:lnTo>
                <a:lnTo>
                  <a:pt x="2280" y="2157"/>
                </a:lnTo>
                <a:lnTo>
                  <a:pt x="2277" y="2156"/>
                </a:lnTo>
                <a:lnTo>
                  <a:pt x="2273" y="2156"/>
                </a:lnTo>
                <a:lnTo>
                  <a:pt x="2268" y="2157"/>
                </a:lnTo>
                <a:lnTo>
                  <a:pt x="2267" y="2158"/>
                </a:lnTo>
                <a:lnTo>
                  <a:pt x="2267" y="2162"/>
                </a:lnTo>
                <a:lnTo>
                  <a:pt x="2265" y="2168"/>
                </a:lnTo>
                <a:lnTo>
                  <a:pt x="2261" y="2168"/>
                </a:lnTo>
                <a:lnTo>
                  <a:pt x="2257" y="2168"/>
                </a:lnTo>
                <a:lnTo>
                  <a:pt x="2256" y="2165"/>
                </a:lnTo>
                <a:lnTo>
                  <a:pt x="2256" y="2163"/>
                </a:lnTo>
                <a:lnTo>
                  <a:pt x="2256" y="2161"/>
                </a:lnTo>
                <a:lnTo>
                  <a:pt x="2256" y="2160"/>
                </a:lnTo>
                <a:lnTo>
                  <a:pt x="2255" y="2160"/>
                </a:lnTo>
                <a:lnTo>
                  <a:pt x="2251" y="2157"/>
                </a:lnTo>
                <a:lnTo>
                  <a:pt x="2252" y="2154"/>
                </a:lnTo>
                <a:lnTo>
                  <a:pt x="2254" y="2152"/>
                </a:lnTo>
                <a:lnTo>
                  <a:pt x="2255" y="2149"/>
                </a:lnTo>
                <a:lnTo>
                  <a:pt x="2255" y="2147"/>
                </a:lnTo>
                <a:lnTo>
                  <a:pt x="2254" y="2145"/>
                </a:lnTo>
                <a:lnTo>
                  <a:pt x="2248" y="2145"/>
                </a:lnTo>
                <a:lnTo>
                  <a:pt x="2246" y="2134"/>
                </a:lnTo>
                <a:lnTo>
                  <a:pt x="2241" y="2136"/>
                </a:lnTo>
                <a:lnTo>
                  <a:pt x="2237" y="2137"/>
                </a:lnTo>
                <a:lnTo>
                  <a:pt x="2237" y="2131"/>
                </a:lnTo>
                <a:lnTo>
                  <a:pt x="2229" y="2127"/>
                </a:lnTo>
                <a:lnTo>
                  <a:pt x="2223" y="2124"/>
                </a:lnTo>
                <a:lnTo>
                  <a:pt x="2216" y="2121"/>
                </a:lnTo>
                <a:lnTo>
                  <a:pt x="2209" y="2118"/>
                </a:lnTo>
                <a:lnTo>
                  <a:pt x="2202" y="2117"/>
                </a:lnTo>
                <a:lnTo>
                  <a:pt x="2199" y="2116"/>
                </a:lnTo>
                <a:lnTo>
                  <a:pt x="2195" y="2116"/>
                </a:lnTo>
                <a:lnTo>
                  <a:pt x="2192" y="2116"/>
                </a:lnTo>
                <a:lnTo>
                  <a:pt x="2189" y="2117"/>
                </a:lnTo>
                <a:lnTo>
                  <a:pt x="2187" y="2126"/>
                </a:lnTo>
                <a:lnTo>
                  <a:pt x="2181" y="2126"/>
                </a:lnTo>
                <a:lnTo>
                  <a:pt x="2180" y="2125"/>
                </a:lnTo>
                <a:lnTo>
                  <a:pt x="2179" y="2124"/>
                </a:lnTo>
                <a:lnTo>
                  <a:pt x="2179" y="2122"/>
                </a:lnTo>
                <a:lnTo>
                  <a:pt x="2178" y="2121"/>
                </a:lnTo>
                <a:lnTo>
                  <a:pt x="2179" y="2118"/>
                </a:lnTo>
                <a:lnTo>
                  <a:pt x="2179" y="2115"/>
                </a:lnTo>
                <a:lnTo>
                  <a:pt x="2181" y="2109"/>
                </a:lnTo>
                <a:lnTo>
                  <a:pt x="2181" y="2107"/>
                </a:lnTo>
                <a:lnTo>
                  <a:pt x="2181" y="2106"/>
                </a:lnTo>
                <a:lnTo>
                  <a:pt x="2179" y="2105"/>
                </a:lnTo>
                <a:lnTo>
                  <a:pt x="2177" y="2105"/>
                </a:lnTo>
                <a:lnTo>
                  <a:pt x="2173" y="2106"/>
                </a:lnTo>
                <a:lnTo>
                  <a:pt x="2168" y="2106"/>
                </a:lnTo>
                <a:lnTo>
                  <a:pt x="2166" y="2106"/>
                </a:lnTo>
                <a:lnTo>
                  <a:pt x="2164" y="2106"/>
                </a:lnTo>
                <a:lnTo>
                  <a:pt x="2167" y="2098"/>
                </a:lnTo>
                <a:lnTo>
                  <a:pt x="2164" y="2098"/>
                </a:lnTo>
                <a:lnTo>
                  <a:pt x="2162" y="2098"/>
                </a:lnTo>
                <a:lnTo>
                  <a:pt x="2161" y="2099"/>
                </a:lnTo>
                <a:lnTo>
                  <a:pt x="2159" y="2099"/>
                </a:lnTo>
                <a:lnTo>
                  <a:pt x="2157" y="2101"/>
                </a:lnTo>
                <a:lnTo>
                  <a:pt x="2155" y="2101"/>
                </a:lnTo>
                <a:lnTo>
                  <a:pt x="2153" y="2100"/>
                </a:lnTo>
                <a:lnTo>
                  <a:pt x="2152" y="2100"/>
                </a:lnTo>
                <a:lnTo>
                  <a:pt x="2152" y="2099"/>
                </a:lnTo>
                <a:lnTo>
                  <a:pt x="2151" y="2098"/>
                </a:lnTo>
                <a:lnTo>
                  <a:pt x="2150" y="2097"/>
                </a:lnTo>
                <a:lnTo>
                  <a:pt x="2149" y="2096"/>
                </a:lnTo>
                <a:lnTo>
                  <a:pt x="2148" y="2095"/>
                </a:lnTo>
                <a:lnTo>
                  <a:pt x="2147" y="2095"/>
                </a:lnTo>
                <a:lnTo>
                  <a:pt x="2153" y="2084"/>
                </a:lnTo>
                <a:lnTo>
                  <a:pt x="2154" y="2081"/>
                </a:lnTo>
                <a:lnTo>
                  <a:pt x="2154" y="2079"/>
                </a:lnTo>
                <a:lnTo>
                  <a:pt x="2153" y="2078"/>
                </a:lnTo>
                <a:lnTo>
                  <a:pt x="2150" y="2077"/>
                </a:lnTo>
                <a:lnTo>
                  <a:pt x="2145" y="2075"/>
                </a:lnTo>
                <a:lnTo>
                  <a:pt x="2139" y="2072"/>
                </a:lnTo>
                <a:lnTo>
                  <a:pt x="2145" y="2068"/>
                </a:lnTo>
                <a:lnTo>
                  <a:pt x="2149" y="2066"/>
                </a:lnTo>
                <a:lnTo>
                  <a:pt x="2153" y="2064"/>
                </a:lnTo>
                <a:lnTo>
                  <a:pt x="2152" y="2062"/>
                </a:lnTo>
                <a:lnTo>
                  <a:pt x="2153" y="2060"/>
                </a:lnTo>
                <a:lnTo>
                  <a:pt x="2153" y="2057"/>
                </a:lnTo>
                <a:lnTo>
                  <a:pt x="2153" y="2056"/>
                </a:lnTo>
                <a:lnTo>
                  <a:pt x="2153" y="2055"/>
                </a:lnTo>
                <a:lnTo>
                  <a:pt x="2151" y="2055"/>
                </a:lnTo>
                <a:lnTo>
                  <a:pt x="2147" y="2055"/>
                </a:lnTo>
                <a:lnTo>
                  <a:pt x="2142" y="2055"/>
                </a:lnTo>
                <a:lnTo>
                  <a:pt x="2139" y="2045"/>
                </a:lnTo>
                <a:lnTo>
                  <a:pt x="2138" y="2036"/>
                </a:lnTo>
                <a:lnTo>
                  <a:pt x="2136" y="2026"/>
                </a:lnTo>
                <a:lnTo>
                  <a:pt x="2133" y="2016"/>
                </a:lnTo>
                <a:lnTo>
                  <a:pt x="2131" y="2012"/>
                </a:lnTo>
                <a:lnTo>
                  <a:pt x="2127" y="2005"/>
                </a:lnTo>
                <a:lnTo>
                  <a:pt x="2122" y="2005"/>
                </a:lnTo>
                <a:lnTo>
                  <a:pt x="2122" y="2003"/>
                </a:lnTo>
                <a:lnTo>
                  <a:pt x="2122" y="2000"/>
                </a:lnTo>
                <a:lnTo>
                  <a:pt x="2122" y="1998"/>
                </a:lnTo>
                <a:lnTo>
                  <a:pt x="2122" y="1997"/>
                </a:lnTo>
                <a:lnTo>
                  <a:pt x="2122" y="1996"/>
                </a:lnTo>
                <a:lnTo>
                  <a:pt x="2121" y="1995"/>
                </a:lnTo>
                <a:lnTo>
                  <a:pt x="2119" y="1995"/>
                </a:lnTo>
                <a:lnTo>
                  <a:pt x="2116" y="1993"/>
                </a:lnTo>
                <a:lnTo>
                  <a:pt x="2113" y="1992"/>
                </a:lnTo>
                <a:lnTo>
                  <a:pt x="2111" y="1991"/>
                </a:lnTo>
                <a:lnTo>
                  <a:pt x="2109" y="1989"/>
                </a:lnTo>
                <a:lnTo>
                  <a:pt x="2108" y="1987"/>
                </a:lnTo>
                <a:lnTo>
                  <a:pt x="2107" y="1982"/>
                </a:lnTo>
                <a:lnTo>
                  <a:pt x="2105" y="1977"/>
                </a:lnTo>
                <a:lnTo>
                  <a:pt x="2104" y="1975"/>
                </a:lnTo>
                <a:lnTo>
                  <a:pt x="2102" y="1974"/>
                </a:lnTo>
                <a:lnTo>
                  <a:pt x="2096" y="1971"/>
                </a:lnTo>
                <a:lnTo>
                  <a:pt x="2091" y="1968"/>
                </a:lnTo>
                <a:lnTo>
                  <a:pt x="2088" y="1968"/>
                </a:lnTo>
                <a:lnTo>
                  <a:pt x="2086" y="1967"/>
                </a:lnTo>
                <a:lnTo>
                  <a:pt x="2082" y="1968"/>
                </a:lnTo>
                <a:lnTo>
                  <a:pt x="2078" y="1969"/>
                </a:lnTo>
                <a:lnTo>
                  <a:pt x="2076" y="1969"/>
                </a:lnTo>
                <a:lnTo>
                  <a:pt x="2074" y="1968"/>
                </a:lnTo>
                <a:lnTo>
                  <a:pt x="2074" y="1960"/>
                </a:lnTo>
                <a:lnTo>
                  <a:pt x="2062" y="1959"/>
                </a:lnTo>
                <a:lnTo>
                  <a:pt x="2052" y="1958"/>
                </a:lnTo>
                <a:lnTo>
                  <a:pt x="2041" y="1958"/>
                </a:lnTo>
                <a:lnTo>
                  <a:pt x="2026" y="1957"/>
                </a:lnTo>
                <a:lnTo>
                  <a:pt x="2026" y="1960"/>
                </a:lnTo>
                <a:lnTo>
                  <a:pt x="2026" y="1962"/>
                </a:lnTo>
                <a:lnTo>
                  <a:pt x="2026" y="1963"/>
                </a:lnTo>
                <a:lnTo>
                  <a:pt x="2026" y="1964"/>
                </a:lnTo>
                <a:lnTo>
                  <a:pt x="2025" y="1965"/>
                </a:lnTo>
                <a:lnTo>
                  <a:pt x="2023" y="1965"/>
                </a:lnTo>
                <a:lnTo>
                  <a:pt x="2023" y="1963"/>
                </a:lnTo>
                <a:lnTo>
                  <a:pt x="2022" y="1961"/>
                </a:lnTo>
                <a:lnTo>
                  <a:pt x="2023" y="1956"/>
                </a:lnTo>
                <a:lnTo>
                  <a:pt x="2022" y="1952"/>
                </a:lnTo>
                <a:lnTo>
                  <a:pt x="2022" y="1950"/>
                </a:lnTo>
                <a:lnTo>
                  <a:pt x="2021" y="1949"/>
                </a:lnTo>
                <a:lnTo>
                  <a:pt x="2019" y="1948"/>
                </a:lnTo>
                <a:lnTo>
                  <a:pt x="2017" y="1948"/>
                </a:lnTo>
                <a:lnTo>
                  <a:pt x="2014" y="1949"/>
                </a:lnTo>
                <a:lnTo>
                  <a:pt x="2012" y="1949"/>
                </a:lnTo>
                <a:lnTo>
                  <a:pt x="2009" y="1944"/>
                </a:lnTo>
                <a:lnTo>
                  <a:pt x="2007" y="1940"/>
                </a:lnTo>
                <a:lnTo>
                  <a:pt x="2003" y="1941"/>
                </a:lnTo>
                <a:lnTo>
                  <a:pt x="2001" y="1942"/>
                </a:lnTo>
                <a:lnTo>
                  <a:pt x="1999" y="1943"/>
                </a:lnTo>
                <a:lnTo>
                  <a:pt x="1995" y="1943"/>
                </a:lnTo>
                <a:lnTo>
                  <a:pt x="1996" y="1949"/>
                </a:lnTo>
                <a:lnTo>
                  <a:pt x="1995" y="1954"/>
                </a:lnTo>
                <a:lnTo>
                  <a:pt x="1994" y="1954"/>
                </a:lnTo>
                <a:lnTo>
                  <a:pt x="1992" y="1953"/>
                </a:lnTo>
                <a:lnTo>
                  <a:pt x="1990" y="1953"/>
                </a:lnTo>
                <a:lnTo>
                  <a:pt x="1988" y="1953"/>
                </a:lnTo>
                <a:lnTo>
                  <a:pt x="1987" y="1954"/>
                </a:lnTo>
                <a:lnTo>
                  <a:pt x="1990" y="1946"/>
                </a:lnTo>
                <a:lnTo>
                  <a:pt x="1992" y="1940"/>
                </a:lnTo>
                <a:lnTo>
                  <a:pt x="1993" y="1933"/>
                </a:lnTo>
                <a:lnTo>
                  <a:pt x="1995" y="1923"/>
                </a:lnTo>
                <a:lnTo>
                  <a:pt x="1994" y="1923"/>
                </a:lnTo>
                <a:lnTo>
                  <a:pt x="1993" y="1923"/>
                </a:lnTo>
                <a:lnTo>
                  <a:pt x="1991" y="1923"/>
                </a:lnTo>
                <a:lnTo>
                  <a:pt x="1989" y="1924"/>
                </a:lnTo>
                <a:lnTo>
                  <a:pt x="1987" y="1923"/>
                </a:lnTo>
                <a:lnTo>
                  <a:pt x="1987" y="1918"/>
                </a:lnTo>
                <a:lnTo>
                  <a:pt x="1983" y="1916"/>
                </a:lnTo>
                <a:lnTo>
                  <a:pt x="1980" y="1916"/>
                </a:lnTo>
                <a:lnTo>
                  <a:pt x="1979" y="1915"/>
                </a:lnTo>
                <a:lnTo>
                  <a:pt x="1978" y="1915"/>
                </a:lnTo>
                <a:lnTo>
                  <a:pt x="1977" y="1913"/>
                </a:lnTo>
                <a:lnTo>
                  <a:pt x="1976" y="1910"/>
                </a:lnTo>
                <a:lnTo>
                  <a:pt x="1974" y="1908"/>
                </a:lnTo>
                <a:lnTo>
                  <a:pt x="1973" y="1906"/>
                </a:lnTo>
                <a:lnTo>
                  <a:pt x="1972" y="1906"/>
                </a:lnTo>
                <a:lnTo>
                  <a:pt x="1970" y="1906"/>
                </a:lnTo>
                <a:lnTo>
                  <a:pt x="1965" y="1904"/>
                </a:lnTo>
                <a:lnTo>
                  <a:pt x="1960" y="1904"/>
                </a:lnTo>
                <a:lnTo>
                  <a:pt x="1956" y="1904"/>
                </a:lnTo>
                <a:lnTo>
                  <a:pt x="1951" y="1904"/>
                </a:lnTo>
                <a:lnTo>
                  <a:pt x="1942" y="1905"/>
                </a:lnTo>
                <a:lnTo>
                  <a:pt x="1933" y="1906"/>
                </a:lnTo>
                <a:lnTo>
                  <a:pt x="1925" y="1909"/>
                </a:lnTo>
                <a:lnTo>
                  <a:pt x="1926" y="1908"/>
                </a:lnTo>
                <a:lnTo>
                  <a:pt x="1927" y="1906"/>
                </a:lnTo>
                <a:lnTo>
                  <a:pt x="1928" y="1901"/>
                </a:lnTo>
                <a:lnTo>
                  <a:pt x="1938" y="1901"/>
                </a:lnTo>
                <a:lnTo>
                  <a:pt x="1943" y="1901"/>
                </a:lnTo>
                <a:lnTo>
                  <a:pt x="1947" y="1901"/>
                </a:lnTo>
                <a:lnTo>
                  <a:pt x="1948" y="1896"/>
                </a:lnTo>
                <a:lnTo>
                  <a:pt x="1948" y="1892"/>
                </a:lnTo>
                <a:lnTo>
                  <a:pt x="1949" y="1888"/>
                </a:lnTo>
                <a:lnTo>
                  <a:pt x="1950" y="1884"/>
                </a:lnTo>
                <a:lnTo>
                  <a:pt x="1953" y="1884"/>
                </a:lnTo>
                <a:lnTo>
                  <a:pt x="1954" y="1883"/>
                </a:lnTo>
                <a:lnTo>
                  <a:pt x="1953" y="1883"/>
                </a:lnTo>
                <a:lnTo>
                  <a:pt x="1952" y="1881"/>
                </a:lnTo>
                <a:lnTo>
                  <a:pt x="1947" y="1878"/>
                </a:lnTo>
                <a:lnTo>
                  <a:pt x="1945" y="1878"/>
                </a:lnTo>
                <a:lnTo>
                  <a:pt x="1944" y="1878"/>
                </a:lnTo>
                <a:lnTo>
                  <a:pt x="1942" y="1880"/>
                </a:lnTo>
                <a:lnTo>
                  <a:pt x="1940" y="1881"/>
                </a:lnTo>
                <a:lnTo>
                  <a:pt x="1939" y="1881"/>
                </a:lnTo>
                <a:lnTo>
                  <a:pt x="1936" y="1881"/>
                </a:lnTo>
                <a:lnTo>
                  <a:pt x="1936" y="1875"/>
                </a:lnTo>
                <a:lnTo>
                  <a:pt x="1934" y="1875"/>
                </a:lnTo>
                <a:lnTo>
                  <a:pt x="1932" y="1875"/>
                </a:lnTo>
                <a:lnTo>
                  <a:pt x="1931" y="1876"/>
                </a:lnTo>
                <a:lnTo>
                  <a:pt x="1931" y="1877"/>
                </a:lnTo>
                <a:lnTo>
                  <a:pt x="1929" y="1878"/>
                </a:lnTo>
                <a:lnTo>
                  <a:pt x="1927" y="1879"/>
                </a:lnTo>
                <a:lnTo>
                  <a:pt x="1925" y="1878"/>
                </a:lnTo>
                <a:lnTo>
                  <a:pt x="1925" y="1873"/>
                </a:lnTo>
                <a:lnTo>
                  <a:pt x="1923" y="1873"/>
                </a:lnTo>
                <a:lnTo>
                  <a:pt x="1922" y="1873"/>
                </a:lnTo>
                <a:lnTo>
                  <a:pt x="1921" y="1872"/>
                </a:lnTo>
                <a:lnTo>
                  <a:pt x="1921" y="1870"/>
                </a:lnTo>
                <a:lnTo>
                  <a:pt x="1919" y="1864"/>
                </a:lnTo>
                <a:lnTo>
                  <a:pt x="1926" y="1861"/>
                </a:lnTo>
                <a:lnTo>
                  <a:pt x="1931" y="1858"/>
                </a:lnTo>
                <a:lnTo>
                  <a:pt x="1900" y="1858"/>
                </a:lnTo>
                <a:lnTo>
                  <a:pt x="1903" y="1861"/>
                </a:lnTo>
                <a:lnTo>
                  <a:pt x="1905" y="1863"/>
                </a:lnTo>
                <a:lnTo>
                  <a:pt x="1905" y="1864"/>
                </a:lnTo>
                <a:lnTo>
                  <a:pt x="1902" y="1864"/>
                </a:lnTo>
                <a:lnTo>
                  <a:pt x="1898" y="1862"/>
                </a:lnTo>
                <a:lnTo>
                  <a:pt x="1896" y="1861"/>
                </a:lnTo>
                <a:lnTo>
                  <a:pt x="1894" y="1861"/>
                </a:lnTo>
                <a:lnTo>
                  <a:pt x="1891" y="1866"/>
                </a:lnTo>
                <a:lnTo>
                  <a:pt x="1888" y="1870"/>
                </a:lnTo>
                <a:lnTo>
                  <a:pt x="1884" y="1870"/>
                </a:lnTo>
                <a:lnTo>
                  <a:pt x="1880" y="1870"/>
                </a:lnTo>
                <a:lnTo>
                  <a:pt x="1872" y="1869"/>
                </a:lnTo>
                <a:lnTo>
                  <a:pt x="1857" y="1867"/>
                </a:lnTo>
                <a:lnTo>
                  <a:pt x="1857" y="1861"/>
                </a:lnTo>
                <a:lnTo>
                  <a:pt x="1852" y="1861"/>
                </a:lnTo>
                <a:lnTo>
                  <a:pt x="1847" y="1861"/>
                </a:lnTo>
                <a:lnTo>
                  <a:pt x="1842" y="1862"/>
                </a:lnTo>
                <a:lnTo>
                  <a:pt x="1837" y="1864"/>
                </a:lnTo>
                <a:lnTo>
                  <a:pt x="1827" y="1867"/>
                </a:lnTo>
                <a:lnTo>
                  <a:pt x="1818" y="1870"/>
                </a:lnTo>
                <a:lnTo>
                  <a:pt x="1816" y="1862"/>
                </a:lnTo>
                <a:lnTo>
                  <a:pt x="1815" y="1858"/>
                </a:lnTo>
                <a:lnTo>
                  <a:pt x="1813" y="1854"/>
                </a:lnTo>
                <a:lnTo>
                  <a:pt x="1811" y="1851"/>
                </a:lnTo>
                <a:lnTo>
                  <a:pt x="1808" y="1848"/>
                </a:lnTo>
                <a:lnTo>
                  <a:pt x="1804" y="1846"/>
                </a:lnTo>
                <a:lnTo>
                  <a:pt x="1798" y="1844"/>
                </a:lnTo>
                <a:lnTo>
                  <a:pt x="1796" y="1844"/>
                </a:lnTo>
                <a:lnTo>
                  <a:pt x="1793" y="1845"/>
                </a:lnTo>
                <a:lnTo>
                  <a:pt x="1789" y="1845"/>
                </a:lnTo>
                <a:lnTo>
                  <a:pt x="1787" y="1844"/>
                </a:lnTo>
                <a:lnTo>
                  <a:pt x="1787" y="1840"/>
                </a:lnTo>
                <a:lnTo>
                  <a:pt x="1787" y="1836"/>
                </a:lnTo>
                <a:lnTo>
                  <a:pt x="1783" y="1835"/>
                </a:lnTo>
                <a:lnTo>
                  <a:pt x="1780" y="1834"/>
                </a:lnTo>
                <a:lnTo>
                  <a:pt x="1779" y="1833"/>
                </a:lnTo>
                <a:lnTo>
                  <a:pt x="1779" y="1835"/>
                </a:lnTo>
                <a:lnTo>
                  <a:pt x="1779" y="1837"/>
                </a:lnTo>
                <a:lnTo>
                  <a:pt x="1779" y="1842"/>
                </a:lnTo>
                <a:lnTo>
                  <a:pt x="1781" y="1842"/>
                </a:lnTo>
                <a:lnTo>
                  <a:pt x="1782" y="1843"/>
                </a:lnTo>
                <a:lnTo>
                  <a:pt x="1783" y="1844"/>
                </a:lnTo>
                <a:lnTo>
                  <a:pt x="1784" y="1845"/>
                </a:lnTo>
                <a:lnTo>
                  <a:pt x="1785" y="1848"/>
                </a:lnTo>
                <a:lnTo>
                  <a:pt x="1786" y="1849"/>
                </a:lnTo>
                <a:lnTo>
                  <a:pt x="1787" y="1850"/>
                </a:lnTo>
                <a:lnTo>
                  <a:pt x="1779" y="1852"/>
                </a:lnTo>
                <a:lnTo>
                  <a:pt x="1773" y="1853"/>
                </a:lnTo>
                <a:lnTo>
                  <a:pt x="1766" y="1854"/>
                </a:lnTo>
                <a:lnTo>
                  <a:pt x="1759" y="1856"/>
                </a:lnTo>
                <a:lnTo>
                  <a:pt x="1759" y="1860"/>
                </a:lnTo>
                <a:lnTo>
                  <a:pt x="1759" y="1864"/>
                </a:lnTo>
                <a:lnTo>
                  <a:pt x="1758" y="1868"/>
                </a:lnTo>
                <a:lnTo>
                  <a:pt x="1759" y="1873"/>
                </a:lnTo>
                <a:lnTo>
                  <a:pt x="1762" y="1876"/>
                </a:lnTo>
                <a:lnTo>
                  <a:pt x="1768" y="1885"/>
                </a:lnTo>
                <a:lnTo>
                  <a:pt x="1770" y="1889"/>
                </a:lnTo>
                <a:lnTo>
                  <a:pt x="1771" y="1891"/>
                </a:lnTo>
                <a:lnTo>
                  <a:pt x="1771" y="1893"/>
                </a:lnTo>
                <a:lnTo>
                  <a:pt x="1770" y="1895"/>
                </a:lnTo>
                <a:lnTo>
                  <a:pt x="1769" y="1896"/>
                </a:lnTo>
                <a:lnTo>
                  <a:pt x="1767" y="1897"/>
                </a:lnTo>
                <a:lnTo>
                  <a:pt x="1765" y="1898"/>
                </a:lnTo>
                <a:lnTo>
                  <a:pt x="1761" y="1898"/>
                </a:lnTo>
                <a:lnTo>
                  <a:pt x="1759" y="1898"/>
                </a:lnTo>
                <a:lnTo>
                  <a:pt x="1756" y="1898"/>
                </a:lnTo>
                <a:lnTo>
                  <a:pt x="1755" y="1897"/>
                </a:lnTo>
                <a:lnTo>
                  <a:pt x="1752" y="1895"/>
                </a:lnTo>
                <a:lnTo>
                  <a:pt x="1751" y="1893"/>
                </a:lnTo>
                <a:lnTo>
                  <a:pt x="1750" y="1891"/>
                </a:lnTo>
                <a:lnTo>
                  <a:pt x="1750" y="1889"/>
                </a:lnTo>
                <a:lnTo>
                  <a:pt x="1749" y="1887"/>
                </a:lnTo>
                <a:lnTo>
                  <a:pt x="1749" y="1883"/>
                </a:lnTo>
                <a:lnTo>
                  <a:pt x="1749" y="1878"/>
                </a:lnTo>
                <a:lnTo>
                  <a:pt x="1748" y="1873"/>
                </a:lnTo>
                <a:lnTo>
                  <a:pt x="1753" y="1872"/>
                </a:lnTo>
                <a:lnTo>
                  <a:pt x="1755" y="1871"/>
                </a:lnTo>
                <a:lnTo>
                  <a:pt x="1756" y="1871"/>
                </a:lnTo>
                <a:lnTo>
                  <a:pt x="1756" y="1870"/>
                </a:lnTo>
                <a:lnTo>
                  <a:pt x="1756" y="1867"/>
                </a:lnTo>
                <a:lnTo>
                  <a:pt x="1756" y="1865"/>
                </a:lnTo>
                <a:lnTo>
                  <a:pt x="1756" y="1863"/>
                </a:lnTo>
                <a:lnTo>
                  <a:pt x="1756" y="1861"/>
                </a:lnTo>
                <a:lnTo>
                  <a:pt x="1751" y="1861"/>
                </a:lnTo>
                <a:lnTo>
                  <a:pt x="1753" y="1856"/>
                </a:lnTo>
                <a:lnTo>
                  <a:pt x="1749" y="1854"/>
                </a:lnTo>
                <a:lnTo>
                  <a:pt x="1745" y="1853"/>
                </a:lnTo>
                <a:lnTo>
                  <a:pt x="1745" y="1850"/>
                </a:lnTo>
                <a:lnTo>
                  <a:pt x="1753" y="1844"/>
                </a:lnTo>
                <a:lnTo>
                  <a:pt x="1757" y="1842"/>
                </a:lnTo>
                <a:lnTo>
                  <a:pt x="1762" y="1839"/>
                </a:lnTo>
                <a:lnTo>
                  <a:pt x="1759" y="1834"/>
                </a:lnTo>
                <a:lnTo>
                  <a:pt x="1756" y="1828"/>
                </a:lnTo>
                <a:lnTo>
                  <a:pt x="1750" y="1829"/>
                </a:lnTo>
                <a:lnTo>
                  <a:pt x="1748" y="1829"/>
                </a:lnTo>
                <a:lnTo>
                  <a:pt x="1745" y="1830"/>
                </a:lnTo>
                <a:lnTo>
                  <a:pt x="1745" y="1836"/>
                </a:lnTo>
                <a:lnTo>
                  <a:pt x="1741" y="1839"/>
                </a:lnTo>
                <a:lnTo>
                  <a:pt x="1734" y="1845"/>
                </a:lnTo>
                <a:lnTo>
                  <a:pt x="1722" y="1853"/>
                </a:lnTo>
                <a:lnTo>
                  <a:pt x="1721" y="1853"/>
                </a:lnTo>
                <a:lnTo>
                  <a:pt x="1720" y="1852"/>
                </a:lnTo>
                <a:lnTo>
                  <a:pt x="1717" y="1851"/>
                </a:lnTo>
                <a:lnTo>
                  <a:pt x="1713" y="1850"/>
                </a:lnTo>
                <a:lnTo>
                  <a:pt x="1711" y="1849"/>
                </a:lnTo>
                <a:lnTo>
                  <a:pt x="1708" y="1850"/>
                </a:lnTo>
                <a:lnTo>
                  <a:pt x="1707" y="1851"/>
                </a:lnTo>
                <a:lnTo>
                  <a:pt x="1707" y="1852"/>
                </a:lnTo>
                <a:lnTo>
                  <a:pt x="1706" y="1854"/>
                </a:lnTo>
                <a:lnTo>
                  <a:pt x="1706" y="1858"/>
                </a:lnTo>
                <a:lnTo>
                  <a:pt x="1706" y="1861"/>
                </a:lnTo>
                <a:lnTo>
                  <a:pt x="1704" y="1861"/>
                </a:lnTo>
                <a:lnTo>
                  <a:pt x="1703" y="1860"/>
                </a:lnTo>
                <a:lnTo>
                  <a:pt x="1703" y="1858"/>
                </a:lnTo>
                <a:lnTo>
                  <a:pt x="1698" y="1858"/>
                </a:lnTo>
                <a:lnTo>
                  <a:pt x="1692" y="1858"/>
                </a:lnTo>
                <a:lnTo>
                  <a:pt x="1690" y="1869"/>
                </a:lnTo>
                <a:lnTo>
                  <a:pt x="1689" y="1881"/>
                </a:lnTo>
                <a:lnTo>
                  <a:pt x="1683" y="1881"/>
                </a:lnTo>
                <a:lnTo>
                  <a:pt x="1683" y="1884"/>
                </a:lnTo>
                <a:lnTo>
                  <a:pt x="1683" y="1887"/>
                </a:lnTo>
                <a:lnTo>
                  <a:pt x="1684" y="1890"/>
                </a:lnTo>
                <a:lnTo>
                  <a:pt x="1683" y="1892"/>
                </a:lnTo>
                <a:lnTo>
                  <a:pt x="1679" y="1892"/>
                </a:lnTo>
                <a:lnTo>
                  <a:pt x="1675" y="1892"/>
                </a:lnTo>
                <a:lnTo>
                  <a:pt x="1670" y="1900"/>
                </a:lnTo>
                <a:lnTo>
                  <a:pt x="1666" y="1906"/>
                </a:lnTo>
                <a:lnTo>
                  <a:pt x="1666" y="1909"/>
                </a:lnTo>
                <a:lnTo>
                  <a:pt x="1666" y="1912"/>
                </a:lnTo>
                <a:lnTo>
                  <a:pt x="1667" y="1915"/>
                </a:lnTo>
                <a:lnTo>
                  <a:pt x="1666" y="1918"/>
                </a:lnTo>
                <a:lnTo>
                  <a:pt x="1655" y="1910"/>
                </a:lnTo>
                <a:lnTo>
                  <a:pt x="1648" y="1903"/>
                </a:lnTo>
                <a:lnTo>
                  <a:pt x="1641" y="1897"/>
                </a:lnTo>
                <a:lnTo>
                  <a:pt x="1638" y="1893"/>
                </a:lnTo>
                <a:lnTo>
                  <a:pt x="1635" y="1889"/>
                </a:lnTo>
                <a:lnTo>
                  <a:pt x="1630" y="1881"/>
                </a:lnTo>
                <a:lnTo>
                  <a:pt x="1625" y="1881"/>
                </a:lnTo>
                <a:lnTo>
                  <a:pt x="1620" y="1880"/>
                </a:lnTo>
                <a:lnTo>
                  <a:pt x="1615" y="1878"/>
                </a:lnTo>
                <a:lnTo>
                  <a:pt x="1614" y="1878"/>
                </a:lnTo>
                <a:lnTo>
                  <a:pt x="1613" y="1878"/>
                </a:lnTo>
                <a:lnTo>
                  <a:pt x="1612" y="1882"/>
                </a:lnTo>
                <a:lnTo>
                  <a:pt x="1611" y="1885"/>
                </a:lnTo>
                <a:lnTo>
                  <a:pt x="1610" y="1887"/>
                </a:lnTo>
                <a:lnTo>
                  <a:pt x="1605" y="1888"/>
                </a:lnTo>
                <a:lnTo>
                  <a:pt x="1601" y="1889"/>
                </a:lnTo>
                <a:lnTo>
                  <a:pt x="1594" y="1891"/>
                </a:lnTo>
                <a:lnTo>
                  <a:pt x="1587" y="1892"/>
                </a:lnTo>
                <a:lnTo>
                  <a:pt x="1583" y="1893"/>
                </a:lnTo>
                <a:lnTo>
                  <a:pt x="1579" y="1895"/>
                </a:lnTo>
                <a:lnTo>
                  <a:pt x="1578" y="1893"/>
                </a:lnTo>
                <a:lnTo>
                  <a:pt x="1577" y="1891"/>
                </a:lnTo>
                <a:lnTo>
                  <a:pt x="1576" y="1890"/>
                </a:lnTo>
                <a:lnTo>
                  <a:pt x="1573" y="1889"/>
                </a:lnTo>
                <a:lnTo>
                  <a:pt x="1571" y="1892"/>
                </a:lnTo>
                <a:lnTo>
                  <a:pt x="1569" y="1892"/>
                </a:lnTo>
                <a:lnTo>
                  <a:pt x="1568" y="1893"/>
                </a:lnTo>
                <a:lnTo>
                  <a:pt x="1566" y="1893"/>
                </a:lnTo>
                <a:lnTo>
                  <a:pt x="1565" y="1892"/>
                </a:lnTo>
                <a:lnTo>
                  <a:pt x="1564" y="1891"/>
                </a:lnTo>
                <a:lnTo>
                  <a:pt x="1562" y="1887"/>
                </a:lnTo>
                <a:lnTo>
                  <a:pt x="1558" y="1878"/>
                </a:lnTo>
                <a:lnTo>
                  <a:pt x="1554" y="1867"/>
                </a:lnTo>
                <a:lnTo>
                  <a:pt x="1550" y="1862"/>
                </a:lnTo>
                <a:lnTo>
                  <a:pt x="1545" y="1857"/>
                </a:lnTo>
                <a:lnTo>
                  <a:pt x="1541" y="1852"/>
                </a:lnTo>
                <a:lnTo>
                  <a:pt x="1537" y="1846"/>
                </a:lnTo>
                <a:lnTo>
                  <a:pt x="1534" y="1842"/>
                </a:lnTo>
                <a:lnTo>
                  <a:pt x="1548" y="1754"/>
                </a:lnTo>
                <a:lnTo>
                  <a:pt x="1541" y="1753"/>
                </a:lnTo>
                <a:lnTo>
                  <a:pt x="1534" y="1752"/>
                </a:lnTo>
                <a:lnTo>
                  <a:pt x="1532" y="1749"/>
                </a:lnTo>
                <a:lnTo>
                  <a:pt x="1531" y="1745"/>
                </a:lnTo>
                <a:lnTo>
                  <a:pt x="1528" y="1738"/>
                </a:lnTo>
                <a:lnTo>
                  <a:pt x="1523" y="1736"/>
                </a:lnTo>
                <a:lnTo>
                  <a:pt x="1515" y="1734"/>
                </a:lnTo>
                <a:lnTo>
                  <a:pt x="1508" y="1733"/>
                </a:lnTo>
                <a:lnTo>
                  <a:pt x="1503" y="1732"/>
                </a:lnTo>
                <a:lnTo>
                  <a:pt x="1500" y="1732"/>
                </a:lnTo>
                <a:lnTo>
                  <a:pt x="1497" y="1733"/>
                </a:lnTo>
                <a:lnTo>
                  <a:pt x="1491" y="1736"/>
                </a:lnTo>
                <a:lnTo>
                  <a:pt x="1485" y="1739"/>
                </a:lnTo>
                <a:lnTo>
                  <a:pt x="1482" y="1740"/>
                </a:lnTo>
                <a:lnTo>
                  <a:pt x="1481" y="1740"/>
                </a:lnTo>
                <a:lnTo>
                  <a:pt x="1473" y="1741"/>
                </a:lnTo>
                <a:lnTo>
                  <a:pt x="1466" y="1741"/>
                </a:lnTo>
                <a:lnTo>
                  <a:pt x="1451" y="1740"/>
                </a:lnTo>
                <a:lnTo>
                  <a:pt x="1444" y="1740"/>
                </a:lnTo>
                <a:lnTo>
                  <a:pt x="1448" y="1732"/>
                </a:lnTo>
                <a:lnTo>
                  <a:pt x="1452" y="1720"/>
                </a:lnTo>
                <a:lnTo>
                  <a:pt x="1456" y="1707"/>
                </a:lnTo>
                <a:lnTo>
                  <a:pt x="1457" y="1701"/>
                </a:lnTo>
                <a:lnTo>
                  <a:pt x="1458" y="1695"/>
                </a:lnTo>
                <a:lnTo>
                  <a:pt x="1459" y="1689"/>
                </a:lnTo>
                <a:lnTo>
                  <a:pt x="1458" y="1684"/>
                </a:lnTo>
                <a:lnTo>
                  <a:pt x="1457" y="1683"/>
                </a:lnTo>
                <a:lnTo>
                  <a:pt x="1455" y="1681"/>
                </a:lnTo>
                <a:lnTo>
                  <a:pt x="1454" y="1679"/>
                </a:lnTo>
                <a:lnTo>
                  <a:pt x="1452" y="1676"/>
                </a:lnTo>
                <a:lnTo>
                  <a:pt x="1453" y="1676"/>
                </a:lnTo>
                <a:lnTo>
                  <a:pt x="1454" y="1675"/>
                </a:lnTo>
                <a:lnTo>
                  <a:pt x="1456" y="1673"/>
                </a:lnTo>
                <a:lnTo>
                  <a:pt x="1458" y="1670"/>
                </a:lnTo>
                <a:lnTo>
                  <a:pt x="1458" y="1674"/>
                </a:lnTo>
                <a:lnTo>
                  <a:pt x="1458" y="1678"/>
                </a:lnTo>
                <a:lnTo>
                  <a:pt x="1464" y="1680"/>
                </a:lnTo>
                <a:lnTo>
                  <a:pt x="1467" y="1680"/>
                </a:lnTo>
                <a:lnTo>
                  <a:pt x="1468" y="1680"/>
                </a:lnTo>
                <a:lnTo>
                  <a:pt x="1467" y="1678"/>
                </a:lnTo>
                <a:lnTo>
                  <a:pt x="1466" y="1672"/>
                </a:lnTo>
                <a:lnTo>
                  <a:pt x="1466" y="1667"/>
                </a:lnTo>
                <a:lnTo>
                  <a:pt x="1467" y="1662"/>
                </a:lnTo>
                <a:lnTo>
                  <a:pt x="1469" y="1650"/>
                </a:lnTo>
                <a:lnTo>
                  <a:pt x="1473" y="1631"/>
                </a:lnTo>
                <a:lnTo>
                  <a:pt x="1475" y="1621"/>
                </a:lnTo>
                <a:lnTo>
                  <a:pt x="1476" y="1617"/>
                </a:lnTo>
                <a:lnTo>
                  <a:pt x="1476" y="1613"/>
                </a:lnTo>
                <a:lnTo>
                  <a:pt x="1476" y="1606"/>
                </a:lnTo>
                <a:lnTo>
                  <a:pt x="1476" y="1604"/>
                </a:lnTo>
                <a:lnTo>
                  <a:pt x="1475" y="1602"/>
                </a:lnTo>
                <a:lnTo>
                  <a:pt x="1472" y="1601"/>
                </a:lnTo>
                <a:lnTo>
                  <a:pt x="1469" y="1600"/>
                </a:lnTo>
                <a:lnTo>
                  <a:pt x="1462" y="1600"/>
                </a:lnTo>
                <a:lnTo>
                  <a:pt x="1455" y="1602"/>
                </a:lnTo>
                <a:lnTo>
                  <a:pt x="1447" y="1604"/>
                </a:lnTo>
                <a:lnTo>
                  <a:pt x="1439" y="1608"/>
                </a:lnTo>
                <a:lnTo>
                  <a:pt x="1431" y="1611"/>
                </a:lnTo>
                <a:lnTo>
                  <a:pt x="1419" y="1617"/>
                </a:lnTo>
                <a:lnTo>
                  <a:pt x="1418" y="1620"/>
                </a:lnTo>
                <a:lnTo>
                  <a:pt x="1418" y="1624"/>
                </a:lnTo>
                <a:lnTo>
                  <a:pt x="1418" y="1631"/>
                </a:lnTo>
                <a:lnTo>
                  <a:pt x="1418" y="1634"/>
                </a:lnTo>
                <a:lnTo>
                  <a:pt x="1418" y="1638"/>
                </a:lnTo>
                <a:lnTo>
                  <a:pt x="1417" y="1641"/>
                </a:lnTo>
                <a:lnTo>
                  <a:pt x="1416" y="1645"/>
                </a:lnTo>
                <a:lnTo>
                  <a:pt x="1410" y="1647"/>
                </a:lnTo>
                <a:lnTo>
                  <a:pt x="1410" y="1651"/>
                </a:lnTo>
                <a:lnTo>
                  <a:pt x="1411" y="1655"/>
                </a:lnTo>
                <a:lnTo>
                  <a:pt x="1411" y="1658"/>
                </a:lnTo>
                <a:lnTo>
                  <a:pt x="1411" y="1660"/>
                </a:lnTo>
                <a:lnTo>
                  <a:pt x="1410" y="1662"/>
                </a:lnTo>
                <a:lnTo>
                  <a:pt x="1406" y="1663"/>
                </a:lnTo>
                <a:lnTo>
                  <a:pt x="1403" y="1664"/>
                </a:lnTo>
                <a:lnTo>
                  <a:pt x="1402" y="1664"/>
                </a:lnTo>
                <a:lnTo>
                  <a:pt x="1400" y="1669"/>
                </a:lnTo>
                <a:lnTo>
                  <a:pt x="1399" y="1673"/>
                </a:lnTo>
                <a:lnTo>
                  <a:pt x="1396" y="1673"/>
                </a:lnTo>
                <a:lnTo>
                  <a:pt x="1394" y="1674"/>
                </a:lnTo>
                <a:lnTo>
                  <a:pt x="1393" y="1675"/>
                </a:lnTo>
                <a:lnTo>
                  <a:pt x="1392" y="1676"/>
                </a:lnTo>
                <a:lnTo>
                  <a:pt x="1391" y="1676"/>
                </a:lnTo>
                <a:lnTo>
                  <a:pt x="1391" y="1670"/>
                </a:lnTo>
                <a:lnTo>
                  <a:pt x="1386" y="1670"/>
                </a:lnTo>
                <a:lnTo>
                  <a:pt x="1382" y="1670"/>
                </a:lnTo>
                <a:lnTo>
                  <a:pt x="1379" y="1670"/>
                </a:lnTo>
                <a:lnTo>
                  <a:pt x="1377" y="1670"/>
                </a:lnTo>
                <a:lnTo>
                  <a:pt x="1375" y="1671"/>
                </a:lnTo>
                <a:lnTo>
                  <a:pt x="1374" y="1674"/>
                </a:lnTo>
                <a:lnTo>
                  <a:pt x="1372" y="1677"/>
                </a:lnTo>
                <a:lnTo>
                  <a:pt x="1371" y="1678"/>
                </a:lnTo>
                <a:lnTo>
                  <a:pt x="1367" y="1679"/>
                </a:lnTo>
                <a:lnTo>
                  <a:pt x="1363" y="1680"/>
                </a:lnTo>
                <a:lnTo>
                  <a:pt x="1360" y="1680"/>
                </a:lnTo>
                <a:lnTo>
                  <a:pt x="1358" y="1680"/>
                </a:lnTo>
                <a:lnTo>
                  <a:pt x="1357" y="1681"/>
                </a:lnTo>
                <a:lnTo>
                  <a:pt x="1356" y="1682"/>
                </a:lnTo>
                <a:lnTo>
                  <a:pt x="1356" y="1683"/>
                </a:lnTo>
                <a:lnTo>
                  <a:pt x="1356" y="1686"/>
                </a:lnTo>
                <a:lnTo>
                  <a:pt x="1355" y="1688"/>
                </a:lnTo>
                <a:lnTo>
                  <a:pt x="1355" y="1689"/>
                </a:lnTo>
                <a:lnTo>
                  <a:pt x="1354" y="1690"/>
                </a:lnTo>
                <a:lnTo>
                  <a:pt x="1353" y="1690"/>
                </a:lnTo>
                <a:lnTo>
                  <a:pt x="1350" y="1690"/>
                </a:lnTo>
                <a:lnTo>
                  <a:pt x="1349" y="1690"/>
                </a:lnTo>
                <a:lnTo>
                  <a:pt x="1349" y="1689"/>
                </a:lnTo>
                <a:lnTo>
                  <a:pt x="1351" y="1687"/>
                </a:lnTo>
                <a:lnTo>
                  <a:pt x="1348" y="1687"/>
                </a:lnTo>
                <a:lnTo>
                  <a:pt x="1344" y="1687"/>
                </a:lnTo>
                <a:lnTo>
                  <a:pt x="1341" y="1688"/>
                </a:lnTo>
                <a:lnTo>
                  <a:pt x="1337" y="1690"/>
                </a:lnTo>
                <a:lnTo>
                  <a:pt x="1336" y="1683"/>
                </a:lnTo>
                <a:lnTo>
                  <a:pt x="1335" y="1680"/>
                </a:lnTo>
                <a:lnTo>
                  <a:pt x="1334" y="1678"/>
                </a:lnTo>
                <a:lnTo>
                  <a:pt x="1332" y="1678"/>
                </a:lnTo>
                <a:lnTo>
                  <a:pt x="1330" y="1677"/>
                </a:lnTo>
                <a:lnTo>
                  <a:pt x="1324" y="1677"/>
                </a:lnTo>
                <a:lnTo>
                  <a:pt x="1319" y="1677"/>
                </a:lnTo>
                <a:lnTo>
                  <a:pt x="1317" y="1677"/>
                </a:lnTo>
                <a:lnTo>
                  <a:pt x="1315" y="1676"/>
                </a:lnTo>
                <a:lnTo>
                  <a:pt x="1314" y="1675"/>
                </a:lnTo>
                <a:lnTo>
                  <a:pt x="1313" y="1673"/>
                </a:lnTo>
                <a:lnTo>
                  <a:pt x="1312" y="1669"/>
                </a:lnTo>
                <a:lnTo>
                  <a:pt x="1310" y="1665"/>
                </a:lnTo>
                <a:lnTo>
                  <a:pt x="1309" y="1662"/>
                </a:lnTo>
                <a:lnTo>
                  <a:pt x="1302" y="1650"/>
                </a:lnTo>
                <a:lnTo>
                  <a:pt x="1295" y="1639"/>
                </a:lnTo>
                <a:lnTo>
                  <a:pt x="1289" y="1628"/>
                </a:lnTo>
                <a:lnTo>
                  <a:pt x="1286" y="1621"/>
                </a:lnTo>
                <a:lnTo>
                  <a:pt x="1284" y="1614"/>
                </a:lnTo>
                <a:lnTo>
                  <a:pt x="1281" y="1615"/>
                </a:lnTo>
                <a:lnTo>
                  <a:pt x="1279" y="1616"/>
                </a:lnTo>
                <a:lnTo>
                  <a:pt x="1278" y="1617"/>
                </a:lnTo>
                <a:lnTo>
                  <a:pt x="1279" y="1615"/>
                </a:lnTo>
                <a:lnTo>
                  <a:pt x="1280" y="1613"/>
                </a:lnTo>
                <a:lnTo>
                  <a:pt x="1280" y="1607"/>
                </a:lnTo>
                <a:lnTo>
                  <a:pt x="1280" y="1600"/>
                </a:lnTo>
                <a:lnTo>
                  <a:pt x="1279" y="1598"/>
                </a:lnTo>
                <a:lnTo>
                  <a:pt x="1278" y="1597"/>
                </a:lnTo>
                <a:lnTo>
                  <a:pt x="1284" y="1591"/>
                </a:lnTo>
                <a:lnTo>
                  <a:pt x="1284" y="1588"/>
                </a:lnTo>
                <a:lnTo>
                  <a:pt x="1284" y="1584"/>
                </a:lnTo>
                <a:lnTo>
                  <a:pt x="1282" y="1577"/>
                </a:lnTo>
                <a:lnTo>
                  <a:pt x="1279" y="1571"/>
                </a:lnTo>
                <a:lnTo>
                  <a:pt x="1279" y="1568"/>
                </a:lnTo>
                <a:lnTo>
                  <a:pt x="1278" y="1566"/>
                </a:lnTo>
                <a:lnTo>
                  <a:pt x="1278" y="1561"/>
                </a:lnTo>
                <a:lnTo>
                  <a:pt x="1279" y="1558"/>
                </a:lnTo>
                <a:lnTo>
                  <a:pt x="1280" y="1554"/>
                </a:lnTo>
                <a:lnTo>
                  <a:pt x="1281" y="1552"/>
                </a:lnTo>
                <a:lnTo>
                  <a:pt x="1278" y="1542"/>
                </a:lnTo>
                <a:lnTo>
                  <a:pt x="1276" y="1536"/>
                </a:lnTo>
                <a:lnTo>
                  <a:pt x="1275" y="1534"/>
                </a:lnTo>
                <a:lnTo>
                  <a:pt x="1275" y="1532"/>
                </a:lnTo>
                <a:lnTo>
                  <a:pt x="1276" y="1530"/>
                </a:lnTo>
                <a:lnTo>
                  <a:pt x="1278" y="1528"/>
                </a:lnTo>
                <a:lnTo>
                  <a:pt x="1284" y="1524"/>
                </a:lnTo>
                <a:lnTo>
                  <a:pt x="1289" y="1519"/>
                </a:lnTo>
                <a:lnTo>
                  <a:pt x="1291" y="1517"/>
                </a:lnTo>
                <a:lnTo>
                  <a:pt x="1292" y="1515"/>
                </a:lnTo>
                <a:lnTo>
                  <a:pt x="1292" y="1511"/>
                </a:lnTo>
                <a:lnTo>
                  <a:pt x="1292" y="1507"/>
                </a:lnTo>
                <a:lnTo>
                  <a:pt x="1291" y="1503"/>
                </a:lnTo>
                <a:lnTo>
                  <a:pt x="1289" y="1499"/>
                </a:lnTo>
                <a:lnTo>
                  <a:pt x="1284" y="1491"/>
                </a:lnTo>
                <a:lnTo>
                  <a:pt x="1281" y="1484"/>
                </a:lnTo>
                <a:lnTo>
                  <a:pt x="1282" y="1483"/>
                </a:lnTo>
                <a:lnTo>
                  <a:pt x="1283" y="1481"/>
                </a:lnTo>
                <a:lnTo>
                  <a:pt x="1283" y="1479"/>
                </a:lnTo>
                <a:lnTo>
                  <a:pt x="1283" y="1476"/>
                </a:lnTo>
                <a:lnTo>
                  <a:pt x="1281" y="1467"/>
                </a:lnTo>
                <a:lnTo>
                  <a:pt x="1287" y="1467"/>
                </a:lnTo>
                <a:lnTo>
                  <a:pt x="1287" y="1465"/>
                </a:lnTo>
                <a:lnTo>
                  <a:pt x="1286" y="1462"/>
                </a:lnTo>
                <a:lnTo>
                  <a:pt x="1286" y="1459"/>
                </a:lnTo>
                <a:lnTo>
                  <a:pt x="1286" y="1457"/>
                </a:lnTo>
                <a:lnTo>
                  <a:pt x="1287" y="1456"/>
                </a:lnTo>
                <a:lnTo>
                  <a:pt x="1288" y="1455"/>
                </a:lnTo>
                <a:lnTo>
                  <a:pt x="1290" y="1453"/>
                </a:lnTo>
                <a:lnTo>
                  <a:pt x="1296" y="1452"/>
                </a:lnTo>
                <a:lnTo>
                  <a:pt x="1302" y="1450"/>
                </a:lnTo>
                <a:lnTo>
                  <a:pt x="1304" y="1449"/>
                </a:lnTo>
                <a:lnTo>
                  <a:pt x="1306" y="1448"/>
                </a:lnTo>
                <a:lnTo>
                  <a:pt x="1307" y="1446"/>
                </a:lnTo>
                <a:lnTo>
                  <a:pt x="1307" y="1445"/>
                </a:lnTo>
                <a:lnTo>
                  <a:pt x="1307" y="1442"/>
                </a:lnTo>
                <a:lnTo>
                  <a:pt x="1307" y="1439"/>
                </a:lnTo>
                <a:lnTo>
                  <a:pt x="1308" y="1438"/>
                </a:lnTo>
                <a:lnTo>
                  <a:pt x="1309" y="1436"/>
                </a:lnTo>
                <a:lnTo>
                  <a:pt x="1311" y="1436"/>
                </a:lnTo>
                <a:lnTo>
                  <a:pt x="1313" y="1435"/>
                </a:lnTo>
                <a:lnTo>
                  <a:pt x="1316" y="1435"/>
                </a:lnTo>
                <a:lnTo>
                  <a:pt x="1320" y="1435"/>
                </a:lnTo>
                <a:lnTo>
                  <a:pt x="1322" y="1434"/>
                </a:lnTo>
                <a:lnTo>
                  <a:pt x="1323" y="1434"/>
                </a:lnTo>
                <a:lnTo>
                  <a:pt x="1328" y="1423"/>
                </a:lnTo>
                <a:lnTo>
                  <a:pt x="1332" y="1414"/>
                </a:lnTo>
                <a:lnTo>
                  <a:pt x="1333" y="1414"/>
                </a:lnTo>
                <a:lnTo>
                  <a:pt x="1336" y="1416"/>
                </a:lnTo>
                <a:lnTo>
                  <a:pt x="1339" y="1417"/>
                </a:lnTo>
                <a:lnTo>
                  <a:pt x="1343" y="1417"/>
                </a:lnTo>
                <a:lnTo>
                  <a:pt x="1345" y="1416"/>
                </a:lnTo>
                <a:lnTo>
                  <a:pt x="1348" y="1414"/>
                </a:lnTo>
                <a:lnTo>
                  <a:pt x="1353" y="1409"/>
                </a:lnTo>
                <a:lnTo>
                  <a:pt x="1359" y="1405"/>
                </a:lnTo>
                <a:lnTo>
                  <a:pt x="1361" y="1403"/>
                </a:lnTo>
                <a:lnTo>
                  <a:pt x="1362" y="1403"/>
                </a:lnTo>
                <a:lnTo>
                  <a:pt x="1366" y="1403"/>
                </a:lnTo>
                <a:lnTo>
                  <a:pt x="1371" y="1404"/>
                </a:lnTo>
                <a:lnTo>
                  <a:pt x="1383" y="1407"/>
                </a:lnTo>
                <a:lnTo>
                  <a:pt x="1393" y="1411"/>
                </a:lnTo>
                <a:lnTo>
                  <a:pt x="1397" y="1413"/>
                </a:lnTo>
                <a:lnTo>
                  <a:pt x="1399" y="1414"/>
                </a:lnTo>
                <a:lnTo>
                  <a:pt x="1400" y="1416"/>
                </a:lnTo>
                <a:lnTo>
                  <a:pt x="1400" y="1418"/>
                </a:lnTo>
                <a:lnTo>
                  <a:pt x="1401" y="1421"/>
                </a:lnTo>
                <a:lnTo>
                  <a:pt x="1401" y="1422"/>
                </a:lnTo>
                <a:lnTo>
                  <a:pt x="1402" y="1422"/>
                </a:lnTo>
                <a:lnTo>
                  <a:pt x="1404" y="1423"/>
                </a:lnTo>
                <a:lnTo>
                  <a:pt x="1406" y="1423"/>
                </a:lnTo>
                <a:lnTo>
                  <a:pt x="1409" y="1421"/>
                </a:lnTo>
                <a:lnTo>
                  <a:pt x="1410" y="1421"/>
                </a:lnTo>
                <a:lnTo>
                  <a:pt x="1412" y="1420"/>
                </a:lnTo>
                <a:lnTo>
                  <a:pt x="1414" y="1419"/>
                </a:lnTo>
                <a:lnTo>
                  <a:pt x="1416" y="1420"/>
                </a:lnTo>
                <a:lnTo>
                  <a:pt x="1414" y="1415"/>
                </a:lnTo>
                <a:lnTo>
                  <a:pt x="1413" y="1411"/>
                </a:lnTo>
                <a:lnTo>
                  <a:pt x="1415" y="1410"/>
                </a:lnTo>
                <a:lnTo>
                  <a:pt x="1417" y="1408"/>
                </a:lnTo>
                <a:lnTo>
                  <a:pt x="1420" y="1407"/>
                </a:lnTo>
                <a:lnTo>
                  <a:pt x="1422" y="1406"/>
                </a:lnTo>
                <a:lnTo>
                  <a:pt x="1430" y="1417"/>
                </a:lnTo>
                <a:lnTo>
                  <a:pt x="1433" y="1417"/>
                </a:lnTo>
                <a:lnTo>
                  <a:pt x="1436" y="1417"/>
                </a:lnTo>
                <a:lnTo>
                  <a:pt x="1439" y="1416"/>
                </a:lnTo>
                <a:lnTo>
                  <a:pt x="1440" y="1416"/>
                </a:lnTo>
                <a:lnTo>
                  <a:pt x="1441" y="1417"/>
                </a:lnTo>
                <a:lnTo>
                  <a:pt x="1441" y="1422"/>
                </a:lnTo>
                <a:lnTo>
                  <a:pt x="1443" y="1422"/>
                </a:lnTo>
                <a:lnTo>
                  <a:pt x="1444" y="1422"/>
                </a:lnTo>
                <a:lnTo>
                  <a:pt x="1446" y="1422"/>
                </a:lnTo>
                <a:lnTo>
                  <a:pt x="1447" y="1421"/>
                </a:lnTo>
                <a:lnTo>
                  <a:pt x="1448" y="1420"/>
                </a:lnTo>
                <a:lnTo>
                  <a:pt x="1448" y="1419"/>
                </a:lnTo>
                <a:lnTo>
                  <a:pt x="1448" y="1418"/>
                </a:lnTo>
                <a:lnTo>
                  <a:pt x="1447" y="1417"/>
                </a:lnTo>
                <a:lnTo>
                  <a:pt x="1438" y="1414"/>
                </a:lnTo>
                <a:lnTo>
                  <a:pt x="1438" y="1412"/>
                </a:lnTo>
                <a:lnTo>
                  <a:pt x="1438" y="1411"/>
                </a:lnTo>
                <a:lnTo>
                  <a:pt x="1439" y="1410"/>
                </a:lnTo>
                <a:lnTo>
                  <a:pt x="1440" y="1409"/>
                </a:lnTo>
                <a:lnTo>
                  <a:pt x="1441" y="1408"/>
                </a:lnTo>
                <a:lnTo>
                  <a:pt x="1441" y="1407"/>
                </a:lnTo>
                <a:lnTo>
                  <a:pt x="1442" y="1405"/>
                </a:lnTo>
                <a:lnTo>
                  <a:pt x="1444" y="1403"/>
                </a:lnTo>
                <a:lnTo>
                  <a:pt x="1440" y="1401"/>
                </a:lnTo>
                <a:lnTo>
                  <a:pt x="1436" y="1399"/>
                </a:lnTo>
                <a:lnTo>
                  <a:pt x="1430" y="1397"/>
                </a:lnTo>
                <a:lnTo>
                  <a:pt x="1427" y="1397"/>
                </a:lnTo>
                <a:lnTo>
                  <a:pt x="1424" y="1391"/>
                </a:lnTo>
                <a:lnTo>
                  <a:pt x="1426" y="1391"/>
                </a:lnTo>
                <a:lnTo>
                  <a:pt x="1427" y="1392"/>
                </a:lnTo>
                <a:lnTo>
                  <a:pt x="1430" y="1393"/>
                </a:lnTo>
                <a:lnTo>
                  <a:pt x="1434" y="1395"/>
                </a:lnTo>
                <a:lnTo>
                  <a:pt x="1436" y="1395"/>
                </a:lnTo>
                <a:lnTo>
                  <a:pt x="1438" y="1394"/>
                </a:lnTo>
                <a:lnTo>
                  <a:pt x="1438" y="1389"/>
                </a:lnTo>
                <a:lnTo>
                  <a:pt x="1449" y="1390"/>
                </a:lnTo>
                <a:lnTo>
                  <a:pt x="1461" y="1391"/>
                </a:lnTo>
                <a:lnTo>
                  <a:pt x="1460" y="1391"/>
                </a:lnTo>
                <a:lnTo>
                  <a:pt x="1460" y="1390"/>
                </a:lnTo>
                <a:lnTo>
                  <a:pt x="1460" y="1389"/>
                </a:lnTo>
                <a:lnTo>
                  <a:pt x="1461" y="1388"/>
                </a:lnTo>
                <a:lnTo>
                  <a:pt x="1464" y="1386"/>
                </a:lnTo>
                <a:lnTo>
                  <a:pt x="1465" y="1387"/>
                </a:lnTo>
                <a:lnTo>
                  <a:pt x="1466" y="1389"/>
                </a:lnTo>
                <a:lnTo>
                  <a:pt x="1466" y="1391"/>
                </a:lnTo>
                <a:lnTo>
                  <a:pt x="1467" y="1393"/>
                </a:lnTo>
                <a:lnTo>
                  <a:pt x="1468" y="1393"/>
                </a:lnTo>
                <a:lnTo>
                  <a:pt x="1470" y="1394"/>
                </a:lnTo>
                <a:lnTo>
                  <a:pt x="1472" y="1394"/>
                </a:lnTo>
                <a:lnTo>
                  <a:pt x="1478" y="1386"/>
                </a:lnTo>
                <a:lnTo>
                  <a:pt x="1486" y="1391"/>
                </a:lnTo>
                <a:lnTo>
                  <a:pt x="1487" y="1391"/>
                </a:lnTo>
                <a:lnTo>
                  <a:pt x="1487" y="1390"/>
                </a:lnTo>
                <a:lnTo>
                  <a:pt x="1488" y="1388"/>
                </a:lnTo>
                <a:lnTo>
                  <a:pt x="1490" y="1386"/>
                </a:lnTo>
                <a:lnTo>
                  <a:pt x="1491" y="1386"/>
                </a:lnTo>
                <a:lnTo>
                  <a:pt x="1492" y="1386"/>
                </a:lnTo>
                <a:lnTo>
                  <a:pt x="1493" y="1387"/>
                </a:lnTo>
                <a:lnTo>
                  <a:pt x="1494" y="1388"/>
                </a:lnTo>
                <a:lnTo>
                  <a:pt x="1495" y="1389"/>
                </a:lnTo>
                <a:lnTo>
                  <a:pt x="1495" y="1391"/>
                </a:lnTo>
                <a:lnTo>
                  <a:pt x="1495" y="1394"/>
                </a:lnTo>
                <a:lnTo>
                  <a:pt x="1498" y="1395"/>
                </a:lnTo>
                <a:lnTo>
                  <a:pt x="1501" y="1396"/>
                </a:lnTo>
                <a:lnTo>
                  <a:pt x="1505" y="1396"/>
                </a:lnTo>
                <a:lnTo>
                  <a:pt x="1507" y="1396"/>
                </a:lnTo>
                <a:lnTo>
                  <a:pt x="1509" y="1397"/>
                </a:lnTo>
                <a:lnTo>
                  <a:pt x="1510" y="1398"/>
                </a:lnTo>
                <a:lnTo>
                  <a:pt x="1511" y="1400"/>
                </a:lnTo>
                <a:lnTo>
                  <a:pt x="1511" y="1403"/>
                </a:lnTo>
                <a:lnTo>
                  <a:pt x="1512" y="1406"/>
                </a:lnTo>
                <a:lnTo>
                  <a:pt x="1515" y="1405"/>
                </a:lnTo>
                <a:lnTo>
                  <a:pt x="1518" y="1406"/>
                </a:lnTo>
                <a:lnTo>
                  <a:pt x="1526" y="1408"/>
                </a:lnTo>
                <a:lnTo>
                  <a:pt x="1528" y="1404"/>
                </a:lnTo>
                <a:lnTo>
                  <a:pt x="1531" y="1400"/>
                </a:lnTo>
                <a:lnTo>
                  <a:pt x="1532" y="1400"/>
                </a:lnTo>
                <a:lnTo>
                  <a:pt x="1533" y="1400"/>
                </a:lnTo>
                <a:lnTo>
                  <a:pt x="1535" y="1400"/>
                </a:lnTo>
                <a:lnTo>
                  <a:pt x="1537" y="1400"/>
                </a:lnTo>
                <a:lnTo>
                  <a:pt x="1539" y="1400"/>
                </a:lnTo>
                <a:lnTo>
                  <a:pt x="1540" y="1400"/>
                </a:lnTo>
                <a:lnTo>
                  <a:pt x="1542" y="1407"/>
                </a:lnTo>
                <a:lnTo>
                  <a:pt x="1544" y="1411"/>
                </a:lnTo>
                <a:lnTo>
                  <a:pt x="1545" y="1414"/>
                </a:lnTo>
                <a:lnTo>
                  <a:pt x="1554" y="1417"/>
                </a:lnTo>
                <a:lnTo>
                  <a:pt x="1555" y="1421"/>
                </a:lnTo>
                <a:lnTo>
                  <a:pt x="1555" y="1426"/>
                </a:lnTo>
                <a:lnTo>
                  <a:pt x="1555" y="1431"/>
                </a:lnTo>
                <a:lnTo>
                  <a:pt x="1555" y="1436"/>
                </a:lnTo>
                <a:lnTo>
                  <a:pt x="1554" y="1447"/>
                </a:lnTo>
                <a:lnTo>
                  <a:pt x="1554" y="1456"/>
                </a:lnTo>
                <a:lnTo>
                  <a:pt x="1558" y="1455"/>
                </a:lnTo>
                <a:lnTo>
                  <a:pt x="1560" y="1454"/>
                </a:lnTo>
                <a:lnTo>
                  <a:pt x="1561" y="1453"/>
                </a:lnTo>
                <a:lnTo>
                  <a:pt x="1565" y="1453"/>
                </a:lnTo>
                <a:lnTo>
                  <a:pt x="1564" y="1455"/>
                </a:lnTo>
                <a:lnTo>
                  <a:pt x="1563" y="1457"/>
                </a:lnTo>
                <a:lnTo>
                  <a:pt x="1561" y="1462"/>
                </a:lnTo>
                <a:lnTo>
                  <a:pt x="1559" y="1464"/>
                </a:lnTo>
                <a:lnTo>
                  <a:pt x="1559" y="1467"/>
                </a:lnTo>
                <a:lnTo>
                  <a:pt x="1559" y="1470"/>
                </a:lnTo>
                <a:lnTo>
                  <a:pt x="1559" y="1473"/>
                </a:lnTo>
                <a:lnTo>
                  <a:pt x="1565" y="1476"/>
                </a:lnTo>
                <a:lnTo>
                  <a:pt x="1569" y="1477"/>
                </a:lnTo>
                <a:lnTo>
                  <a:pt x="1571" y="1479"/>
                </a:lnTo>
                <a:lnTo>
                  <a:pt x="1571" y="1480"/>
                </a:lnTo>
                <a:lnTo>
                  <a:pt x="1572" y="1482"/>
                </a:lnTo>
                <a:lnTo>
                  <a:pt x="1572" y="1485"/>
                </a:lnTo>
                <a:lnTo>
                  <a:pt x="1572" y="1489"/>
                </a:lnTo>
                <a:lnTo>
                  <a:pt x="1573" y="1493"/>
                </a:lnTo>
                <a:lnTo>
                  <a:pt x="1575" y="1495"/>
                </a:lnTo>
                <a:lnTo>
                  <a:pt x="1578" y="1497"/>
                </a:lnTo>
                <a:lnTo>
                  <a:pt x="1580" y="1500"/>
                </a:lnTo>
                <a:lnTo>
                  <a:pt x="1582" y="1501"/>
                </a:lnTo>
                <a:lnTo>
                  <a:pt x="1582" y="1503"/>
                </a:lnTo>
                <a:lnTo>
                  <a:pt x="1582" y="1505"/>
                </a:lnTo>
                <a:lnTo>
                  <a:pt x="1581" y="1508"/>
                </a:lnTo>
                <a:lnTo>
                  <a:pt x="1582" y="1510"/>
                </a:lnTo>
                <a:lnTo>
                  <a:pt x="1583" y="1511"/>
                </a:lnTo>
                <a:lnTo>
                  <a:pt x="1585" y="1511"/>
                </a:lnTo>
                <a:lnTo>
                  <a:pt x="1589" y="1513"/>
                </a:lnTo>
                <a:lnTo>
                  <a:pt x="1593" y="1514"/>
                </a:lnTo>
                <a:lnTo>
                  <a:pt x="1596" y="1515"/>
                </a:lnTo>
                <a:lnTo>
                  <a:pt x="1597" y="1509"/>
                </a:lnTo>
                <a:lnTo>
                  <a:pt x="1598" y="1503"/>
                </a:lnTo>
                <a:lnTo>
                  <a:pt x="1599" y="1498"/>
                </a:lnTo>
                <a:lnTo>
                  <a:pt x="1600" y="1492"/>
                </a:lnTo>
                <a:lnTo>
                  <a:pt x="1601" y="1486"/>
                </a:lnTo>
                <a:lnTo>
                  <a:pt x="1602" y="1480"/>
                </a:lnTo>
                <a:lnTo>
                  <a:pt x="1602" y="1474"/>
                </a:lnTo>
                <a:lnTo>
                  <a:pt x="1602" y="1467"/>
                </a:lnTo>
                <a:lnTo>
                  <a:pt x="1598" y="1453"/>
                </a:lnTo>
                <a:lnTo>
                  <a:pt x="1593" y="1436"/>
                </a:lnTo>
                <a:lnTo>
                  <a:pt x="1587" y="1434"/>
                </a:lnTo>
                <a:lnTo>
                  <a:pt x="1587" y="1432"/>
                </a:lnTo>
                <a:lnTo>
                  <a:pt x="1588" y="1431"/>
                </a:lnTo>
                <a:lnTo>
                  <a:pt x="1589" y="1430"/>
                </a:lnTo>
                <a:lnTo>
                  <a:pt x="1590" y="1430"/>
                </a:lnTo>
                <a:lnTo>
                  <a:pt x="1591" y="1429"/>
                </a:lnTo>
                <a:lnTo>
                  <a:pt x="1591" y="1427"/>
                </a:lnTo>
                <a:lnTo>
                  <a:pt x="1590" y="1425"/>
                </a:lnTo>
                <a:lnTo>
                  <a:pt x="1589" y="1423"/>
                </a:lnTo>
                <a:lnTo>
                  <a:pt x="1586" y="1420"/>
                </a:lnTo>
                <a:lnTo>
                  <a:pt x="1583" y="1416"/>
                </a:lnTo>
                <a:lnTo>
                  <a:pt x="1582" y="1414"/>
                </a:lnTo>
                <a:lnTo>
                  <a:pt x="1581" y="1412"/>
                </a:lnTo>
                <a:lnTo>
                  <a:pt x="1581" y="1409"/>
                </a:lnTo>
                <a:lnTo>
                  <a:pt x="1582" y="1404"/>
                </a:lnTo>
                <a:lnTo>
                  <a:pt x="1582" y="1399"/>
                </a:lnTo>
                <a:lnTo>
                  <a:pt x="1582" y="1397"/>
                </a:lnTo>
                <a:lnTo>
                  <a:pt x="1582" y="1394"/>
                </a:lnTo>
                <a:lnTo>
                  <a:pt x="1580" y="1393"/>
                </a:lnTo>
                <a:lnTo>
                  <a:pt x="1576" y="1390"/>
                </a:lnTo>
                <a:lnTo>
                  <a:pt x="1574" y="1388"/>
                </a:lnTo>
                <a:lnTo>
                  <a:pt x="1573" y="1387"/>
                </a:lnTo>
                <a:lnTo>
                  <a:pt x="1574" y="1386"/>
                </a:lnTo>
                <a:lnTo>
                  <a:pt x="1576" y="1386"/>
                </a:lnTo>
                <a:lnTo>
                  <a:pt x="1579" y="1386"/>
                </a:lnTo>
                <a:lnTo>
                  <a:pt x="1578" y="1385"/>
                </a:lnTo>
                <a:lnTo>
                  <a:pt x="1578" y="1384"/>
                </a:lnTo>
                <a:lnTo>
                  <a:pt x="1579" y="1383"/>
                </a:lnTo>
                <a:lnTo>
                  <a:pt x="1584" y="1382"/>
                </a:lnTo>
                <a:lnTo>
                  <a:pt x="1585" y="1381"/>
                </a:lnTo>
                <a:lnTo>
                  <a:pt x="1584" y="1380"/>
                </a:lnTo>
                <a:lnTo>
                  <a:pt x="1582" y="1380"/>
                </a:lnTo>
                <a:lnTo>
                  <a:pt x="1581" y="1380"/>
                </a:lnTo>
                <a:lnTo>
                  <a:pt x="1580" y="1379"/>
                </a:lnTo>
                <a:lnTo>
                  <a:pt x="1580" y="1377"/>
                </a:lnTo>
                <a:lnTo>
                  <a:pt x="1581" y="1375"/>
                </a:lnTo>
                <a:lnTo>
                  <a:pt x="1581" y="1373"/>
                </a:lnTo>
                <a:lnTo>
                  <a:pt x="1583" y="1368"/>
                </a:lnTo>
                <a:lnTo>
                  <a:pt x="1590" y="1355"/>
                </a:lnTo>
                <a:lnTo>
                  <a:pt x="1590" y="1352"/>
                </a:lnTo>
                <a:lnTo>
                  <a:pt x="1590" y="1349"/>
                </a:lnTo>
                <a:lnTo>
                  <a:pt x="1590" y="1346"/>
                </a:lnTo>
                <a:lnTo>
                  <a:pt x="1590" y="1344"/>
                </a:lnTo>
                <a:lnTo>
                  <a:pt x="1592" y="1343"/>
                </a:lnTo>
                <a:lnTo>
                  <a:pt x="1594" y="1343"/>
                </a:lnTo>
                <a:lnTo>
                  <a:pt x="1597" y="1344"/>
                </a:lnTo>
                <a:lnTo>
                  <a:pt x="1599" y="1344"/>
                </a:lnTo>
                <a:lnTo>
                  <a:pt x="1600" y="1343"/>
                </a:lnTo>
                <a:lnTo>
                  <a:pt x="1600" y="1342"/>
                </a:lnTo>
                <a:lnTo>
                  <a:pt x="1600" y="1339"/>
                </a:lnTo>
                <a:lnTo>
                  <a:pt x="1601" y="1337"/>
                </a:lnTo>
                <a:lnTo>
                  <a:pt x="1601" y="1336"/>
                </a:lnTo>
                <a:lnTo>
                  <a:pt x="1602" y="1335"/>
                </a:lnTo>
                <a:lnTo>
                  <a:pt x="1606" y="1333"/>
                </a:lnTo>
                <a:lnTo>
                  <a:pt x="1612" y="1331"/>
                </a:lnTo>
                <a:lnTo>
                  <a:pt x="1618" y="1329"/>
                </a:lnTo>
                <a:lnTo>
                  <a:pt x="1620" y="1328"/>
                </a:lnTo>
                <a:lnTo>
                  <a:pt x="1621" y="1327"/>
                </a:lnTo>
                <a:lnTo>
                  <a:pt x="1622" y="1325"/>
                </a:lnTo>
                <a:lnTo>
                  <a:pt x="1622" y="1324"/>
                </a:lnTo>
                <a:lnTo>
                  <a:pt x="1622" y="1321"/>
                </a:lnTo>
                <a:lnTo>
                  <a:pt x="1622" y="1318"/>
                </a:lnTo>
                <a:lnTo>
                  <a:pt x="1623" y="1317"/>
                </a:lnTo>
                <a:lnTo>
                  <a:pt x="1624" y="1315"/>
                </a:lnTo>
                <a:lnTo>
                  <a:pt x="1629" y="1313"/>
                </a:lnTo>
                <a:lnTo>
                  <a:pt x="1634" y="1313"/>
                </a:lnTo>
                <a:lnTo>
                  <a:pt x="1639" y="1312"/>
                </a:lnTo>
                <a:lnTo>
                  <a:pt x="1641" y="1311"/>
                </a:lnTo>
                <a:lnTo>
                  <a:pt x="1644" y="1310"/>
                </a:lnTo>
                <a:lnTo>
                  <a:pt x="1645" y="1308"/>
                </a:lnTo>
                <a:lnTo>
                  <a:pt x="1646" y="1306"/>
                </a:lnTo>
                <a:lnTo>
                  <a:pt x="1648" y="1302"/>
                </a:lnTo>
                <a:lnTo>
                  <a:pt x="1650" y="1297"/>
                </a:lnTo>
                <a:lnTo>
                  <a:pt x="1652" y="1293"/>
                </a:lnTo>
                <a:lnTo>
                  <a:pt x="1654" y="1292"/>
                </a:lnTo>
                <a:lnTo>
                  <a:pt x="1656" y="1292"/>
                </a:lnTo>
                <a:lnTo>
                  <a:pt x="1661" y="1290"/>
                </a:lnTo>
                <a:lnTo>
                  <a:pt x="1655" y="1279"/>
                </a:lnTo>
                <a:lnTo>
                  <a:pt x="1658" y="1278"/>
                </a:lnTo>
                <a:lnTo>
                  <a:pt x="1661" y="1277"/>
                </a:lnTo>
                <a:lnTo>
                  <a:pt x="1664" y="1277"/>
                </a:lnTo>
                <a:lnTo>
                  <a:pt x="1666" y="1276"/>
                </a:lnTo>
                <a:lnTo>
                  <a:pt x="1663" y="1270"/>
                </a:lnTo>
                <a:lnTo>
                  <a:pt x="1664" y="1270"/>
                </a:lnTo>
                <a:lnTo>
                  <a:pt x="1669" y="1269"/>
                </a:lnTo>
                <a:lnTo>
                  <a:pt x="1677" y="1268"/>
                </a:lnTo>
                <a:lnTo>
                  <a:pt x="1683" y="1268"/>
                </a:lnTo>
                <a:lnTo>
                  <a:pt x="1681" y="1266"/>
                </a:lnTo>
                <a:lnTo>
                  <a:pt x="1680" y="1263"/>
                </a:lnTo>
                <a:lnTo>
                  <a:pt x="1677" y="1259"/>
                </a:lnTo>
                <a:lnTo>
                  <a:pt x="1675" y="1259"/>
                </a:lnTo>
                <a:lnTo>
                  <a:pt x="1672" y="1259"/>
                </a:lnTo>
                <a:lnTo>
                  <a:pt x="1666" y="1259"/>
                </a:lnTo>
                <a:lnTo>
                  <a:pt x="1666" y="1254"/>
                </a:lnTo>
                <a:lnTo>
                  <a:pt x="1672" y="1253"/>
                </a:lnTo>
                <a:lnTo>
                  <a:pt x="1675" y="1252"/>
                </a:lnTo>
                <a:lnTo>
                  <a:pt x="1677" y="1251"/>
                </a:lnTo>
                <a:lnTo>
                  <a:pt x="1677" y="1246"/>
                </a:lnTo>
                <a:lnTo>
                  <a:pt x="1677" y="1240"/>
                </a:lnTo>
                <a:lnTo>
                  <a:pt x="1675" y="1239"/>
                </a:lnTo>
                <a:lnTo>
                  <a:pt x="1672" y="1238"/>
                </a:lnTo>
                <a:lnTo>
                  <a:pt x="1669" y="1238"/>
                </a:lnTo>
                <a:lnTo>
                  <a:pt x="1666" y="1237"/>
                </a:lnTo>
                <a:lnTo>
                  <a:pt x="1665" y="1236"/>
                </a:lnTo>
                <a:lnTo>
                  <a:pt x="1664" y="1235"/>
                </a:lnTo>
                <a:lnTo>
                  <a:pt x="1664" y="1233"/>
                </a:lnTo>
                <a:lnTo>
                  <a:pt x="1663" y="1230"/>
                </a:lnTo>
                <a:lnTo>
                  <a:pt x="1662" y="1229"/>
                </a:lnTo>
                <a:lnTo>
                  <a:pt x="1661" y="1228"/>
                </a:lnTo>
                <a:lnTo>
                  <a:pt x="1666" y="1223"/>
                </a:lnTo>
                <a:lnTo>
                  <a:pt x="1669" y="1219"/>
                </a:lnTo>
                <a:lnTo>
                  <a:pt x="1669" y="1218"/>
                </a:lnTo>
                <a:lnTo>
                  <a:pt x="1669" y="1217"/>
                </a:lnTo>
                <a:lnTo>
                  <a:pt x="1666" y="1216"/>
                </a:lnTo>
                <a:lnTo>
                  <a:pt x="1665" y="1216"/>
                </a:lnTo>
                <a:lnTo>
                  <a:pt x="1665" y="1215"/>
                </a:lnTo>
                <a:lnTo>
                  <a:pt x="1665" y="1213"/>
                </a:lnTo>
                <a:lnTo>
                  <a:pt x="1666" y="1211"/>
                </a:lnTo>
                <a:lnTo>
                  <a:pt x="1666" y="1210"/>
                </a:lnTo>
                <a:lnTo>
                  <a:pt x="1666" y="1209"/>
                </a:lnTo>
                <a:lnTo>
                  <a:pt x="1665" y="1207"/>
                </a:lnTo>
                <a:lnTo>
                  <a:pt x="1664" y="1206"/>
                </a:lnTo>
                <a:lnTo>
                  <a:pt x="1661" y="1205"/>
                </a:lnTo>
                <a:lnTo>
                  <a:pt x="1655" y="1203"/>
                </a:lnTo>
                <a:lnTo>
                  <a:pt x="1656" y="1201"/>
                </a:lnTo>
                <a:lnTo>
                  <a:pt x="1656" y="1200"/>
                </a:lnTo>
                <a:lnTo>
                  <a:pt x="1658" y="1200"/>
                </a:lnTo>
                <a:lnTo>
                  <a:pt x="1661" y="1200"/>
                </a:lnTo>
                <a:lnTo>
                  <a:pt x="1661" y="1199"/>
                </a:lnTo>
                <a:lnTo>
                  <a:pt x="1660" y="1197"/>
                </a:lnTo>
                <a:lnTo>
                  <a:pt x="1659" y="1195"/>
                </a:lnTo>
                <a:lnTo>
                  <a:pt x="1658" y="1193"/>
                </a:lnTo>
                <a:lnTo>
                  <a:pt x="1658" y="1192"/>
                </a:lnTo>
                <a:lnTo>
                  <a:pt x="1660" y="1189"/>
                </a:lnTo>
                <a:lnTo>
                  <a:pt x="1662" y="1186"/>
                </a:lnTo>
                <a:lnTo>
                  <a:pt x="1663" y="1184"/>
                </a:lnTo>
                <a:lnTo>
                  <a:pt x="1664" y="1181"/>
                </a:lnTo>
                <a:lnTo>
                  <a:pt x="1665" y="1175"/>
                </a:lnTo>
                <a:lnTo>
                  <a:pt x="1665" y="1171"/>
                </a:lnTo>
                <a:lnTo>
                  <a:pt x="1666" y="1166"/>
                </a:lnTo>
                <a:lnTo>
                  <a:pt x="1669" y="1166"/>
                </a:lnTo>
                <a:lnTo>
                  <a:pt x="1672" y="1166"/>
                </a:lnTo>
                <a:lnTo>
                  <a:pt x="1677" y="1164"/>
                </a:lnTo>
                <a:lnTo>
                  <a:pt x="1678" y="1165"/>
                </a:lnTo>
                <a:lnTo>
                  <a:pt x="1679" y="1167"/>
                </a:lnTo>
                <a:lnTo>
                  <a:pt x="1680" y="1168"/>
                </a:lnTo>
                <a:lnTo>
                  <a:pt x="1681" y="1169"/>
                </a:lnTo>
                <a:lnTo>
                  <a:pt x="1680" y="1169"/>
                </a:lnTo>
                <a:lnTo>
                  <a:pt x="1678" y="1171"/>
                </a:lnTo>
                <a:lnTo>
                  <a:pt x="1677" y="1172"/>
                </a:lnTo>
                <a:lnTo>
                  <a:pt x="1675" y="1177"/>
                </a:lnTo>
                <a:lnTo>
                  <a:pt x="1673" y="1182"/>
                </a:lnTo>
                <a:lnTo>
                  <a:pt x="1672" y="1187"/>
                </a:lnTo>
                <a:lnTo>
                  <a:pt x="1671" y="1196"/>
                </a:lnTo>
                <a:lnTo>
                  <a:pt x="1670" y="1199"/>
                </a:lnTo>
                <a:lnTo>
                  <a:pt x="1670" y="1200"/>
                </a:lnTo>
                <a:lnTo>
                  <a:pt x="1669" y="1200"/>
                </a:lnTo>
                <a:lnTo>
                  <a:pt x="1671" y="1203"/>
                </a:lnTo>
                <a:lnTo>
                  <a:pt x="1672" y="1205"/>
                </a:lnTo>
                <a:lnTo>
                  <a:pt x="1672" y="1206"/>
                </a:lnTo>
                <a:lnTo>
                  <a:pt x="1673" y="1206"/>
                </a:lnTo>
                <a:lnTo>
                  <a:pt x="1674" y="1205"/>
                </a:lnTo>
                <a:lnTo>
                  <a:pt x="1676" y="1204"/>
                </a:lnTo>
                <a:lnTo>
                  <a:pt x="1679" y="1203"/>
                </a:lnTo>
                <a:lnTo>
                  <a:pt x="1681" y="1203"/>
                </a:lnTo>
                <a:lnTo>
                  <a:pt x="1683" y="1203"/>
                </a:lnTo>
                <a:lnTo>
                  <a:pt x="1683" y="1209"/>
                </a:lnTo>
                <a:lnTo>
                  <a:pt x="1687" y="1208"/>
                </a:lnTo>
                <a:lnTo>
                  <a:pt x="1692" y="1209"/>
                </a:lnTo>
                <a:lnTo>
                  <a:pt x="1694" y="1196"/>
                </a:lnTo>
                <a:lnTo>
                  <a:pt x="1697" y="1180"/>
                </a:lnTo>
                <a:lnTo>
                  <a:pt x="1692" y="1180"/>
                </a:lnTo>
                <a:lnTo>
                  <a:pt x="1690" y="1179"/>
                </a:lnTo>
                <a:lnTo>
                  <a:pt x="1689" y="1179"/>
                </a:lnTo>
                <a:lnTo>
                  <a:pt x="1689" y="1178"/>
                </a:lnTo>
                <a:lnTo>
                  <a:pt x="1689" y="1173"/>
                </a:lnTo>
                <a:lnTo>
                  <a:pt x="1689" y="1169"/>
                </a:lnTo>
                <a:lnTo>
                  <a:pt x="1698" y="1170"/>
                </a:lnTo>
                <a:lnTo>
                  <a:pt x="1704" y="1169"/>
                </a:lnTo>
                <a:lnTo>
                  <a:pt x="1709" y="1168"/>
                </a:lnTo>
                <a:lnTo>
                  <a:pt x="1710" y="1167"/>
                </a:lnTo>
                <a:lnTo>
                  <a:pt x="1711" y="1166"/>
                </a:lnTo>
                <a:lnTo>
                  <a:pt x="1714" y="1163"/>
                </a:lnTo>
                <a:lnTo>
                  <a:pt x="1716" y="1159"/>
                </a:lnTo>
                <a:lnTo>
                  <a:pt x="1718" y="1154"/>
                </a:lnTo>
                <a:lnTo>
                  <a:pt x="1722" y="1147"/>
                </a:lnTo>
                <a:lnTo>
                  <a:pt x="1714" y="1141"/>
                </a:lnTo>
                <a:lnTo>
                  <a:pt x="1714" y="1139"/>
                </a:lnTo>
                <a:lnTo>
                  <a:pt x="1714" y="1137"/>
                </a:lnTo>
                <a:lnTo>
                  <a:pt x="1715" y="1136"/>
                </a:lnTo>
                <a:lnTo>
                  <a:pt x="1717" y="1135"/>
                </a:lnTo>
                <a:lnTo>
                  <a:pt x="1717" y="1134"/>
                </a:lnTo>
                <a:lnTo>
                  <a:pt x="1717" y="1133"/>
                </a:lnTo>
                <a:lnTo>
                  <a:pt x="1725" y="1125"/>
                </a:lnTo>
                <a:lnTo>
                  <a:pt x="1729" y="1121"/>
                </a:lnTo>
                <a:lnTo>
                  <a:pt x="1732" y="1119"/>
                </a:lnTo>
                <a:lnTo>
                  <a:pt x="1734" y="1119"/>
                </a:lnTo>
                <a:lnTo>
                  <a:pt x="1736" y="1118"/>
                </a:lnTo>
                <a:lnTo>
                  <a:pt x="1739" y="1119"/>
                </a:lnTo>
                <a:lnTo>
                  <a:pt x="1742" y="1119"/>
                </a:lnTo>
                <a:lnTo>
                  <a:pt x="1745" y="1119"/>
                </a:lnTo>
                <a:lnTo>
                  <a:pt x="1748" y="1113"/>
                </a:lnTo>
                <a:lnTo>
                  <a:pt x="1751" y="1113"/>
                </a:lnTo>
                <a:lnTo>
                  <a:pt x="1753" y="1113"/>
                </a:lnTo>
                <a:lnTo>
                  <a:pt x="1755" y="1114"/>
                </a:lnTo>
                <a:lnTo>
                  <a:pt x="1758" y="1115"/>
                </a:lnTo>
                <a:lnTo>
                  <a:pt x="1760" y="1116"/>
                </a:lnTo>
                <a:lnTo>
                  <a:pt x="1762" y="1116"/>
                </a:lnTo>
                <a:lnTo>
                  <a:pt x="1763" y="1109"/>
                </a:lnTo>
                <a:lnTo>
                  <a:pt x="1765" y="1102"/>
                </a:lnTo>
                <a:lnTo>
                  <a:pt x="1768" y="1103"/>
                </a:lnTo>
                <a:lnTo>
                  <a:pt x="1769" y="1105"/>
                </a:lnTo>
                <a:lnTo>
                  <a:pt x="1769" y="1107"/>
                </a:lnTo>
                <a:lnTo>
                  <a:pt x="1770" y="1110"/>
                </a:lnTo>
                <a:lnTo>
                  <a:pt x="1775" y="1110"/>
                </a:lnTo>
                <a:lnTo>
                  <a:pt x="1777" y="1109"/>
                </a:lnTo>
                <a:lnTo>
                  <a:pt x="1777" y="1108"/>
                </a:lnTo>
                <a:lnTo>
                  <a:pt x="1776" y="1107"/>
                </a:lnTo>
                <a:lnTo>
                  <a:pt x="1779" y="1106"/>
                </a:lnTo>
                <a:lnTo>
                  <a:pt x="1781" y="1105"/>
                </a:lnTo>
                <a:lnTo>
                  <a:pt x="1784" y="1104"/>
                </a:lnTo>
                <a:lnTo>
                  <a:pt x="1778" y="1100"/>
                </a:lnTo>
                <a:lnTo>
                  <a:pt x="1770" y="1096"/>
                </a:lnTo>
                <a:lnTo>
                  <a:pt x="1772" y="1093"/>
                </a:lnTo>
                <a:lnTo>
                  <a:pt x="1775" y="1091"/>
                </a:lnTo>
                <a:lnTo>
                  <a:pt x="1777" y="1089"/>
                </a:lnTo>
                <a:lnTo>
                  <a:pt x="1779" y="1088"/>
                </a:lnTo>
                <a:lnTo>
                  <a:pt x="1779" y="1085"/>
                </a:lnTo>
                <a:lnTo>
                  <a:pt x="1779" y="1084"/>
                </a:lnTo>
                <a:lnTo>
                  <a:pt x="1779" y="1083"/>
                </a:lnTo>
                <a:lnTo>
                  <a:pt x="1778" y="1083"/>
                </a:lnTo>
                <a:lnTo>
                  <a:pt x="1776" y="1082"/>
                </a:lnTo>
                <a:lnTo>
                  <a:pt x="1776" y="1081"/>
                </a:lnTo>
                <a:lnTo>
                  <a:pt x="1776" y="1079"/>
                </a:lnTo>
                <a:lnTo>
                  <a:pt x="1782" y="1076"/>
                </a:lnTo>
                <a:lnTo>
                  <a:pt x="1783" y="1074"/>
                </a:lnTo>
                <a:lnTo>
                  <a:pt x="1784" y="1072"/>
                </a:lnTo>
                <a:lnTo>
                  <a:pt x="1785" y="1067"/>
                </a:lnTo>
                <a:lnTo>
                  <a:pt x="1786" y="1062"/>
                </a:lnTo>
                <a:lnTo>
                  <a:pt x="1786" y="1059"/>
                </a:lnTo>
                <a:lnTo>
                  <a:pt x="1787" y="1057"/>
                </a:lnTo>
                <a:lnTo>
                  <a:pt x="1797" y="1057"/>
                </a:lnTo>
                <a:lnTo>
                  <a:pt x="1801" y="1056"/>
                </a:lnTo>
                <a:lnTo>
                  <a:pt x="1804" y="1055"/>
                </a:lnTo>
                <a:lnTo>
                  <a:pt x="1807" y="1053"/>
                </a:lnTo>
                <a:lnTo>
                  <a:pt x="1809" y="1050"/>
                </a:lnTo>
                <a:lnTo>
                  <a:pt x="1815" y="1040"/>
                </a:lnTo>
                <a:lnTo>
                  <a:pt x="1815" y="1048"/>
                </a:lnTo>
                <a:lnTo>
                  <a:pt x="1824" y="1043"/>
                </a:lnTo>
                <a:lnTo>
                  <a:pt x="1823" y="1043"/>
                </a:lnTo>
                <a:lnTo>
                  <a:pt x="1824" y="1044"/>
                </a:lnTo>
                <a:lnTo>
                  <a:pt x="1826" y="1046"/>
                </a:lnTo>
                <a:lnTo>
                  <a:pt x="1829" y="1048"/>
                </a:lnTo>
                <a:lnTo>
                  <a:pt x="1843" y="1037"/>
                </a:lnTo>
                <a:lnTo>
                  <a:pt x="1840" y="1029"/>
                </a:lnTo>
                <a:lnTo>
                  <a:pt x="1838" y="1020"/>
                </a:lnTo>
                <a:lnTo>
                  <a:pt x="1840" y="1021"/>
                </a:lnTo>
                <a:lnTo>
                  <a:pt x="1842" y="1023"/>
                </a:lnTo>
                <a:lnTo>
                  <a:pt x="1846" y="1026"/>
                </a:lnTo>
                <a:lnTo>
                  <a:pt x="1849" y="1026"/>
                </a:lnTo>
                <a:lnTo>
                  <a:pt x="1851" y="1026"/>
                </a:lnTo>
                <a:lnTo>
                  <a:pt x="1856" y="1025"/>
                </a:lnTo>
                <a:lnTo>
                  <a:pt x="1860" y="1024"/>
                </a:lnTo>
                <a:lnTo>
                  <a:pt x="1862" y="1023"/>
                </a:lnTo>
                <a:lnTo>
                  <a:pt x="1863" y="1023"/>
                </a:lnTo>
                <a:lnTo>
                  <a:pt x="1861" y="1019"/>
                </a:lnTo>
                <a:lnTo>
                  <a:pt x="1860" y="1016"/>
                </a:lnTo>
                <a:lnTo>
                  <a:pt x="1860" y="1015"/>
                </a:lnTo>
                <a:lnTo>
                  <a:pt x="1860" y="1014"/>
                </a:lnTo>
                <a:lnTo>
                  <a:pt x="1861" y="1014"/>
                </a:lnTo>
                <a:lnTo>
                  <a:pt x="1862" y="1014"/>
                </a:lnTo>
                <a:lnTo>
                  <a:pt x="1864" y="1016"/>
                </a:lnTo>
                <a:lnTo>
                  <a:pt x="1866" y="1020"/>
                </a:lnTo>
                <a:lnTo>
                  <a:pt x="1872" y="1015"/>
                </a:lnTo>
                <a:lnTo>
                  <a:pt x="1877" y="1010"/>
                </a:lnTo>
                <a:lnTo>
                  <a:pt x="1879" y="1007"/>
                </a:lnTo>
                <a:lnTo>
                  <a:pt x="1881" y="1004"/>
                </a:lnTo>
                <a:lnTo>
                  <a:pt x="1886" y="998"/>
                </a:lnTo>
                <a:lnTo>
                  <a:pt x="1886" y="1000"/>
                </a:lnTo>
                <a:lnTo>
                  <a:pt x="1886" y="999"/>
                </a:lnTo>
                <a:lnTo>
                  <a:pt x="1887" y="999"/>
                </a:lnTo>
                <a:lnTo>
                  <a:pt x="1888" y="1000"/>
                </a:lnTo>
                <a:lnTo>
                  <a:pt x="1889" y="1000"/>
                </a:lnTo>
                <a:lnTo>
                  <a:pt x="1891" y="1003"/>
                </a:lnTo>
                <a:lnTo>
                  <a:pt x="1886" y="1003"/>
                </a:lnTo>
                <a:lnTo>
                  <a:pt x="1885" y="1008"/>
                </a:lnTo>
                <a:lnTo>
                  <a:pt x="1885" y="1011"/>
                </a:lnTo>
                <a:lnTo>
                  <a:pt x="1884" y="1013"/>
                </a:lnTo>
                <a:lnTo>
                  <a:pt x="1883" y="1017"/>
                </a:lnTo>
                <a:lnTo>
                  <a:pt x="1894" y="1014"/>
                </a:lnTo>
                <a:lnTo>
                  <a:pt x="1905" y="1012"/>
                </a:lnTo>
                <a:lnTo>
                  <a:pt x="1908" y="1014"/>
                </a:lnTo>
                <a:lnTo>
                  <a:pt x="1909" y="1016"/>
                </a:lnTo>
                <a:lnTo>
                  <a:pt x="1909" y="1017"/>
                </a:lnTo>
                <a:lnTo>
                  <a:pt x="1908" y="1017"/>
                </a:lnTo>
                <a:lnTo>
                  <a:pt x="1905" y="1018"/>
                </a:lnTo>
                <a:lnTo>
                  <a:pt x="1904" y="1020"/>
                </a:lnTo>
                <a:lnTo>
                  <a:pt x="1904" y="1022"/>
                </a:lnTo>
                <a:lnTo>
                  <a:pt x="1902" y="1026"/>
                </a:lnTo>
                <a:lnTo>
                  <a:pt x="1893" y="1023"/>
                </a:lnTo>
                <a:lnTo>
                  <a:pt x="1890" y="1023"/>
                </a:lnTo>
                <a:lnTo>
                  <a:pt x="1888" y="1023"/>
                </a:lnTo>
                <a:lnTo>
                  <a:pt x="1883" y="1025"/>
                </a:lnTo>
                <a:lnTo>
                  <a:pt x="1874" y="1029"/>
                </a:lnTo>
                <a:lnTo>
                  <a:pt x="1874" y="1034"/>
                </a:lnTo>
                <a:lnTo>
                  <a:pt x="1870" y="1034"/>
                </a:lnTo>
                <a:lnTo>
                  <a:pt x="1866" y="1034"/>
                </a:lnTo>
                <a:lnTo>
                  <a:pt x="1863" y="1039"/>
                </a:lnTo>
                <a:lnTo>
                  <a:pt x="1861" y="1042"/>
                </a:lnTo>
                <a:lnTo>
                  <a:pt x="1858" y="1045"/>
                </a:lnTo>
                <a:lnTo>
                  <a:pt x="1857" y="1048"/>
                </a:lnTo>
                <a:lnTo>
                  <a:pt x="1857" y="1050"/>
                </a:lnTo>
                <a:lnTo>
                  <a:pt x="1857" y="1051"/>
                </a:lnTo>
                <a:lnTo>
                  <a:pt x="1858" y="1054"/>
                </a:lnTo>
                <a:lnTo>
                  <a:pt x="1862" y="1057"/>
                </a:lnTo>
                <a:lnTo>
                  <a:pt x="1869" y="1059"/>
                </a:lnTo>
                <a:lnTo>
                  <a:pt x="1872" y="1065"/>
                </a:lnTo>
                <a:lnTo>
                  <a:pt x="1874" y="1065"/>
                </a:lnTo>
                <a:lnTo>
                  <a:pt x="1875" y="1065"/>
                </a:lnTo>
                <a:lnTo>
                  <a:pt x="1876" y="1065"/>
                </a:lnTo>
                <a:lnTo>
                  <a:pt x="1877" y="1064"/>
                </a:lnTo>
                <a:lnTo>
                  <a:pt x="1878" y="1062"/>
                </a:lnTo>
                <a:lnTo>
                  <a:pt x="1879" y="1062"/>
                </a:lnTo>
                <a:lnTo>
                  <a:pt x="1880" y="1062"/>
                </a:lnTo>
                <a:lnTo>
                  <a:pt x="1880" y="1063"/>
                </a:lnTo>
                <a:lnTo>
                  <a:pt x="1880" y="1065"/>
                </a:lnTo>
                <a:lnTo>
                  <a:pt x="1881" y="1067"/>
                </a:lnTo>
                <a:lnTo>
                  <a:pt x="1883" y="1068"/>
                </a:lnTo>
                <a:lnTo>
                  <a:pt x="1894" y="1059"/>
                </a:lnTo>
                <a:lnTo>
                  <a:pt x="1895" y="1058"/>
                </a:lnTo>
                <a:lnTo>
                  <a:pt x="1895" y="1056"/>
                </a:lnTo>
                <a:lnTo>
                  <a:pt x="1895" y="1052"/>
                </a:lnTo>
                <a:lnTo>
                  <a:pt x="1895" y="1048"/>
                </a:lnTo>
                <a:lnTo>
                  <a:pt x="1897" y="1045"/>
                </a:lnTo>
                <a:lnTo>
                  <a:pt x="1900" y="1043"/>
                </a:lnTo>
                <a:lnTo>
                  <a:pt x="1901" y="1042"/>
                </a:lnTo>
                <a:lnTo>
                  <a:pt x="1902" y="1042"/>
                </a:lnTo>
                <a:lnTo>
                  <a:pt x="1903" y="1043"/>
                </a:lnTo>
                <a:lnTo>
                  <a:pt x="1903" y="1044"/>
                </a:lnTo>
                <a:lnTo>
                  <a:pt x="1904" y="1045"/>
                </a:lnTo>
                <a:lnTo>
                  <a:pt x="1906" y="1046"/>
                </a:lnTo>
                <a:lnTo>
                  <a:pt x="1907" y="1046"/>
                </a:lnTo>
                <a:lnTo>
                  <a:pt x="1908" y="1045"/>
                </a:lnTo>
                <a:lnTo>
                  <a:pt x="1909" y="1041"/>
                </a:lnTo>
                <a:lnTo>
                  <a:pt x="1910" y="1038"/>
                </a:lnTo>
                <a:lnTo>
                  <a:pt x="1911" y="1037"/>
                </a:lnTo>
                <a:lnTo>
                  <a:pt x="1912" y="1037"/>
                </a:lnTo>
                <a:lnTo>
                  <a:pt x="1914" y="1036"/>
                </a:lnTo>
                <a:lnTo>
                  <a:pt x="1918" y="1037"/>
                </a:lnTo>
                <a:lnTo>
                  <a:pt x="1921" y="1037"/>
                </a:lnTo>
                <a:lnTo>
                  <a:pt x="1925" y="1037"/>
                </a:lnTo>
                <a:lnTo>
                  <a:pt x="1925" y="1034"/>
                </a:lnTo>
                <a:lnTo>
                  <a:pt x="1935" y="1029"/>
                </a:lnTo>
                <a:lnTo>
                  <a:pt x="1939" y="1026"/>
                </a:lnTo>
                <a:lnTo>
                  <a:pt x="1941" y="1025"/>
                </a:lnTo>
                <a:lnTo>
                  <a:pt x="1942" y="1023"/>
                </a:lnTo>
                <a:lnTo>
                  <a:pt x="1942" y="1017"/>
                </a:lnTo>
                <a:lnTo>
                  <a:pt x="1947" y="1017"/>
                </a:lnTo>
                <a:lnTo>
                  <a:pt x="1946" y="1013"/>
                </a:lnTo>
                <a:lnTo>
                  <a:pt x="1945" y="1010"/>
                </a:lnTo>
                <a:lnTo>
                  <a:pt x="1944" y="1006"/>
                </a:lnTo>
                <a:lnTo>
                  <a:pt x="1942" y="1000"/>
                </a:lnTo>
                <a:lnTo>
                  <a:pt x="1936" y="1005"/>
                </a:lnTo>
                <a:lnTo>
                  <a:pt x="1933" y="1007"/>
                </a:lnTo>
                <a:lnTo>
                  <a:pt x="1930" y="1009"/>
                </a:lnTo>
                <a:lnTo>
                  <a:pt x="1927" y="1010"/>
                </a:lnTo>
                <a:lnTo>
                  <a:pt x="1924" y="1011"/>
                </a:lnTo>
                <a:lnTo>
                  <a:pt x="1922" y="1011"/>
                </a:lnTo>
                <a:lnTo>
                  <a:pt x="1920" y="1010"/>
                </a:lnTo>
                <a:lnTo>
                  <a:pt x="1917" y="1009"/>
                </a:lnTo>
                <a:lnTo>
                  <a:pt x="1911" y="1003"/>
                </a:lnTo>
                <a:lnTo>
                  <a:pt x="1907" y="1003"/>
                </a:lnTo>
                <a:lnTo>
                  <a:pt x="1906" y="1005"/>
                </a:lnTo>
                <a:lnTo>
                  <a:pt x="1905" y="1006"/>
                </a:lnTo>
                <a:lnTo>
                  <a:pt x="1904" y="1006"/>
                </a:lnTo>
                <a:lnTo>
                  <a:pt x="1902" y="1006"/>
                </a:lnTo>
                <a:lnTo>
                  <a:pt x="1903" y="1005"/>
                </a:lnTo>
                <a:lnTo>
                  <a:pt x="1902" y="1003"/>
                </a:lnTo>
                <a:lnTo>
                  <a:pt x="1900" y="1000"/>
                </a:lnTo>
                <a:lnTo>
                  <a:pt x="1905" y="1000"/>
                </a:lnTo>
                <a:lnTo>
                  <a:pt x="1905" y="999"/>
                </a:lnTo>
                <a:lnTo>
                  <a:pt x="1906" y="998"/>
                </a:lnTo>
                <a:lnTo>
                  <a:pt x="1908" y="995"/>
                </a:lnTo>
                <a:lnTo>
                  <a:pt x="1898" y="992"/>
                </a:lnTo>
                <a:lnTo>
                  <a:pt x="1893" y="991"/>
                </a:lnTo>
                <a:lnTo>
                  <a:pt x="1888" y="989"/>
                </a:lnTo>
                <a:lnTo>
                  <a:pt x="1889" y="986"/>
                </a:lnTo>
                <a:lnTo>
                  <a:pt x="1890" y="981"/>
                </a:lnTo>
                <a:lnTo>
                  <a:pt x="1890" y="977"/>
                </a:lnTo>
                <a:lnTo>
                  <a:pt x="1889" y="976"/>
                </a:lnTo>
                <a:lnTo>
                  <a:pt x="1888" y="975"/>
                </a:lnTo>
                <a:lnTo>
                  <a:pt x="1890" y="975"/>
                </a:lnTo>
                <a:lnTo>
                  <a:pt x="1891" y="975"/>
                </a:lnTo>
                <a:lnTo>
                  <a:pt x="1891" y="974"/>
                </a:lnTo>
                <a:lnTo>
                  <a:pt x="1891" y="972"/>
                </a:lnTo>
                <a:lnTo>
                  <a:pt x="1891" y="969"/>
                </a:lnTo>
                <a:lnTo>
                  <a:pt x="1887" y="970"/>
                </a:lnTo>
                <a:lnTo>
                  <a:pt x="1885" y="971"/>
                </a:lnTo>
                <a:lnTo>
                  <a:pt x="1885" y="972"/>
                </a:lnTo>
                <a:lnTo>
                  <a:pt x="1886" y="972"/>
                </a:lnTo>
                <a:lnTo>
                  <a:pt x="1883" y="972"/>
                </a:lnTo>
                <a:lnTo>
                  <a:pt x="1886" y="964"/>
                </a:lnTo>
                <a:lnTo>
                  <a:pt x="1886" y="962"/>
                </a:lnTo>
                <a:lnTo>
                  <a:pt x="1886" y="961"/>
                </a:lnTo>
                <a:lnTo>
                  <a:pt x="1888" y="955"/>
                </a:lnTo>
                <a:lnTo>
                  <a:pt x="1890" y="951"/>
                </a:lnTo>
                <a:lnTo>
                  <a:pt x="1890" y="949"/>
                </a:lnTo>
                <a:lnTo>
                  <a:pt x="1889" y="948"/>
                </a:lnTo>
                <a:lnTo>
                  <a:pt x="1888" y="947"/>
                </a:lnTo>
                <a:lnTo>
                  <a:pt x="1883" y="948"/>
                </a:lnTo>
                <a:lnTo>
                  <a:pt x="1872" y="949"/>
                </a:lnTo>
                <a:lnTo>
                  <a:pt x="1864" y="950"/>
                </a:lnTo>
                <a:lnTo>
                  <a:pt x="1863" y="950"/>
                </a:lnTo>
                <a:lnTo>
                  <a:pt x="1866" y="950"/>
                </a:lnTo>
                <a:lnTo>
                  <a:pt x="1863" y="944"/>
                </a:lnTo>
                <a:lnTo>
                  <a:pt x="1860" y="939"/>
                </a:lnTo>
                <a:lnTo>
                  <a:pt x="1862" y="939"/>
                </a:lnTo>
                <a:lnTo>
                  <a:pt x="1864" y="939"/>
                </a:lnTo>
                <a:lnTo>
                  <a:pt x="1865" y="938"/>
                </a:lnTo>
                <a:lnTo>
                  <a:pt x="1865" y="937"/>
                </a:lnTo>
                <a:lnTo>
                  <a:pt x="1866" y="936"/>
                </a:lnTo>
                <a:lnTo>
                  <a:pt x="1867" y="935"/>
                </a:lnTo>
                <a:lnTo>
                  <a:pt x="1869" y="936"/>
                </a:lnTo>
                <a:lnTo>
                  <a:pt x="1874" y="944"/>
                </a:lnTo>
                <a:lnTo>
                  <a:pt x="1876" y="943"/>
                </a:lnTo>
                <a:lnTo>
                  <a:pt x="1877" y="942"/>
                </a:lnTo>
                <a:lnTo>
                  <a:pt x="1883" y="941"/>
                </a:lnTo>
                <a:lnTo>
                  <a:pt x="1884" y="935"/>
                </a:lnTo>
                <a:lnTo>
                  <a:pt x="1885" y="932"/>
                </a:lnTo>
                <a:lnTo>
                  <a:pt x="1885" y="931"/>
                </a:lnTo>
                <a:lnTo>
                  <a:pt x="1886" y="930"/>
                </a:lnTo>
                <a:lnTo>
                  <a:pt x="1890" y="930"/>
                </a:lnTo>
                <a:lnTo>
                  <a:pt x="1894" y="930"/>
                </a:lnTo>
                <a:lnTo>
                  <a:pt x="1895" y="928"/>
                </a:lnTo>
                <a:lnTo>
                  <a:pt x="1895" y="927"/>
                </a:lnTo>
                <a:lnTo>
                  <a:pt x="1894" y="923"/>
                </a:lnTo>
                <a:lnTo>
                  <a:pt x="1893" y="919"/>
                </a:lnTo>
                <a:lnTo>
                  <a:pt x="1893" y="918"/>
                </a:lnTo>
                <a:lnTo>
                  <a:pt x="1894" y="916"/>
                </a:lnTo>
                <a:lnTo>
                  <a:pt x="1895" y="917"/>
                </a:lnTo>
                <a:lnTo>
                  <a:pt x="1896" y="917"/>
                </a:lnTo>
                <a:lnTo>
                  <a:pt x="1897" y="917"/>
                </a:lnTo>
                <a:lnTo>
                  <a:pt x="1898" y="916"/>
                </a:lnTo>
                <a:lnTo>
                  <a:pt x="1900" y="913"/>
                </a:lnTo>
                <a:lnTo>
                  <a:pt x="1894" y="910"/>
                </a:lnTo>
                <a:lnTo>
                  <a:pt x="1892" y="908"/>
                </a:lnTo>
                <a:lnTo>
                  <a:pt x="1891" y="906"/>
                </a:lnTo>
                <a:lnTo>
                  <a:pt x="1891" y="905"/>
                </a:lnTo>
                <a:lnTo>
                  <a:pt x="1891" y="902"/>
                </a:lnTo>
                <a:lnTo>
                  <a:pt x="1886" y="900"/>
                </a:lnTo>
                <a:lnTo>
                  <a:pt x="1881" y="899"/>
                </a:lnTo>
                <a:lnTo>
                  <a:pt x="1876" y="899"/>
                </a:lnTo>
                <a:lnTo>
                  <a:pt x="1871" y="900"/>
                </a:lnTo>
                <a:lnTo>
                  <a:pt x="1867" y="901"/>
                </a:lnTo>
                <a:lnTo>
                  <a:pt x="1863" y="902"/>
                </a:lnTo>
                <a:lnTo>
                  <a:pt x="1855" y="905"/>
                </a:lnTo>
                <a:lnTo>
                  <a:pt x="1849" y="907"/>
                </a:lnTo>
                <a:lnTo>
                  <a:pt x="1843" y="910"/>
                </a:lnTo>
                <a:lnTo>
                  <a:pt x="1834" y="915"/>
                </a:lnTo>
                <a:lnTo>
                  <a:pt x="1825" y="921"/>
                </a:lnTo>
                <a:lnTo>
                  <a:pt x="1817" y="928"/>
                </a:lnTo>
                <a:lnTo>
                  <a:pt x="1809" y="935"/>
                </a:lnTo>
                <a:lnTo>
                  <a:pt x="1794" y="950"/>
                </a:lnTo>
                <a:lnTo>
                  <a:pt x="1782" y="967"/>
                </a:lnTo>
                <a:lnTo>
                  <a:pt x="1786" y="959"/>
                </a:lnTo>
                <a:lnTo>
                  <a:pt x="1790" y="953"/>
                </a:lnTo>
                <a:lnTo>
                  <a:pt x="1793" y="945"/>
                </a:lnTo>
                <a:lnTo>
                  <a:pt x="1796" y="939"/>
                </a:lnTo>
                <a:lnTo>
                  <a:pt x="1793" y="938"/>
                </a:lnTo>
                <a:lnTo>
                  <a:pt x="1791" y="939"/>
                </a:lnTo>
                <a:lnTo>
                  <a:pt x="1790" y="938"/>
                </a:lnTo>
                <a:lnTo>
                  <a:pt x="1789" y="937"/>
                </a:lnTo>
                <a:lnTo>
                  <a:pt x="1790" y="936"/>
                </a:lnTo>
                <a:lnTo>
                  <a:pt x="1791" y="935"/>
                </a:lnTo>
                <a:lnTo>
                  <a:pt x="1791" y="934"/>
                </a:lnTo>
                <a:lnTo>
                  <a:pt x="1794" y="934"/>
                </a:lnTo>
                <a:lnTo>
                  <a:pt x="1796" y="934"/>
                </a:lnTo>
                <a:lnTo>
                  <a:pt x="1798" y="933"/>
                </a:lnTo>
                <a:lnTo>
                  <a:pt x="1800" y="931"/>
                </a:lnTo>
                <a:lnTo>
                  <a:pt x="1802" y="929"/>
                </a:lnTo>
                <a:lnTo>
                  <a:pt x="1804" y="925"/>
                </a:lnTo>
                <a:lnTo>
                  <a:pt x="1807" y="920"/>
                </a:lnTo>
                <a:lnTo>
                  <a:pt x="1810" y="916"/>
                </a:lnTo>
                <a:lnTo>
                  <a:pt x="1811" y="915"/>
                </a:lnTo>
                <a:lnTo>
                  <a:pt x="1814" y="916"/>
                </a:lnTo>
                <a:lnTo>
                  <a:pt x="1816" y="916"/>
                </a:lnTo>
                <a:lnTo>
                  <a:pt x="1818" y="916"/>
                </a:lnTo>
                <a:lnTo>
                  <a:pt x="1819" y="914"/>
                </a:lnTo>
                <a:lnTo>
                  <a:pt x="1818" y="912"/>
                </a:lnTo>
                <a:lnTo>
                  <a:pt x="1818" y="909"/>
                </a:lnTo>
                <a:lnTo>
                  <a:pt x="1818" y="908"/>
                </a:lnTo>
                <a:lnTo>
                  <a:pt x="1819" y="907"/>
                </a:lnTo>
                <a:lnTo>
                  <a:pt x="1820" y="907"/>
                </a:lnTo>
                <a:lnTo>
                  <a:pt x="1822" y="907"/>
                </a:lnTo>
                <a:lnTo>
                  <a:pt x="1824" y="908"/>
                </a:lnTo>
                <a:lnTo>
                  <a:pt x="1827" y="908"/>
                </a:lnTo>
                <a:lnTo>
                  <a:pt x="1841" y="891"/>
                </a:lnTo>
                <a:lnTo>
                  <a:pt x="1843" y="888"/>
                </a:lnTo>
                <a:lnTo>
                  <a:pt x="1846" y="885"/>
                </a:lnTo>
                <a:lnTo>
                  <a:pt x="1850" y="880"/>
                </a:lnTo>
                <a:lnTo>
                  <a:pt x="1852" y="878"/>
                </a:lnTo>
                <a:lnTo>
                  <a:pt x="1854" y="877"/>
                </a:lnTo>
                <a:lnTo>
                  <a:pt x="1855" y="877"/>
                </a:lnTo>
                <a:lnTo>
                  <a:pt x="1863" y="875"/>
                </a:lnTo>
                <a:lnTo>
                  <a:pt x="1872" y="874"/>
                </a:lnTo>
                <a:lnTo>
                  <a:pt x="1881" y="875"/>
                </a:lnTo>
                <a:lnTo>
                  <a:pt x="1889" y="875"/>
                </a:lnTo>
                <a:lnTo>
                  <a:pt x="1905" y="877"/>
                </a:lnTo>
                <a:lnTo>
                  <a:pt x="1911" y="877"/>
                </a:lnTo>
                <a:lnTo>
                  <a:pt x="1917" y="877"/>
                </a:lnTo>
                <a:lnTo>
                  <a:pt x="1918" y="876"/>
                </a:lnTo>
                <a:lnTo>
                  <a:pt x="1918" y="875"/>
                </a:lnTo>
                <a:lnTo>
                  <a:pt x="1920" y="873"/>
                </a:lnTo>
                <a:lnTo>
                  <a:pt x="1921" y="872"/>
                </a:lnTo>
                <a:lnTo>
                  <a:pt x="1923" y="871"/>
                </a:lnTo>
                <a:lnTo>
                  <a:pt x="1925" y="871"/>
                </a:lnTo>
                <a:lnTo>
                  <a:pt x="1928" y="871"/>
                </a:lnTo>
                <a:lnTo>
                  <a:pt x="1929" y="871"/>
                </a:lnTo>
                <a:lnTo>
                  <a:pt x="1929" y="872"/>
                </a:lnTo>
                <a:lnTo>
                  <a:pt x="1930" y="875"/>
                </a:lnTo>
                <a:lnTo>
                  <a:pt x="1932" y="877"/>
                </a:lnTo>
                <a:lnTo>
                  <a:pt x="1934" y="877"/>
                </a:lnTo>
                <a:lnTo>
                  <a:pt x="1936" y="877"/>
                </a:lnTo>
                <a:lnTo>
                  <a:pt x="1937" y="876"/>
                </a:lnTo>
                <a:lnTo>
                  <a:pt x="1937" y="875"/>
                </a:lnTo>
                <a:lnTo>
                  <a:pt x="1938" y="873"/>
                </a:lnTo>
                <a:lnTo>
                  <a:pt x="1939" y="871"/>
                </a:lnTo>
                <a:lnTo>
                  <a:pt x="1940" y="871"/>
                </a:lnTo>
                <a:lnTo>
                  <a:pt x="1942" y="871"/>
                </a:lnTo>
                <a:lnTo>
                  <a:pt x="1943" y="872"/>
                </a:lnTo>
                <a:lnTo>
                  <a:pt x="1945" y="875"/>
                </a:lnTo>
                <a:lnTo>
                  <a:pt x="1947" y="879"/>
                </a:lnTo>
                <a:lnTo>
                  <a:pt x="1956" y="879"/>
                </a:lnTo>
                <a:lnTo>
                  <a:pt x="1956" y="874"/>
                </a:lnTo>
                <a:lnTo>
                  <a:pt x="1958" y="874"/>
                </a:lnTo>
                <a:lnTo>
                  <a:pt x="1960" y="874"/>
                </a:lnTo>
                <a:lnTo>
                  <a:pt x="1963" y="876"/>
                </a:lnTo>
                <a:lnTo>
                  <a:pt x="1964" y="877"/>
                </a:lnTo>
                <a:lnTo>
                  <a:pt x="1965" y="877"/>
                </a:lnTo>
                <a:lnTo>
                  <a:pt x="1967" y="877"/>
                </a:lnTo>
                <a:lnTo>
                  <a:pt x="1970" y="877"/>
                </a:lnTo>
                <a:lnTo>
                  <a:pt x="1970" y="871"/>
                </a:lnTo>
                <a:lnTo>
                  <a:pt x="1971" y="871"/>
                </a:lnTo>
                <a:lnTo>
                  <a:pt x="1973" y="870"/>
                </a:lnTo>
                <a:lnTo>
                  <a:pt x="1976" y="871"/>
                </a:lnTo>
                <a:lnTo>
                  <a:pt x="1979" y="871"/>
                </a:lnTo>
                <a:lnTo>
                  <a:pt x="1981" y="871"/>
                </a:lnTo>
                <a:lnTo>
                  <a:pt x="1982" y="870"/>
                </a:lnTo>
                <a:lnTo>
                  <a:pt x="1983" y="869"/>
                </a:lnTo>
                <a:lnTo>
                  <a:pt x="1983" y="867"/>
                </a:lnTo>
                <a:lnTo>
                  <a:pt x="1983" y="863"/>
                </a:lnTo>
                <a:lnTo>
                  <a:pt x="1983" y="862"/>
                </a:lnTo>
                <a:lnTo>
                  <a:pt x="1984" y="862"/>
                </a:lnTo>
                <a:lnTo>
                  <a:pt x="1986" y="861"/>
                </a:lnTo>
                <a:lnTo>
                  <a:pt x="1987" y="860"/>
                </a:lnTo>
                <a:lnTo>
                  <a:pt x="1991" y="859"/>
                </a:lnTo>
                <a:lnTo>
                  <a:pt x="1995" y="858"/>
                </a:lnTo>
                <a:lnTo>
                  <a:pt x="1997" y="857"/>
                </a:lnTo>
                <a:lnTo>
                  <a:pt x="1998" y="856"/>
                </a:lnTo>
                <a:lnTo>
                  <a:pt x="1998" y="853"/>
                </a:lnTo>
                <a:lnTo>
                  <a:pt x="1998" y="848"/>
                </a:lnTo>
                <a:lnTo>
                  <a:pt x="1998" y="846"/>
                </a:lnTo>
                <a:lnTo>
                  <a:pt x="1998" y="843"/>
                </a:lnTo>
                <a:lnTo>
                  <a:pt x="1999" y="841"/>
                </a:lnTo>
                <a:lnTo>
                  <a:pt x="2001" y="839"/>
                </a:lnTo>
                <a:lnTo>
                  <a:pt x="2006" y="837"/>
                </a:lnTo>
                <a:lnTo>
                  <a:pt x="2013" y="835"/>
                </a:lnTo>
                <a:lnTo>
                  <a:pt x="2021" y="832"/>
                </a:lnTo>
                <a:lnTo>
                  <a:pt x="2026" y="831"/>
                </a:lnTo>
                <a:lnTo>
                  <a:pt x="2025" y="831"/>
                </a:lnTo>
                <a:lnTo>
                  <a:pt x="2025" y="832"/>
                </a:lnTo>
                <a:lnTo>
                  <a:pt x="2026" y="833"/>
                </a:lnTo>
                <a:lnTo>
                  <a:pt x="2027" y="833"/>
                </a:lnTo>
                <a:lnTo>
                  <a:pt x="2030" y="833"/>
                </a:lnTo>
                <a:lnTo>
                  <a:pt x="2032" y="833"/>
                </a:lnTo>
                <a:lnTo>
                  <a:pt x="2036" y="830"/>
                </a:lnTo>
                <a:lnTo>
                  <a:pt x="2044" y="824"/>
                </a:lnTo>
                <a:lnTo>
                  <a:pt x="2051" y="818"/>
                </a:lnTo>
                <a:lnTo>
                  <a:pt x="2053" y="815"/>
                </a:lnTo>
                <a:lnTo>
                  <a:pt x="2054" y="814"/>
                </a:lnTo>
                <a:lnTo>
                  <a:pt x="2052" y="786"/>
                </a:lnTo>
                <a:lnTo>
                  <a:pt x="2051" y="785"/>
                </a:lnTo>
                <a:lnTo>
                  <a:pt x="2050" y="786"/>
                </a:lnTo>
                <a:lnTo>
                  <a:pt x="2048" y="787"/>
                </a:lnTo>
                <a:lnTo>
                  <a:pt x="2046" y="788"/>
                </a:lnTo>
                <a:lnTo>
                  <a:pt x="2045" y="789"/>
                </a:lnTo>
                <a:lnTo>
                  <a:pt x="2043" y="788"/>
                </a:lnTo>
                <a:lnTo>
                  <a:pt x="2041" y="788"/>
                </a:lnTo>
                <a:lnTo>
                  <a:pt x="2040" y="787"/>
                </a:lnTo>
                <a:lnTo>
                  <a:pt x="2037" y="785"/>
                </a:lnTo>
                <a:lnTo>
                  <a:pt x="2032" y="779"/>
                </a:lnTo>
                <a:lnTo>
                  <a:pt x="2029" y="777"/>
                </a:lnTo>
                <a:lnTo>
                  <a:pt x="2027" y="776"/>
                </a:lnTo>
                <a:lnTo>
                  <a:pt x="2025" y="775"/>
                </a:lnTo>
                <a:lnTo>
                  <a:pt x="2020" y="774"/>
                </a:lnTo>
                <a:lnTo>
                  <a:pt x="2016" y="774"/>
                </a:lnTo>
                <a:lnTo>
                  <a:pt x="2012" y="774"/>
                </a:lnTo>
                <a:lnTo>
                  <a:pt x="2012" y="775"/>
                </a:lnTo>
                <a:lnTo>
                  <a:pt x="2013" y="777"/>
                </a:lnTo>
                <a:lnTo>
                  <a:pt x="2015" y="780"/>
                </a:lnTo>
                <a:lnTo>
                  <a:pt x="2007" y="781"/>
                </a:lnTo>
                <a:lnTo>
                  <a:pt x="2001" y="783"/>
                </a:lnTo>
                <a:lnTo>
                  <a:pt x="1989" y="788"/>
                </a:lnTo>
                <a:lnTo>
                  <a:pt x="1976" y="794"/>
                </a:lnTo>
                <a:lnTo>
                  <a:pt x="1976" y="800"/>
                </a:lnTo>
                <a:lnTo>
                  <a:pt x="1972" y="800"/>
                </a:lnTo>
                <a:lnTo>
                  <a:pt x="1970" y="799"/>
                </a:lnTo>
                <a:lnTo>
                  <a:pt x="1969" y="798"/>
                </a:lnTo>
                <a:lnTo>
                  <a:pt x="1969" y="796"/>
                </a:lnTo>
                <a:lnTo>
                  <a:pt x="1969" y="792"/>
                </a:lnTo>
                <a:lnTo>
                  <a:pt x="1968" y="790"/>
                </a:lnTo>
                <a:lnTo>
                  <a:pt x="1967" y="788"/>
                </a:lnTo>
                <a:lnTo>
                  <a:pt x="1969" y="788"/>
                </a:lnTo>
                <a:lnTo>
                  <a:pt x="1971" y="788"/>
                </a:lnTo>
                <a:lnTo>
                  <a:pt x="1976" y="788"/>
                </a:lnTo>
                <a:lnTo>
                  <a:pt x="1980" y="789"/>
                </a:lnTo>
                <a:lnTo>
                  <a:pt x="1982" y="789"/>
                </a:lnTo>
                <a:lnTo>
                  <a:pt x="1984" y="788"/>
                </a:lnTo>
                <a:lnTo>
                  <a:pt x="1986" y="787"/>
                </a:lnTo>
                <a:lnTo>
                  <a:pt x="1988" y="786"/>
                </a:lnTo>
                <a:lnTo>
                  <a:pt x="1992" y="782"/>
                </a:lnTo>
                <a:lnTo>
                  <a:pt x="1997" y="777"/>
                </a:lnTo>
                <a:lnTo>
                  <a:pt x="2001" y="774"/>
                </a:lnTo>
                <a:lnTo>
                  <a:pt x="2003" y="774"/>
                </a:lnTo>
                <a:lnTo>
                  <a:pt x="2005" y="773"/>
                </a:lnTo>
                <a:lnTo>
                  <a:pt x="2009" y="773"/>
                </a:lnTo>
                <a:lnTo>
                  <a:pt x="2014" y="773"/>
                </a:lnTo>
                <a:lnTo>
                  <a:pt x="2016" y="772"/>
                </a:lnTo>
                <a:lnTo>
                  <a:pt x="2018" y="772"/>
                </a:lnTo>
                <a:lnTo>
                  <a:pt x="2019" y="771"/>
                </a:lnTo>
                <a:lnTo>
                  <a:pt x="2020" y="769"/>
                </a:lnTo>
                <a:lnTo>
                  <a:pt x="2022" y="766"/>
                </a:lnTo>
                <a:lnTo>
                  <a:pt x="2024" y="763"/>
                </a:lnTo>
                <a:lnTo>
                  <a:pt x="2026" y="760"/>
                </a:lnTo>
                <a:lnTo>
                  <a:pt x="2025" y="760"/>
                </a:lnTo>
                <a:lnTo>
                  <a:pt x="2023" y="761"/>
                </a:lnTo>
                <a:lnTo>
                  <a:pt x="2018" y="763"/>
                </a:lnTo>
                <a:lnTo>
                  <a:pt x="2015" y="757"/>
                </a:lnTo>
                <a:lnTo>
                  <a:pt x="2017" y="757"/>
                </a:lnTo>
                <a:lnTo>
                  <a:pt x="2018" y="756"/>
                </a:lnTo>
                <a:lnTo>
                  <a:pt x="2017" y="755"/>
                </a:lnTo>
                <a:lnTo>
                  <a:pt x="2017" y="754"/>
                </a:lnTo>
                <a:lnTo>
                  <a:pt x="2014" y="753"/>
                </a:lnTo>
                <a:lnTo>
                  <a:pt x="2012" y="752"/>
                </a:lnTo>
                <a:lnTo>
                  <a:pt x="2012" y="753"/>
                </a:lnTo>
                <a:lnTo>
                  <a:pt x="2012" y="755"/>
                </a:lnTo>
                <a:lnTo>
                  <a:pt x="2011" y="756"/>
                </a:lnTo>
                <a:lnTo>
                  <a:pt x="2010" y="757"/>
                </a:lnTo>
                <a:lnTo>
                  <a:pt x="2009" y="758"/>
                </a:lnTo>
                <a:lnTo>
                  <a:pt x="2007" y="757"/>
                </a:lnTo>
                <a:lnTo>
                  <a:pt x="2003" y="756"/>
                </a:lnTo>
                <a:lnTo>
                  <a:pt x="2001" y="755"/>
                </a:lnTo>
                <a:lnTo>
                  <a:pt x="2000" y="754"/>
                </a:lnTo>
                <a:lnTo>
                  <a:pt x="2000" y="752"/>
                </a:lnTo>
                <a:lnTo>
                  <a:pt x="2000" y="748"/>
                </a:lnTo>
                <a:lnTo>
                  <a:pt x="1999" y="746"/>
                </a:lnTo>
                <a:lnTo>
                  <a:pt x="1998" y="743"/>
                </a:lnTo>
                <a:lnTo>
                  <a:pt x="1990" y="746"/>
                </a:lnTo>
                <a:lnTo>
                  <a:pt x="1985" y="747"/>
                </a:lnTo>
                <a:lnTo>
                  <a:pt x="1982" y="746"/>
                </a:lnTo>
                <a:lnTo>
                  <a:pt x="1978" y="746"/>
                </a:lnTo>
                <a:lnTo>
                  <a:pt x="1967" y="743"/>
                </a:lnTo>
                <a:lnTo>
                  <a:pt x="1967" y="740"/>
                </a:lnTo>
                <a:lnTo>
                  <a:pt x="1968" y="737"/>
                </a:lnTo>
                <a:lnTo>
                  <a:pt x="1969" y="734"/>
                </a:lnTo>
                <a:lnTo>
                  <a:pt x="1968" y="732"/>
                </a:lnTo>
                <a:lnTo>
                  <a:pt x="1967" y="729"/>
                </a:lnTo>
                <a:lnTo>
                  <a:pt x="1964" y="729"/>
                </a:lnTo>
                <a:lnTo>
                  <a:pt x="1963" y="728"/>
                </a:lnTo>
                <a:lnTo>
                  <a:pt x="1960" y="725"/>
                </a:lnTo>
                <a:lnTo>
                  <a:pt x="1958" y="722"/>
                </a:lnTo>
                <a:lnTo>
                  <a:pt x="1956" y="721"/>
                </a:lnTo>
                <a:lnTo>
                  <a:pt x="1954" y="721"/>
                </a:lnTo>
                <a:lnTo>
                  <a:pt x="1952" y="721"/>
                </a:lnTo>
                <a:lnTo>
                  <a:pt x="1949" y="721"/>
                </a:lnTo>
                <a:lnTo>
                  <a:pt x="1947" y="721"/>
                </a:lnTo>
                <a:lnTo>
                  <a:pt x="1942" y="707"/>
                </a:lnTo>
                <a:lnTo>
                  <a:pt x="1939" y="709"/>
                </a:lnTo>
                <a:lnTo>
                  <a:pt x="1937" y="710"/>
                </a:lnTo>
                <a:lnTo>
                  <a:pt x="1936" y="710"/>
                </a:lnTo>
                <a:lnTo>
                  <a:pt x="1939" y="698"/>
                </a:lnTo>
                <a:lnTo>
                  <a:pt x="1937" y="699"/>
                </a:lnTo>
                <a:lnTo>
                  <a:pt x="1936" y="699"/>
                </a:lnTo>
                <a:lnTo>
                  <a:pt x="1935" y="698"/>
                </a:lnTo>
                <a:lnTo>
                  <a:pt x="1933" y="696"/>
                </a:lnTo>
                <a:lnTo>
                  <a:pt x="1945" y="695"/>
                </a:lnTo>
                <a:lnTo>
                  <a:pt x="1953" y="696"/>
                </a:lnTo>
                <a:lnTo>
                  <a:pt x="1953" y="691"/>
                </a:lnTo>
                <a:lnTo>
                  <a:pt x="1953" y="687"/>
                </a:lnTo>
                <a:lnTo>
                  <a:pt x="1950" y="686"/>
                </a:lnTo>
                <a:lnTo>
                  <a:pt x="1946" y="684"/>
                </a:lnTo>
                <a:lnTo>
                  <a:pt x="1939" y="681"/>
                </a:lnTo>
                <a:lnTo>
                  <a:pt x="1940" y="675"/>
                </a:lnTo>
                <a:lnTo>
                  <a:pt x="1940" y="671"/>
                </a:lnTo>
                <a:lnTo>
                  <a:pt x="1939" y="669"/>
                </a:lnTo>
                <a:lnTo>
                  <a:pt x="1939" y="667"/>
                </a:lnTo>
                <a:lnTo>
                  <a:pt x="1936" y="667"/>
                </a:lnTo>
                <a:lnTo>
                  <a:pt x="1934" y="667"/>
                </a:lnTo>
                <a:lnTo>
                  <a:pt x="1933" y="666"/>
                </a:lnTo>
                <a:lnTo>
                  <a:pt x="1930" y="663"/>
                </a:lnTo>
                <a:lnTo>
                  <a:pt x="1925" y="656"/>
                </a:lnTo>
                <a:lnTo>
                  <a:pt x="1927" y="651"/>
                </a:lnTo>
                <a:lnTo>
                  <a:pt x="1928" y="648"/>
                </a:lnTo>
                <a:lnTo>
                  <a:pt x="1918" y="648"/>
                </a:lnTo>
                <a:lnTo>
                  <a:pt x="1908" y="648"/>
                </a:lnTo>
                <a:lnTo>
                  <a:pt x="1915" y="644"/>
                </a:lnTo>
                <a:lnTo>
                  <a:pt x="1922" y="639"/>
                </a:lnTo>
                <a:lnTo>
                  <a:pt x="1914" y="622"/>
                </a:lnTo>
                <a:lnTo>
                  <a:pt x="1908" y="623"/>
                </a:lnTo>
                <a:lnTo>
                  <a:pt x="1905" y="623"/>
                </a:lnTo>
                <a:lnTo>
                  <a:pt x="1902" y="622"/>
                </a:lnTo>
                <a:lnTo>
                  <a:pt x="1901" y="621"/>
                </a:lnTo>
                <a:lnTo>
                  <a:pt x="1902" y="620"/>
                </a:lnTo>
                <a:lnTo>
                  <a:pt x="1902" y="618"/>
                </a:lnTo>
                <a:lnTo>
                  <a:pt x="1900" y="617"/>
                </a:lnTo>
                <a:lnTo>
                  <a:pt x="1900" y="608"/>
                </a:lnTo>
                <a:lnTo>
                  <a:pt x="1899" y="606"/>
                </a:lnTo>
                <a:lnTo>
                  <a:pt x="1899" y="603"/>
                </a:lnTo>
                <a:lnTo>
                  <a:pt x="1900" y="594"/>
                </a:lnTo>
                <a:lnTo>
                  <a:pt x="1894" y="591"/>
                </a:lnTo>
                <a:lnTo>
                  <a:pt x="1894" y="588"/>
                </a:lnTo>
                <a:lnTo>
                  <a:pt x="1895" y="585"/>
                </a:lnTo>
                <a:lnTo>
                  <a:pt x="1896" y="582"/>
                </a:lnTo>
                <a:lnTo>
                  <a:pt x="1897" y="580"/>
                </a:lnTo>
                <a:lnTo>
                  <a:pt x="1893" y="580"/>
                </a:lnTo>
                <a:lnTo>
                  <a:pt x="1888" y="580"/>
                </a:lnTo>
                <a:lnTo>
                  <a:pt x="1880" y="599"/>
                </a:lnTo>
                <a:lnTo>
                  <a:pt x="1877" y="607"/>
                </a:lnTo>
                <a:lnTo>
                  <a:pt x="1875" y="611"/>
                </a:lnTo>
                <a:lnTo>
                  <a:pt x="1874" y="617"/>
                </a:lnTo>
                <a:lnTo>
                  <a:pt x="1873" y="617"/>
                </a:lnTo>
                <a:lnTo>
                  <a:pt x="1872" y="616"/>
                </a:lnTo>
                <a:lnTo>
                  <a:pt x="1871" y="615"/>
                </a:lnTo>
                <a:lnTo>
                  <a:pt x="1871" y="614"/>
                </a:lnTo>
                <a:lnTo>
                  <a:pt x="1872" y="611"/>
                </a:lnTo>
                <a:lnTo>
                  <a:pt x="1872" y="608"/>
                </a:lnTo>
                <a:lnTo>
                  <a:pt x="1870" y="610"/>
                </a:lnTo>
                <a:lnTo>
                  <a:pt x="1867" y="611"/>
                </a:lnTo>
                <a:lnTo>
                  <a:pt x="1865" y="613"/>
                </a:lnTo>
                <a:lnTo>
                  <a:pt x="1863" y="614"/>
                </a:lnTo>
                <a:lnTo>
                  <a:pt x="1863" y="616"/>
                </a:lnTo>
                <a:lnTo>
                  <a:pt x="1863" y="618"/>
                </a:lnTo>
                <a:lnTo>
                  <a:pt x="1864" y="621"/>
                </a:lnTo>
                <a:lnTo>
                  <a:pt x="1863" y="622"/>
                </a:lnTo>
                <a:lnTo>
                  <a:pt x="1860" y="620"/>
                </a:lnTo>
                <a:lnTo>
                  <a:pt x="1859" y="619"/>
                </a:lnTo>
                <a:lnTo>
                  <a:pt x="1858" y="619"/>
                </a:lnTo>
                <a:lnTo>
                  <a:pt x="1857" y="620"/>
                </a:lnTo>
                <a:lnTo>
                  <a:pt x="1856" y="622"/>
                </a:lnTo>
                <a:lnTo>
                  <a:pt x="1856" y="625"/>
                </a:lnTo>
                <a:lnTo>
                  <a:pt x="1856" y="628"/>
                </a:lnTo>
                <a:lnTo>
                  <a:pt x="1855" y="631"/>
                </a:lnTo>
                <a:lnTo>
                  <a:pt x="1852" y="633"/>
                </a:lnTo>
                <a:lnTo>
                  <a:pt x="1848" y="635"/>
                </a:lnTo>
                <a:lnTo>
                  <a:pt x="1841" y="639"/>
                </a:lnTo>
                <a:lnTo>
                  <a:pt x="1837" y="637"/>
                </a:lnTo>
                <a:lnTo>
                  <a:pt x="1835" y="634"/>
                </a:lnTo>
                <a:lnTo>
                  <a:pt x="1829" y="628"/>
                </a:lnTo>
                <a:lnTo>
                  <a:pt x="1828" y="630"/>
                </a:lnTo>
                <a:lnTo>
                  <a:pt x="1826" y="632"/>
                </a:lnTo>
                <a:lnTo>
                  <a:pt x="1824" y="634"/>
                </a:lnTo>
                <a:lnTo>
                  <a:pt x="1823" y="634"/>
                </a:lnTo>
                <a:lnTo>
                  <a:pt x="1821" y="634"/>
                </a:lnTo>
                <a:lnTo>
                  <a:pt x="1820" y="631"/>
                </a:lnTo>
                <a:lnTo>
                  <a:pt x="1819" y="627"/>
                </a:lnTo>
                <a:lnTo>
                  <a:pt x="1818" y="620"/>
                </a:lnTo>
                <a:lnTo>
                  <a:pt x="1809" y="619"/>
                </a:lnTo>
                <a:lnTo>
                  <a:pt x="1805" y="619"/>
                </a:lnTo>
                <a:lnTo>
                  <a:pt x="1801" y="617"/>
                </a:lnTo>
                <a:lnTo>
                  <a:pt x="1793" y="614"/>
                </a:lnTo>
                <a:lnTo>
                  <a:pt x="1793" y="605"/>
                </a:lnTo>
                <a:lnTo>
                  <a:pt x="1793" y="598"/>
                </a:lnTo>
                <a:lnTo>
                  <a:pt x="1792" y="592"/>
                </a:lnTo>
                <a:lnTo>
                  <a:pt x="1790" y="583"/>
                </a:lnTo>
                <a:lnTo>
                  <a:pt x="1795" y="582"/>
                </a:lnTo>
                <a:lnTo>
                  <a:pt x="1797" y="582"/>
                </a:lnTo>
                <a:lnTo>
                  <a:pt x="1798" y="580"/>
                </a:lnTo>
                <a:lnTo>
                  <a:pt x="1798" y="578"/>
                </a:lnTo>
                <a:lnTo>
                  <a:pt x="1798" y="577"/>
                </a:lnTo>
                <a:lnTo>
                  <a:pt x="1797" y="577"/>
                </a:lnTo>
                <a:lnTo>
                  <a:pt x="1795" y="577"/>
                </a:lnTo>
                <a:lnTo>
                  <a:pt x="1793" y="577"/>
                </a:lnTo>
                <a:lnTo>
                  <a:pt x="1798" y="568"/>
                </a:lnTo>
                <a:lnTo>
                  <a:pt x="1804" y="558"/>
                </a:lnTo>
                <a:lnTo>
                  <a:pt x="1801" y="559"/>
                </a:lnTo>
                <a:lnTo>
                  <a:pt x="1798" y="561"/>
                </a:lnTo>
                <a:lnTo>
                  <a:pt x="1797" y="562"/>
                </a:lnTo>
                <a:lnTo>
                  <a:pt x="1796" y="563"/>
                </a:lnTo>
                <a:lnTo>
                  <a:pt x="1793" y="563"/>
                </a:lnTo>
                <a:lnTo>
                  <a:pt x="1790" y="562"/>
                </a:lnTo>
                <a:lnTo>
                  <a:pt x="1786" y="561"/>
                </a:lnTo>
                <a:lnTo>
                  <a:pt x="1784" y="560"/>
                </a:lnTo>
                <a:lnTo>
                  <a:pt x="1782" y="561"/>
                </a:lnTo>
                <a:lnTo>
                  <a:pt x="1782" y="558"/>
                </a:lnTo>
                <a:lnTo>
                  <a:pt x="1781" y="556"/>
                </a:lnTo>
                <a:lnTo>
                  <a:pt x="1782" y="555"/>
                </a:lnTo>
                <a:lnTo>
                  <a:pt x="1783" y="555"/>
                </a:lnTo>
                <a:lnTo>
                  <a:pt x="1784" y="555"/>
                </a:lnTo>
                <a:lnTo>
                  <a:pt x="1786" y="552"/>
                </a:lnTo>
                <a:lnTo>
                  <a:pt x="1787" y="550"/>
                </a:lnTo>
                <a:lnTo>
                  <a:pt x="1787" y="549"/>
                </a:lnTo>
                <a:lnTo>
                  <a:pt x="1784" y="549"/>
                </a:lnTo>
                <a:lnTo>
                  <a:pt x="1781" y="549"/>
                </a:lnTo>
                <a:lnTo>
                  <a:pt x="1773" y="549"/>
                </a:lnTo>
                <a:lnTo>
                  <a:pt x="1765" y="550"/>
                </a:lnTo>
                <a:lnTo>
                  <a:pt x="1762" y="550"/>
                </a:lnTo>
                <a:lnTo>
                  <a:pt x="1759" y="549"/>
                </a:lnTo>
                <a:lnTo>
                  <a:pt x="1759" y="545"/>
                </a:lnTo>
                <a:lnTo>
                  <a:pt x="1759" y="541"/>
                </a:lnTo>
                <a:lnTo>
                  <a:pt x="1753" y="541"/>
                </a:lnTo>
                <a:lnTo>
                  <a:pt x="1753" y="535"/>
                </a:lnTo>
                <a:lnTo>
                  <a:pt x="1753" y="534"/>
                </a:lnTo>
                <a:lnTo>
                  <a:pt x="1752" y="532"/>
                </a:lnTo>
                <a:lnTo>
                  <a:pt x="1749" y="529"/>
                </a:lnTo>
                <a:lnTo>
                  <a:pt x="1745" y="526"/>
                </a:lnTo>
                <a:lnTo>
                  <a:pt x="1741" y="523"/>
                </a:lnTo>
                <a:lnTo>
                  <a:pt x="1732" y="517"/>
                </a:lnTo>
                <a:lnTo>
                  <a:pt x="1725" y="513"/>
                </a:lnTo>
                <a:lnTo>
                  <a:pt x="1723" y="514"/>
                </a:lnTo>
                <a:lnTo>
                  <a:pt x="1720" y="514"/>
                </a:lnTo>
                <a:lnTo>
                  <a:pt x="1717" y="515"/>
                </a:lnTo>
                <a:lnTo>
                  <a:pt x="1714" y="515"/>
                </a:lnTo>
                <a:lnTo>
                  <a:pt x="1713" y="517"/>
                </a:lnTo>
                <a:lnTo>
                  <a:pt x="1711" y="520"/>
                </a:lnTo>
                <a:lnTo>
                  <a:pt x="1710" y="522"/>
                </a:lnTo>
                <a:lnTo>
                  <a:pt x="1708" y="524"/>
                </a:lnTo>
                <a:lnTo>
                  <a:pt x="1707" y="524"/>
                </a:lnTo>
                <a:lnTo>
                  <a:pt x="1705" y="524"/>
                </a:lnTo>
                <a:lnTo>
                  <a:pt x="1701" y="524"/>
                </a:lnTo>
                <a:lnTo>
                  <a:pt x="1698" y="523"/>
                </a:lnTo>
                <a:lnTo>
                  <a:pt x="1696" y="523"/>
                </a:lnTo>
                <a:lnTo>
                  <a:pt x="1694" y="524"/>
                </a:lnTo>
                <a:lnTo>
                  <a:pt x="1694" y="530"/>
                </a:lnTo>
                <a:lnTo>
                  <a:pt x="1691" y="530"/>
                </a:lnTo>
                <a:lnTo>
                  <a:pt x="1687" y="530"/>
                </a:lnTo>
                <a:lnTo>
                  <a:pt x="1683" y="529"/>
                </a:lnTo>
                <a:lnTo>
                  <a:pt x="1679" y="528"/>
                </a:lnTo>
                <a:lnTo>
                  <a:pt x="1671" y="526"/>
                </a:lnTo>
                <a:lnTo>
                  <a:pt x="1663" y="524"/>
                </a:lnTo>
                <a:lnTo>
                  <a:pt x="1657" y="524"/>
                </a:lnTo>
                <a:lnTo>
                  <a:pt x="1653" y="525"/>
                </a:lnTo>
                <a:lnTo>
                  <a:pt x="1648" y="526"/>
                </a:lnTo>
                <a:lnTo>
                  <a:pt x="1644" y="527"/>
                </a:lnTo>
                <a:lnTo>
                  <a:pt x="1641" y="535"/>
                </a:lnTo>
                <a:lnTo>
                  <a:pt x="1644" y="536"/>
                </a:lnTo>
                <a:lnTo>
                  <a:pt x="1646" y="537"/>
                </a:lnTo>
                <a:lnTo>
                  <a:pt x="1652" y="538"/>
                </a:lnTo>
                <a:lnTo>
                  <a:pt x="1652" y="544"/>
                </a:lnTo>
                <a:lnTo>
                  <a:pt x="1647" y="544"/>
                </a:lnTo>
                <a:lnTo>
                  <a:pt x="1646" y="545"/>
                </a:lnTo>
                <a:lnTo>
                  <a:pt x="1646" y="546"/>
                </a:lnTo>
                <a:lnTo>
                  <a:pt x="1648" y="547"/>
                </a:lnTo>
                <a:lnTo>
                  <a:pt x="1649" y="548"/>
                </a:lnTo>
                <a:lnTo>
                  <a:pt x="1650" y="550"/>
                </a:lnTo>
                <a:lnTo>
                  <a:pt x="1649" y="552"/>
                </a:lnTo>
                <a:lnTo>
                  <a:pt x="1646" y="557"/>
                </a:lnTo>
                <a:lnTo>
                  <a:pt x="1643" y="560"/>
                </a:lnTo>
                <a:lnTo>
                  <a:pt x="1641" y="563"/>
                </a:lnTo>
                <a:lnTo>
                  <a:pt x="1639" y="563"/>
                </a:lnTo>
                <a:lnTo>
                  <a:pt x="1638" y="564"/>
                </a:lnTo>
                <a:lnTo>
                  <a:pt x="1639" y="565"/>
                </a:lnTo>
                <a:lnTo>
                  <a:pt x="1641" y="569"/>
                </a:lnTo>
                <a:lnTo>
                  <a:pt x="1645" y="569"/>
                </a:lnTo>
                <a:lnTo>
                  <a:pt x="1649" y="569"/>
                </a:lnTo>
                <a:lnTo>
                  <a:pt x="1649" y="573"/>
                </a:lnTo>
                <a:lnTo>
                  <a:pt x="1649" y="576"/>
                </a:lnTo>
                <a:lnTo>
                  <a:pt x="1647" y="581"/>
                </a:lnTo>
                <a:lnTo>
                  <a:pt x="1648" y="583"/>
                </a:lnTo>
                <a:lnTo>
                  <a:pt x="1649" y="586"/>
                </a:lnTo>
                <a:lnTo>
                  <a:pt x="1651" y="588"/>
                </a:lnTo>
                <a:lnTo>
                  <a:pt x="1655" y="591"/>
                </a:lnTo>
                <a:lnTo>
                  <a:pt x="1655" y="592"/>
                </a:lnTo>
                <a:lnTo>
                  <a:pt x="1656" y="593"/>
                </a:lnTo>
                <a:lnTo>
                  <a:pt x="1655" y="596"/>
                </a:lnTo>
                <a:lnTo>
                  <a:pt x="1653" y="598"/>
                </a:lnTo>
                <a:lnTo>
                  <a:pt x="1652" y="597"/>
                </a:lnTo>
                <a:lnTo>
                  <a:pt x="1649" y="603"/>
                </a:lnTo>
                <a:lnTo>
                  <a:pt x="1645" y="601"/>
                </a:lnTo>
                <a:lnTo>
                  <a:pt x="1641" y="600"/>
                </a:lnTo>
                <a:lnTo>
                  <a:pt x="1644" y="606"/>
                </a:lnTo>
                <a:lnTo>
                  <a:pt x="1645" y="605"/>
                </a:lnTo>
                <a:lnTo>
                  <a:pt x="1646" y="605"/>
                </a:lnTo>
                <a:lnTo>
                  <a:pt x="1647" y="606"/>
                </a:lnTo>
                <a:lnTo>
                  <a:pt x="1647" y="608"/>
                </a:lnTo>
                <a:lnTo>
                  <a:pt x="1647" y="611"/>
                </a:lnTo>
                <a:lnTo>
                  <a:pt x="1647" y="614"/>
                </a:lnTo>
                <a:lnTo>
                  <a:pt x="1642" y="615"/>
                </a:lnTo>
                <a:lnTo>
                  <a:pt x="1638" y="615"/>
                </a:lnTo>
                <a:lnTo>
                  <a:pt x="1634" y="615"/>
                </a:lnTo>
                <a:lnTo>
                  <a:pt x="1630" y="617"/>
                </a:lnTo>
                <a:lnTo>
                  <a:pt x="1630" y="618"/>
                </a:lnTo>
                <a:lnTo>
                  <a:pt x="1630" y="620"/>
                </a:lnTo>
                <a:lnTo>
                  <a:pt x="1630" y="626"/>
                </a:lnTo>
                <a:lnTo>
                  <a:pt x="1630" y="634"/>
                </a:lnTo>
                <a:lnTo>
                  <a:pt x="1632" y="635"/>
                </a:lnTo>
                <a:lnTo>
                  <a:pt x="1634" y="635"/>
                </a:lnTo>
                <a:lnTo>
                  <a:pt x="1638" y="636"/>
                </a:lnTo>
                <a:lnTo>
                  <a:pt x="1643" y="637"/>
                </a:lnTo>
                <a:lnTo>
                  <a:pt x="1647" y="639"/>
                </a:lnTo>
                <a:lnTo>
                  <a:pt x="1649" y="642"/>
                </a:lnTo>
                <a:lnTo>
                  <a:pt x="1651" y="646"/>
                </a:lnTo>
                <a:lnTo>
                  <a:pt x="1652" y="650"/>
                </a:lnTo>
                <a:lnTo>
                  <a:pt x="1653" y="654"/>
                </a:lnTo>
                <a:lnTo>
                  <a:pt x="1655" y="663"/>
                </a:lnTo>
                <a:lnTo>
                  <a:pt x="1656" y="667"/>
                </a:lnTo>
                <a:lnTo>
                  <a:pt x="1658" y="670"/>
                </a:lnTo>
                <a:lnTo>
                  <a:pt x="1659" y="671"/>
                </a:lnTo>
                <a:lnTo>
                  <a:pt x="1660" y="672"/>
                </a:lnTo>
                <a:lnTo>
                  <a:pt x="1664" y="674"/>
                </a:lnTo>
                <a:lnTo>
                  <a:pt x="1667" y="676"/>
                </a:lnTo>
                <a:lnTo>
                  <a:pt x="1668" y="678"/>
                </a:lnTo>
                <a:lnTo>
                  <a:pt x="1669" y="679"/>
                </a:lnTo>
                <a:lnTo>
                  <a:pt x="1669" y="683"/>
                </a:lnTo>
                <a:lnTo>
                  <a:pt x="1668" y="690"/>
                </a:lnTo>
                <a:lnTo>
                  <a:pt x="1663" y="707"/>
                </a:lnTo>
                <a:lnTo>
                  <a:pt x="1666" y="704"/>
                </a:lnTo>
                <a:lnTo>
                  <a:pt x="1667" y="702"/>
                </a:lnTo>
                <a:lnTo>
                  <a:pt x="1668" y="701"/>
                </a:lnTo>
                <a:lnTo>
                  <a:pt x="1669" y="701"/>
                </a:lnTo>
                <a:lnTo>
                  <a:pt x="1670" y="702"/>
                </a:lnTo>
                <a:lnTo>
                  <a:pt x="1670" y="703"/>
                </a:lnTo>
                <a:lnTo>
                  <a:pt x="1671" y="707"/>
                </a:lnTo>
                <a:lnTo>
                  <a:pt x="1672" y="712"/>
                </a:lnTo>
                <a:lnTo>
                  <a:pt x="1670" y="713"/>
                </a:lnTo>
                <a:lnTo>
                  <a:pt x="1668" y="713"/>
                </a:lnTo>
                <a:lnTo>
                  <a:pt x="1665" y="712"/>
                </a:lnTo>
                <a:lnTo>
                  <a:pt x="1663" y="712"/>
                </a:lnTo>
                <a:lnTo>
                  <a:pt x="1655" y="729"/>
                </a:lnTo>
                <a:lnTo>
                  <a:pt x="1651" y="733"/>
                </a:lnTo>
                <a:lnTo>
                  <a:pt x="1647" y="737"/>
                </a:lnTo>
                <a:lnTo>
                  <a:pt x="1643" y="741"/>
                </a:lnTo>
                <a:lnTo>
                  <a:pt x="1638" y="744"/>
                </a:lnTo>
                <a:lnTo>
                  <a:pt x="1629" y="750"/>
                </a:lnTo>
                <a:lnTo>
                  <a:pt x="1618" y="755"/>
                </a:lnTo>
                <a:lnTo>
                  <a:pt x="1621" y="767"/>
                </a:lnTo>
                <a:lnTo>
                  <a:pt x="1623" y="779"/>
                </a:lnTo>
                <a:lnTo>
                  <a:pt x="1625" y="789"/>
                </a:lnTo>
                <a:lnTo>
                  <a:pt x="1627" y="800"/>
                </a:lnTo>
                <a:lnTo>
                  <a:pt x="1628" y="805"/>
                </a:lnTo>
                <a:lnTo>
                  <a:pt x="1628" y="810"/>
                </a:lnTo>
                <a:lnTo>
                  <a:pt x="1628" y="820"/>
                </a:lnTo>
                <a:lnTo>
                  <a:pt x="1628" y="825"/>
                </a:lnTo>
                <a:lnTo>
                  <a:pt x="1627" y="831"/>
                </a:lnTo>
                <a:lnTo>
                  <a:pt x="1626" y="836"/>
                </a:lnTo>
                <a:lnTo>
                  <a:pt x="1624" y="842"/>
                </a:lnTo>
                <a:lnTo>
                  <a:pt x="1620" y="841"/>
                </a:lnTo>
                <a:lnTo>
                  <a:pt x="1616" y="842"/>
                </a:lnTo>
                <a:lnTo>
                  <a:pt x="1613" y="844"/>
                </a:lnTo>
                <a:lnTo>
                  <a:pt x="1611" y="846"/>
                </a:lnTo>
                <a:lnTo>
                  <a:pt x="1609" y="850"/>
                </a:lnTo>
                <a:lnTo>
                  <a:pt x="1608" y="851"/>
                </a:lnTo>
                <a:lnTo>
                  <a:pt x="1605" y="851"/>
                </a:lnTo>
                <a:lnTo>
                  <a:pt x="1601" y="850"/>
                </a:lnTo>
                <a:lnTo>
                  <a:pt x="1596" y="847"/>
                </a:lnTo>
                <a:lnTo>
                  <a:pt x="1592" y="844"/>
                </a:lnTo>
                <a:lnTo>
                  <a:pt x="1586" y="838"/>
                </a:lnTo>
                <a:lnTo>
                  <a:pt x="1576" y="828"/>
                </a:lnTo>
                <a:lnTo>
                  <a:pt x="1576" y="825"/>
                </a:lnTo>
                <a:lnTo>
                  <a:pt x="1577" y="822"/>
                </a:lnTo>
                <a:lnTo>
                  <a:pt x="1578" y="818"/>
                </a:lnTo>
                <a:lnTo>
                  <a:pt x="1577" y="816"/>
                </a:lnTo>
                <a:lnTo>
                  <a:pt x="1576" y="814"/>
                </a:lnTo>
                <a:lnTo>
                  <a:pt x="1574" y="812"/>
                </a:lnTo>
                <a:lnTo>
                  <a:pt x="1570" y="811"/>
                </a:lnTo>
                <a:lnTo>
                  <a:pt x="1565" y="808"/>
                </a:lnTo>
                <a:lnTo>
                  <a:pt x="1564" y="806"/>
                </a:lnTo>
                <a:lnTo>
                  <a:pt x="1564" y="805"/>
                </a:lnTo>
                <a:lnTo>
                  <a:pt x="1565" y="801"/>
                </a:lnTo>
                <a:lnTo>
                  <a:pt x="1566" y="797"/>
                </a:lnTo>
                <a:lnTo>
                  <a:pt x="1565" y="796"/>
                </a:lnTo>
                <a:lnTo>
                  <a:pt x="1565" y="794"/>
                </a:lnTo>
                <a:lnTo>
                  <a:pt x="1563" y="794"/>
                </a:lnTo>
                <a:lnTo>
                  <a:pt x="1562" y="793"/>
                </a:lnTo>
                <a:lnTo>
                  <a:pt x="1561" y="791"/>
                </a:lnTo>
                <a:lnTo>
                  <a:pt x="1562" y="789"/>
                </a:lnTo>
                <a:lnTo>
                  <a:pt x="1564" y="787"/>
                </a:lnTo>
                <a:lnTo>
                  <a:pt x="1565" y="786"/>
                </a:lnTo>
                <a:lnTo>
                  <a:pt x="1563" y="784"/>
                </a:lnTo>
                <a:lnTo>
                  <a:pt x="1562" y="781"/>
                </a:lnTo>
                <a:lnTo>
                  <a:pt x="1562" y="780"/>
                </a:lnTo>
                <a:lnTo>
                  <a:pt x="1563" y="779"/>
                </a:lnTo>
                <a:lnTo>
                  <a:pt x="1564" y="778"/>
                </a:lnTo>
                <a:lnTo>
                  <a:pt x="1565" y="777"/>
                </a:lnTo>
                <a:lnTo>
                  <a:pt x="1568" y="760"/>
                </a:lnTo>
                <a:lnTo>
                  <a:pt x="1565" y="757"/>
                </a:lnTo>
                <a:lnTo>
                  <a:pt x="1564" y="754"/>
                </a:lnTo>
                <a:lnTo>
                  <a:pt x="1564" y="753"/>
                </a:lnTo>
                <a:lnTo>
                  <a:pt x="1565" y="752"/>
                </a:lnTo>
                <a:lnTo>
                  <a:pt x="1566" y="752"/>
                </a:lnTo>
                <a:lnTo>
                  <a:pt x="1567" y="752"/>
                </a:lnTo>
                <a:lnTo>
                  <a:pt x="1567" y="749"/>
                </a:lnTo>
                <a:lnTo>
                  <a:pt x="1566" y="745"/>
                </a:lnTo>
                <a:lnTo>
                  <a:pt x="1565" y="744"/>
                </a:lnTo>
                <a:lnTo>
                  <a:pt x="1565" y="743"/>
                </a:lnTo>
                <a:lnTo>
                  <a:pt x="1562" y="742"/>
                </a:lnTo>
                <a:lnTo>
                  <a:pt x="1560" y="741"/>
                </a:lnTo>
                <a:lnTo>
                  <a:pt x="1557" y="740"/>
                </a:lnTo>
                <a:lnTo>
                  <a:pt x="1554" y="739"/>
                </a:lnTo>
                <a:lnTo>
                  <a:pt x="1548" y="739"/>
                </a:lnTo>
                <a:lnTo>
                  <a:pt x="1542" y="739"/>
                </a:lnTo>
                <a:lnTo>
                  <a:pt x="1531" y="741"/>
                </a:lnTo>
                <a:lnTo>
                  <a:pt x="1525" y="741"/>
                </a:lnTo>
                <a:lnTo>
                  <a:pt x="1522" y="741"/>
                </a:lnTo>
                <a:lnTo>
                  <a:pt x="1520" y="741"/>
                </a:lnTo>
                <a:lnTo>
                  <a:pt x="1518" y="740"/>
                </a:lnTo>
                <a:lnTo>
                  <a:pt x="1515" y="738"/>
                </a:lnTo>
                <a:lnTo>
                  <a:pt x="1510" y="734"/>
                </a:lnTo>
                <a:lnTo>
                  <a:pt x="1505" y="729"/>
                </a:lnTo>
                <a:lnTo>
                  <a:pt x="1500" y="726"/>
                </a:lnTo>
                <a:lnTo>
                  <a:pt x="1494" y="724"/>
                </a:lnTo>
                <a:lnTo>
                  <a:pt x="1484" y="722"/>
                </a:lnTo>
                <a:lnTo>
                  <a:pt x="1474" y="720"/>
                </a:lnTo>
                <a:lnTo>
                  <a:pt x="1471" y="719"/>
                </a:lnTo>
                <a:lnTo>
                  <a:pt x="1469" y="718"/>
                </a:lnTo>
                <a:lnTo>
                  <a:pt x="1468" y="716"/>
                </a:lnTo>
                <a:lnTo>
                  <a:pt x="1467" y="714"/>
                </a:lnTo>
                <a:lnTo>
                  <a:pt x="1467" y="711"/>
                </a:lnTo>
                <a:lnTo>
                  <a:pt x="1467" y="708"/>
                </a:lnTo>
                <a:lnTo>
                  <a:pt x="1466" y="703"/>
                </a:lnTo>
                <a:lnTo>
                  <a:pt x="1465" y="700"/>
                </a:lnTo>
                <a:lnTo>
                  <a:pt x="1464" y="698"/>
                </a:lnTo>
                <a:lnTo>
                  <a:pt x="1462" y="697"/>
                </a:lnTo>
                <a:lnTo>
                  <a:pt x="1461" y="697"/>
                </a:lnTo>
                <a:lnTo>
                  <a:pt x="1458" y="696"/>
                </a:lnTo>
                <a:lnTo>
                  <a:pt x="1454" y="696"/>
                </a:lnTo>
                <a:lnTo>
                  <a:pt x="1450" y="696"/>
                </a:lnTo>
                <a:lnTo>
                  <a:pt x="1447" y="693"/>
                </a:lnTo>
                <a:lnTo>
                  <a:pt x="1443" y="690"/>
                </a:lnTo>
                <a:lnTo>
                  <a:pt x="1439" y="686"/>
                </a:lnTo>
                <a:lnTo>
                  <a:pt x="1436" y="684"/>
                </a:lnTo>
                <a:lnTo>
                  <a:pt x="1433" y="684"/>
                </a:lnTo>
                <a:lnTo>
                  <a:pt x="1430" y="684"/>
                </a:lnTo>
                <a:lnTo>
                  <a:pt x="1427" y="684"/>
                </a:lnTo>
                <a:lnTo>
                  <a:pt x="1424" y="684"/>
                </a:lnTo>
                <a:lnTo>
                  <a:pt x="1421" y="683"/>
                </a:lnTo>
                <a:lnTo>
                  <a:pt x="1418" y="680"/>
                </a:lnTo>
                <a:lnTo>
                  <a:pt x="1413" y="676"/>
                </a:lnTo>
                <a:lnTo>
                  <a:pt x="1409" y="675"/>
                </a:lnTo>
                <a:lnTo>
                  <a:pt x="1405" y="674"/>
                </a:lnTo>
                <a:lnTo>
                  <a:pt x="1401" y="675"/>
                </a:lnTo>
                <a:lnTo>
                  <a:pt x="1397" y="676"/>
                </a:lnTo>
                <a:lnTo>
                  <a:pt x="1390" y="678"/>
                </a:lnTo>
                <a:lnTo>
                  <a:pt x="1386" y="680"/>
                </a:lnTo>
                <a:lnTo>
                  <a:pt x="1382" y="681"/>
                </a:lnTo>
                <a:lnTo>
                  <a:pt x="1381" y="676"/>
                </a:lnTo>
                <a:lnTo>
                  <a:pt x="1379" y="669"/>
                </a:lnTo>
                <a:lnTo>
                  <a:pt x="1374" y="656"/>
                </a:lnTo>
                <a:lnTo>
                  <a:pt x="1369" y="642"/>
                </a:lnTo>
                <a:lnTo>
                  <a:pt x="1362" y="628"/>
                </a:lnTo>
                <a:lnTo>
                  <a:pt x="1355" y="628"/>
                </a:lnTo>
                <a:lnTo>
                  <a:pt x="1350" y="629"/>
                </a:lnTo>
                <a:lnTo>
                  <a:pt x="1346" y="630"/>
                </a:lnTo>
                <a:lnTo>
                  <a:pt x="1344" y="631"/>
                </a:lnTo>
                <a:lnTo>
                  <a:pt x="1341" y="630"/>
                </a:lnTo>
                <a:lnTo>
                  <a:pt x="1339" y="628"/>
                </a:lnTo>
                <a:lnTo>
                  <a:pt x="1337" y="624"/>
                </a:lnTo>
                <a:lnTo>
                  <a:pt x="1334" y="617"/>
                </a:lnTo>
                <a:lnTo>
                  <a:pt x="1329" y="611"/>
                </a:lnTo>
                <a:lnTo>
                  <a:pt x="1329" y="607"/>
                </a:lnTo>
                <a:lnTo>
                  <a:pt x="1329" y="601"/>
                </a:lnTo>
                <a:lnTo>
                  <a:pt x="1330" y="594"/>
                </a:lnTo>
                <a:lnTo>
                  <a:pt x="1331" y="591"/>
                </a:lnTo>
                <a:lnTo>
                  <a:pt x="1332" y="589"/>
                </a:lnTo>
                <a:lnTo>
                  <a:pt x="1336" y="586"/>
                </a:lnTo>
                <a:lnTo>
                  <a:pt x="1340" y="583"/>
                </a:lnTo>
                <a:lnTo>
                  <a:pt x="1340" y="581"/>
                </a:lnTo>
                <a:lnTo>
                  <a:pt x="1340" y="579"/>
                </a:lnTo>
                <a:lnTo>
                  <a:pt x="1338" y="577"/>
                </a:lnTo>
                <a:lnTo>
                  <a:pt x="1336" y="574"/>
                </a:lnTo>
                <a:lnTo>
                  <a:pt x="1336" y="573"/>
                </a:lnTo>
                <a:lnTo>
                  <a:pt x="1337" y="572"/>
                </a:lnTo>
                <a:lnTo>
                  <a:pt x="1339" y="571"/>
                </a:lnTo>
                <a:lnTo>
                  <a:pt x="1341" y="571"/>
                </a:lnTo>
                <a:lnTo>
                  <a:pt x="1346" y="572"/>
                </a:lnTo>
                <a:lnTo>
                  <a:pt x="1346" y="568"/>
                </a:lnTo>
                <a:lnTo>
                  <a:pt x="1346" y="565"/>
                </a:lnTo>
                <a:lnTo>
                  <a:pt x="1345" y="561"/>
                </a:lnTo>
                <a:lnTo>
                  <a:pt x="1345" y="559"/>
                </a:lnTo>
                <a:lnTo>
                  <a:pt x="1346" y="558"/>
                </a:lnTo>
                <a:lnTo>
                  <a:pt x="1346" y="556"/>
                </a:lnTo>
                <a:lnTo>
                  <a:pt x="1348" y="555"/>
                </a:lnTo>
                <a:lnTo>
                  <a:pt x="1352" y="553"/>
                </a:lnTo>
                <a:lnTo>
                  <a:pt x="1355" y="550"/>
                </a:lnTo>
                <a:lnTo>
                  <a:pt x="1356" y="548"/>
                </a:lnTo>
                <a:lnTo>
                  <a:pt x="1357" y="546"/>
                </a:lnTo>
                <a:lnTo>
                  <a:pt x="1357" y="544"/>
                </a:lnTo>
                <a:lnTo>
                  <a:pt x="1359" y="543"/>
                </a:lnTo>
                <a:lnTo>
                  <a:pt x="1363" y="544"/>
                </a:lnTo>
                <a:lnTo>
                  <a:pt x="1366" y="544"/>
                </a:lnTo>
                <a:lnTo>
                  <a:pt x="1367" y="544"/>
                </a:lnTo>
                <a:lnTo>
                  <a:pt x="1368" y="544"/>
                </a:lnTo>
                <a:lnTo>
                  <a:pt x="1369" y="541"/>
                </a:lnTo>
                <a:lnTo>
                  <a:pt x="1369" y="537"/>
                </a:lnTo>
                <a:lnTo>
                  <a:pt x="1368" y="530"/>
                </a:lnTo>
                <a:lnTo>
                  <a:pt x="1371" y="528"/>
                </a:lnTo>
                <a:lnTo>
                  <a:pt x="1372" y="528"/>
                </a:lnTo>
                <a:lnTo>
                  <a:pt x="1374" y="524"/>
                </a:lnTo>
                <a:lnTo>
                  <a:pt x="1376" y="525"/>
                </a:lnTo>
                <a:lnTo>
                  <a:pt x="1378" y="527"/>
                </a:lnTo>
                <a:lnTo>
                  <a:pt x="1381" y="528"/>
                </a:lnTo>
                <a:lnTo>
                  <a:pt x="1383" y="527"/>
                </a:lnTo>
                <a:lnTo>
                  <a:pt x="1385" y="527"/>
                </a:lnTo>
                <a:lnTo>
                  <a:pt x="1385" y="526"/>
                </a:lnTo>
                <a:lnTo>
                  <a:pt x="1385" y="525"/>
                </a:lnTo>
                <a:lnTo>
                  <a:pt x="1383" y="524"/>
                </a:lnTo>
                <a:lnTo>
                  <a:pt x="1379" y="521"/>
                </a:lnTo>
                <a:lnTo>
                  <a:pt x="1386" y="518"/>
                </a:lnTo>
                <a:lnTo>
                  <a:pt x="1391" y="515"/>
                </a:lnTo>
                <a:lnTo>
                  <a:pt x="1386" y="515"/>
                </a:lnTo>
                <a:lnTo>
                  <a:pt x="1384" y="514"/>
                </a:lnTo>
                <a:lnTo>
                  <a:pt x="1384" y="513"/>
                </a:lnTo>
                <a:lnTo>
                  <a:pt x="1385" y="513"/>
                </a:lnTo>
                <a:lnTo>
                  <a:pt x="1388" y="512"/>
                </a:lnTo>
                <a:lnTo>
                  <a:pt x="1390" y="512"/>
                </a:lnTo>
                <a:lnTo>
                  <a:pt x="1392" y="513"/>
                </a:lnTo>
                <a:lnTo>
                  <a:pt x="1393" y="514"/>
                </a:lnTo>
                <a:lnTo>
                  <a:pt x="1397" y="515"/>
                </a:lnTo>
                <a:lnTo>
                  <a:pt x="1399" y="516"/>
                </a:lnTo>
                <a:lnTo>
                  <a:pt x="1402" y="515"/>
                </a:lnTo>
                <a:lnTo>
                  <a:pt x="1404" y="514"/>
                </a:lnTo>
                <a:lnTo>
                  <a:pt x="1407" y="512"/>
                </a:lnTo>
                <a:lnTo>
                  <a:pt x="1410" y="509"/>
                </a:lnTo>
                <a:lnTo>
                  <a:pt x="1413" y="507"/>
                </a:lnTo>
                <a:lnTo>
                  <a:pt x="1413" y="506"/>
                </a:lnTo>
                <a:lnTo>
                  <a:pt x="1413" y="504"/>
                </a:lnTo>
                <a:lnTo>
                  <a:pt x="1413" y="502"/>
                </a:lnTo>
                <a:lnTo>
                  <a:pt x="1415" y="500"/>
                </a:lnTo>
                <a:lnTo>
                  <a:pt x="1415" y="499"/>
                </a:lnTo>
                <a:lnTo>
                  <a:pt x="1416" y="499"/>
                </a:lnTo>
                <a:lnTo>
                  <a:pt x="1413" y="497"/>
                </a:lnTo>
                <a:lnTo>
                  <a:pt x="1411" y="495"/>
                </a:lnTo>
                <a:lnTo>
                  <a:pt x="1409" y="494"/>
                </a:lnTo>
                <a:lnTo>
                  <a:pt x="1407" y="493"/>
                </a:lnTo>
                <a:lnTo>
                  <a:pt x="1407" y="487"/>
                </a:lnTo>
                <a:lnTo>
                  <a:pt x="1413" y="490"/>
                </a:lnTo>
                <a:lnTo>
                  <a:pt x="1416" y="490"/>
                </a:lnTo>
                <a:lnTo>
                  <a:pt x="1419" y="490"/>
                </a:lnTo>
                <a:lnTo>
                  <a:pt x="1422" y="468"/>
                </a:lnTo>
                <a:lnTo>
                  <a:pt x="1427" y="467"/>
                </a:lnTo>
                <a:lnTo>
                  <a:pt x="1433" y="468"/>
                </a:lnTo>
                <a:lnTo>
                  <a:pt x="1433" y="465"/>
                </a:lnTo>
                <a:lnTo>
                  <a:pt x="1432" y="463"/>
                </a:lnTo>
                <a:lnTo>
                  <a:pt x="1433" y="462"/>
                </a:lnTo>
                <a:lnTo>
                  <a:pt x="1436" y="462"/>
                </a:lnTo>
                <a:lnTo>
                  <a:pt x="1439" y="462"/>
                </a:lnTo>
                <a:lnTo>
                  <a:pt x="1441" y="462"/>
                </a:lnTo>
                <a:lnTo>
                  <a:pt x="1443" y="463"/>
                </a:lnTo>
                <a:lnTo>
                  <a:pt x="1444" y="464"/>
                </a:lnTo>
                <a:lnTo>
                  <a:pt x="1445" y="465"/>
                </a:lnTo>
                <a:lnTo>
                  <a:pt x="1446" y="465"/>
                </a:lnTo>
                <a:lnTo>
                  <a:pt x="1447" y="467"/>
                </a:lnTo>
                <a:lnTo>
                  <a:pt x="1448" y="468"/>
                </a:lnTo>
                <a:lnTo>
                  <a:pt x="1449" y="468"/>
                </a:lnTo>
                <a:lnTo>
                  <a:pt x="1450" y="468"/>
                </a:lnTo>
                <a:lnTo>
                  <a:pt x="1455" y="466"/>
                </a:lnTo>
                <a:lnTo>
                  <a:pt x="1464" y="462"/>
                </a:lnTo>
                <a:lnTo>
                  <a:pt x="1466" y="461"/>
                </a:lnTo>
                <a:lnTo>
                  <a:pt x="1468" y="461"/>
                </a:lnTo>
                <a:lnTo>
                  <a:pt x="1470" y="461"/>
                </a:lnTo>
                <a:lnTo>
                  <a:pt x="1472" y="459"/>
                </a:lnTo>
                <a:lnTo>
                  <a:pt x="1473" y="458"/>
                </a:lnTo>
                <a:lnTo>
                  <a:pt x="1473" y="457"/>
                </a:lnTo>
                <a:lnTo>
                  <a:pt x="1472" y="454"/>
                </a:lnTo>
                <a:lnTo>
                  <a:pt x="1469" y="448"/>
                </a:lnTo>
                <a:lnTo>
                  <a:pt x="1472" y="447"/>
                </a:lnTo>
                <a:lnTo>
                  <a:pt x="1472" y="446"/>
                </a:lnTo>
                <a:lnTo>
                  <a:pt x="1472" y="445"/>
                </a:lnTo>
                <a:lnTo>
                  <a:pt x="1472" y="442"/>
                </a:lnTo>
                <a:lnTo>
                  <a:pt x="1475" y="443"/>
                </a:lnTo>
                <a:lnTo>
                  <a:pt x="1476" y="443"/>
                </a:lnTo>
                <a:lnTo>
                  <a:pt x="1477" y="442"/>
                </a:lnTo>
                <a:lnTo>
                  <a:pt x="1477" y="441"/>
                </a:lnTo>
                <a:lnTo>
                  <a:pt x="1476" y="438"/>
                </a:lnTo>
                <a:lnTo>
                  <a:pt x="1475" y="437"/>
                </a:lnTo>
                <a:lnTo>
                  <a:pt x="1448" y="435"/>
                </a:lnTo>
                <a:lnTo>
                  <a:pt x="1433" y="434"/>
                </a:lnTo>
                <a:lnTo>
                  <a:pt x="1416" y="434"/>
                </a:lnTo>
                <a:lnTo>
                  <a:pt x="1426" y="431"/>
                </a:lnTo>
                <a:lnTo>
                  <a:pt x="1429" y="430"/>
                </a:lnTo>
                <a:lnTo>
                  <a:pt x="1430" y="429"/>
                </a:lnTo>
                <a:lnTo>
                  <a:pt x="1430" y="427"/>
                </a:lnTo>
                <a:lnTo>
                  <a:pt x="1431" y="425"/>
                </a:lnTo>
                <a:lnTo>
                  <a:pt x="1431" y="422"/>
                </a:lnTo>
                <a:lnTo>
                  <a:pt x="1433" y="417"/>
                </a:lnTo>
                <a:lnTo>
                  <a:pt x="1435" y="418"/>
                </a:lnTo>
                <a:lnTo>
                  <a:pt x="1436" y="418"/>
                </a:lnTo>
                <a:lnTo>
                  <a:pt x="1435" y="420"/>
                </a:lnTo>
                <a:lnTo>
                  <a:pt x="1435" y="421"/>
                </a:lnTo>
                <a:lnTo>
                  <a:pt x="1436" y="423"/>
                </a:lnTo>
                <a:lnTo>
                  <a:pt x="1452" y="423"/>
                </a:lnTo>
                <a:lnTo>
                  <a:pt x="1458" y="423"/>
                </a:lnTo>
                <a:lnTo>
                  <a:pt x="1463" y="424"/>
                </a:lnTo>
                <a:lnTo>
                  <a:pt x="1467" y="426"/>
                </a:lnTo>
                <a:lnTo>
                  <a:pt x="1472" y="429"/>
                </a:lnTo>
                <a:lnTo>
                  <a:pt x="1483" y="437"/>
                </a:lnTo>
                <a:lnTo>
                  <a:pt x="1484" y="436"/>
                </a:lnTo>
                <a:lnTo>
                  <a:pt x="1484" y="435"/>
                </a:lnTo>
                <a:lnTo>
                  <a:pt x="1483" y="433"/>
                </a:lnTo>
                <a:lnTo>
                  <a:pt x="1483" y="430"/>
                </a:lnTo>
                <a:lnTo>
                  <a:pt x="1483" y="428"/>
                </a:lnTo>
                <a:lnTo>
                  <a:pt x="1487" y="425"/>
                </a:lnTo>
                <a:lnTo>
                  <a:pt x="1492" y="423"/>
                </a:lnTo>
                <a:lnTo>
                  <a:pt x="1489" y="412"/>
                </a:lnTo>
                <a:lnTo>
                  <a:pt x="1486" y="403"/>
                </a:lnTo>
                <a:lnTo>
                  <a:pt x="1491" y="402"/>
                </a:lnTo>
                <a:lnTo>
                  <a:pt x="1496" y="401"/>
                </a:lnTo>
                <a:lnTo>
                  <a:pt x="1501" y="400"/>
                </a:lnTo>
                <a:lnTo>
                  <a:pt x="1503" y="400"/>
                </a:lnTo>
                <a:lnTo>
                  <a:pt x="1506" y="401"/>
                </a:lnTo>
                <a:lnTo>
                  <a:pt x="1507" y="403"/>
                </a:lnTo>
                <a:lnTo>
                  <a:pt x="1511" y="408"/>
                </a:lnTo>
                <a:lnTo>
                  <a:pt x="1512" y="410"/>
                </a:lnTo>
                <a:lnTo>
                  <a:pt x="1515" y="412"/>
                </a:lnTo>
                <a:lnTo>
                  <a:pt x="1518" y="414"/>
                </a:lnTo>
                <a:lnTo>
                  <a:pt x="1523" y="414"/>
                </a:lnTo>
                <a:lnTo>
                  <a:pt x="1528" y="414"/>
                </a:lnTo>
                <a:lnTo>
                  <a:pt x="1531" y="413"/>
                </a:lnTo>
                <a:lnTo>
                  <a:pt x="1533" y="412"/>
                </a:lnTo>
                <a:lnTo>
                  <a:pt x="1533" y="411"/>
                </a:lnTo>
                <a:lnTo>
                  <a:pt x="1533" y="410"/>
                </a:lnTo>
                <a:lnTo>
                  <a:pt x="1532" y="409"/>
                </a:lnTo>
                <a:lnTo>
                  <a:pt x="1530" y="407"/>
                </a:lnTo>
                <a:lnTo>
                  <a:pt x="1527" y="405"/>
                </a:lnTo>
                <a:lnTo>
                  <a:pt x="1523" y="403"/>
                </a:lnTo>
                <a:lnTo>
                  <a:pt x="1523" y="397"/>
                </a:lnTo>
                <a:lnTo>
                  <a:pt x="1525" y="398"/>
                </a:lnTo>
                <a:lnTo>
                  <a:pt x="1526" y="398"/>
                </a:lnTo>
                <a:lnTo>
                  <a:pt x="1527" y="397"/>
                </a:lnTo>
                <a:lnTo>
                  <a:pt x="1528" y="396"/>
                </a:lnTo>
                <a:lnTo>
                  <a:pt x="1529" y="395"/>
                </a:lnTo>
                <a:lnTo>
                  <a:pt x="1530" y="394"/>
                </a:lnTo>
                <a:lnTo>
                  <a:pt x="1531" y="395"/>
                </a:lnTo>
                <a:lnTo>
                  <a:pt x="1531" y="400"/>
                </a:lnTo>
                <a:lnTo>
                  <a:pt x="1537" y="403"/>
                </a:lnTo>
                <a:lnTo>
                  <a:pt x="1540" y="404"/>
                </a:lnTo>
                <a:lnTo>
                  <a:pt x="1542" y="406"/>
                </a:lnTo>
                <a:lnTo>
                  <a:pt x="1545" y="403"/>
                </a:lnTo>
                <a:lnTo>
                  <a:pt x="1548" y="398"/>
                </a:lnTo>
                <a:lnTo>
                  <a:pt x="1551" y="394"/>
                </a:lnTo>
                <a:lnTo>
                  <a:pt x="1552" y="393"/>
                </a:lnTo>
                <a:lnTo>
                  <a:pt x="1554" y="392"/>
                </a:lnTo>
                <a:lnTo>
                  <a:pt x="1555" y="391"/>
                </a:lnTo>
                <a:lnTo>
                  <a:pt x="1556" y="391"/>
                </a:lnTo>
                <a:lnTo>
                  <a:pt x="1558" y="391"/>
                </a:lnTo>
                <a:lnTo>
                  <a:pt x="1560" y="392"/>
                </a:lnTo>
                <a:lnTo>
                  <a:pt x="1562" y="392"/>
                </a:lnTo>
                <a:lnTo>
                  <a:pt x="1565" y="386"/>
                </a:lnTo>
                <a:lnTo>
                  <a:pt x="1575" y="383"/>
                </a:lnTo>
                <a:lnTo>
                  <a:pt x="1581" y="381"/>
                </a:lnTo>
                <a:lnTo>
                  <a:pt x="1588" y="379"/>
                </a:lnTo>
                <a:lnTo>
                  <a:pt x="1596" y="375"/>
                </a:lnTo>
                <a:lnTo>
                  <a:pt x="1595" y="368"/>
                </a:lnTo>
                <a:lnTo>
                  <a:pt x="1595" y="364"/>
                </a:lnTo>
                <a:lnTo>
                  <a:pt x="1595" y="362"/>
                </a:lnTo>
                <a:lnTo>
                  <a:pt x="1596" y="361"/>
                </a:lnTo>
                <a:lnTo>
                  <a:pt x="1587" y="357"/>
                </a:lnTo>
                <a:lnTo>
                  <a:pt x="1582" y="355"/>
                </a:lnTo>
                <a:lnTo>
                  <a:pt x="1577" y="352"/>
                </a:lnTo>
                <a:lnTo>
                  <a:pt x="1575" y="350"/>
                </a:lnTo>
                <a:lnTo>
                  <a:pt x="1574" y="349"/>
                </a:lnTo>
                <a:lnTo>
                  <a:pt x="1572" y="347"/>
                </a:lnTo>
                <a:lnTo>
                  <a:pt x="1571" y="344"/>
                </a:lnTo>
                <a:lnTo>
                  <a:pt x="1570" y="342"/>
                </a:lnTo>
                <a:lnTo>
                  <a:pt x="1570" y="339"/>
                </a:lnTo>
                <a:lnTo>
                  <a:pt x="1571" y="333"/>
                </a:lnTo>
                <a:lnTo>
                  <a:pt x="1573" y="331"/>
                </a:lnTo>
                <a:lnTo>
                  <a:pt x="1574" y="329"/>
                </a:lnTo>
                <a:lnTo>
                  <a:pt x="1574" y="328"/>
                </a:lnTo>
                <a:lnTo>
                  <a:pt x="1573" y="327"/>
                </a:lnTo>
                <a:lnTo>
                  <a:pt x="1576" y="328"/>
                </a:lnTo>
                <a:lnTo>
                  <a:pt x="1578" y="328"/>
                </a:lnTo>
                <a:lnTo>
                  <a:pt x="1579" y="327"/>
                </a:lnTo>
                <a:lnTo>
                  <a:pt x="1580" y="326"/>
                </a:lnTo>
                <a:lnTo>
                  <a:pt x="1581" y="323"/>
                </a:lnTo>
                <a:lnTo>
                  <a:pt x="1582" y="321"/>
                </a:lnTo>
                <a:lnTo>
                  <a:pt x="1577" y="322"/>
                </a:lnTo>
                <a:lnTo>
                  <a:pt x="1575" y="322"/>
                </a:lnTo>
                <a:lnTo>
                  <a:pt x="1575" y="321"/>
                </a:lnTo>
                <a:lnTo>
                  <a:pt x="1575" y="318"/>
                </a:lnTo>
                <a:lnTo>
                  <a:pt x="1576" y="315"/>
                </a:lnTo>
                <a:lnTo>
                  <a:pt x="1582" y="308"/>
                </a:lnTo>
                <a:lnTo>
                  <a:pt x="1585" y="304"/>
                </a:lnTo>
                <a:lnTo>
                  <a:pt x="1585" y="302"/>
                </a:lnTo>
                <a:lnTo>
                  <a:pt x="1584" y="301"/>
                </a:lnTo>
                <a:lnTo>
                  <a:pt x="1583" y="299"/>
                </a:lnTo>
                <a:lnTo>
                  <a:pt x="1582" y="298"/>
                </a:lnTo>
                <a:lnTo>
                  <a:pt x="1582" y="296"/>
                </a:lnTo>
                <a:lnTo>
                  <a:pt x="1579" y="297"/>
                </a:lnTo>
                <a:lnTo>
                  <a:pt x="1577" y="299"/>
                </a:lnTo>
                <a:lnTo>
                  <a:pt x="1573" y="302"/>
                </a:lnTo>
                <a:lnTo>
                  <a:pt x="1573" y="301"/>
                </a:lnTo>
                <a:lnTo>
                  <a:pt x="1572" y="300"/>
                </a:lnTo>
                <a:lnTo>
                  <a:pt x="1569" y="300"/>
                </a:lnTo>
                <a:lnTo>
                  <a:pt x="1567" y="300"/>
                </a:lnTo>
                <a:lnTo>
                  <a:pt x="1565" y="299"/>
                </a:lnTo>
                <a:lnTo>
                  <a:pt x="1563" y="290"/>
                </a:lnTo>
                <a:lnTo>
                  <a:pt x="1559" y="279"/>
                </a:lnTo>
                <a:lnTo>
                  <a:pt x="1547" y="280"/>
                </a:lnTo>
                <a:lnTo>
                  <a:pt x="1537" y="279"/>
                </a:lnTo>
                <a:lnTo>
                  <a:pt x="1526" y="278"/>
                </a:lnTo>
                <a:lnTo>
                  <a:pt x="1512" y="276"/>
                </a:lnTo>
                <a:lnTo>
                  <a:pt x="1514" y="285"/>
                </a:lnTo>
                <a:lnTo>
                  <a:pt x="1518" y="295"/>
                </a:lnTo>
                <a:lnTo>
                  <a:pt x="1526" y="313"/>
                </a:lnTo>
                <a:lnTo>
                  <a:pt x="1523" y="314"/>
                </a:lnTo>
                <a:lnTo>
                  <a:pt x="1523" y="315"/>
                </a:lnTo>
                <a:lnTo>
                  <a:pt x="1523" y="316"/>
                </a:lnTo>
                <a:lnTo>
                  <a:pt x="1523" y="319"/>
                </a:lnTo>
                <a:lnTo>
                  <a:pt x="1517" y="318"/>
                </a:lnTo>
                <a:lnTo>
                  <a:pt x="1514" y="318"/>
                </a:lnTo>
                <a:lnTo>
                  <a:pt x="1512" y="319"/>
                </a:lnTo>
                <a:lnTo>
                  <a:pt x="1511" y="322"/>
                </a:lnTo>
                <a:lnTo>
                  <a:pt x="1510" y="330"/>
                </a:lnTo>
                <a:lnTo>
                  <a:pt x="1509" y="341"/>
                </a:lnTo>
                <a:lnTo>
                  <a:pt x="1503" y="341"/>
                </a:lnTo>
                <a:lnTo>
                  <a:pt x="1498" y="351"/>
                </a:lnTo>
                <a:lnTo>
                  <a:pt x="1495" y="359"/>
                </a:lnTo>
                <a:lnTo>
                  <a:pt x="1490" y="367"/>
                </a:lnTo>
                <a:lnTo>
                  <a:pt x="1483" y="375"/>
                </a:lnTo>
                <a:lnTo>
                  <a:pt x="1485" y="375"/>
                </a:lnTo>
                <a:lnTo>
                  <a:pt x="1486" y="376"/>
                </a:lnTo>
                <a:lnTo>
                  <a:pt x="1482" y="376"/>
                </a:lnTo>
                <a:lnTo>
                  <a:pt x="1477" y="376"/>
                </a:lnTo>
                <a:lnTo>
                  <a:pt x="1472" y="375"/>
                </a:lnTo>
                <a:lnTo>
                  <a:pt x="1471" y="374"/>
                </a:lnTo>
                <a:lnTo>
                  <a:pt x="1470" y="372"/>
                </a:lnTo>
                <a:lnTo>
                  <a:pt x="1469" y="368"/>
                </a:lnTo>
                <a:lnTo>
                  <a:pt x="1468" y="364"/>
                </a:lnTo>
                <a:lnTo>
                  <a:pt x="1467" y="362"/>
                </a:lnTo>
                <a:lnTo>
                  <a:pt x="1467" y="361"/>
                </a:lnTo>
                <a:lnTo>
                  <a:pt x="1466" y="360"/>
                </a:lnTo>
                <a:lnTo>
                  <a:pt x="1465" y="359"/>
                </a:lnTo>
                <a:lnTo>
                  <a:pt x="1462" y="358"/>
                </a:lnTo>
                <a:lnTo>
                  <a:pt x="1460" y="357"/>
                </a:lnTo>
                <a:lnTo>
                  <a:pt x="1459" y="356"/>
                </a:lnTo>
                <a:lnTo>
                  <a:pt x="1458" y="355"/>
                </a:lnTo>
                <a:lnTo>
                  <a:pt x="1453" y="348"/>
                </a:lnTo>
                <a:lnTo>
                  <a:pt x="1452" y="346"/>
                </a:lnTo>
                <a:lnTo>
                  <a:pt x="1450" y="344"/>
                </a:lnTo>
                <a:lnTo>
                  <a:pt x="1450" y="342"/>
                </a:lnTo>
                <a:lnTo>
                  <a:pt x="1450" y="341"/>
                </a:lnTo>
                <a:lnTo>
                  <a:pt x="1452" y="339"/>
                </a:lnTo>
                <a:lnTo>
                  <a:pt x="1455" y="336"/>
                </a:lnTo>
                <a:lnTo>
                  <a:pt x="1457" y="332"/>
                </a:lnTo>
                <a:lnTo>
                  <a:pt x="1458" y="328"/>
                </a:lnTo>
                <a:lnTo>
                  <a:pt x="1461" y="321"/>
                </a:lnTo>
                <a:lnTo>
                  <a:pt x="1464" y="313"/>
                </a:lnTo>
                <a:lnTo>
                  <a:pt x="1467" y="312"/>
                </a:lnTo>
                <a:lnTo>
                  <a:pt x="1468" y="311"/>
                </a:lnTo>
                <a:lnTo>
                  <a:pt x="1467" y="310"/>
                </a:lnTo>
                <a:lnTo>
                  <a:pt x="1465" y="309"/>
                </a:lnTo>
                <a:lnTo>
                  <a:pt x="1463" y="308"/>
                </a:lnTo>
                <a:lnTo>
                  <a:pt x="1461" y="303"/>
                </a:lnTo>
                <a:lnTo>
                  <a:pt x="1460" y="298"/>
                </a:lnTo>
                <a:lnTo>
                  <a:pt x="1458" y="293"/>
                </a:lnTo>
                <a:lnTo>
                  <a:pt x="1450" y="296"/>
                </a:lnTo>
                <a:lnTo>
                  <a:pt x="1441" y="299"/>
                </a:lnTo>
                <a:lnTo>
                  <a:pt x="1440" y="312"/>
                </a:lnTo>
                <a:lnTo>
                  <a:pt x="1438" y="327"/>
                </a:lnTo>
                <a:lnTo>
                  <a:pt x="1433" y="328"/>
                </a:lnTo>
                <a:lnTo>
                  <a:pt x="1431" y="328"/>
                </a:lnTo>
                <a:lnTo>
                  <a:pt x="1430" y="329"/>
                </a:lnTo>
                <a:lnTo>
                  <a:pt x="1430" y="330"/>
                </a:lnTo>
                <a:lnTo>
                  <a:pt x="1430" y="332"/>
                </a:lnTo>
                <a:lnTo>
                  <a:pt x="1430" y="334"/>
                </a:lnTo>
                <a:lnTo>
                  <a:pt x="1430" y="336"/>
                </a:lnTo>
                <a:lnTo>
                  <a:pt x="1430" y="337"/>
                </a:lnTo>
                <a:lnTo>
                  <a:pt x="1430" y="338"/>
                </a:lnTo>
                <a:lnTo>
                  <a:pt x="1426" y="338"/>
                </a:lnTo>
                <a:lnTo>
                  <a:pt x="1422" y="338"/>
                </a:lnTo>
                <a:lnTo>
                  <a:pt x="1421" y="337"/>
                </a:lnTo>
                <a:lnTo>
                  <a:pt x="1422" y="335"/>
                </a:lnTo>
                <a:lnTo>
                  <a:pt x="1423" y="333"/>
                </a:lnTo>
                <a:lnTo>
                  <a:pt x="1424" y="331"/>
                </a:lnTo>
                <a:lnTo>
                  <a:pt x="1424" y="330"/>
                </a:lnTo>
                <a:lnTo>
                  <a:pt x="1423" y="328"/>
                </a:lnTo>
                <a:lnTo>
                  <a:pt x="1422" y="327"/>
                </a:lnTo>
                <a:lnTo>
                  <a:pt x="1420" y="323"/>
                </a:lnTo>
                <a:lnTo>
                  <a:pt x="1418" y="313"/>
                </a:lnTo>
                <a:lnTo>
                  <a:pt x="1416" y="305"/>
                </a:lnTo>
                <a:lnTo>
                  <a:pt x="1415" y="301"/>
                </a:lnTo>
                <a:lnTo>
                  <a:pt x="1413" y="299"/>
                </a:lnTo>
                <a:lnTo>
                  <a:pt x="1411" y="297"/>
                </a:lnTo>
                <a:lnTo>
                  <a:pt x="1408" y="296"/>
                </a:lnTo>
                <a:lnTo>
                  <a:pt x="1403" y="296"/>
                </a:lnTo>
                <a:lnTo>
                  <a:pt x="1397" y="295"/>
                </a:lnTo>
                <a:lnTo>
                  <a:pt x="1394" y="294"/>
                </a:lnTo>
                <a:lnTo>
                  <a:pt x="1391" y="293"/>
                </a:lnTo>
                <a:lnTo>
                  <a:pt x="1382" y="282"/>
                </a:lnTo>
                <a:lnTo>
                  <a:pt x="1381" y="283"/>
                </a:lnTo>
                <a:lnTo>
                  <a:pt x="1382" y="282"/>
                </a:lnTo>
                <a:lnTo>
                  <a:pt x="1386" y="277"/>
                </a:lnTo>
                <a:lnTo>
                  <a:pt x="1392" y="272"/>
                </a:lnTo>
                <a:lnTo>
                  <a:pt x="1396" y="268"/>
                </a:lnTo>
                <a:lnTo>
                  <a:pt x="1398" y="266"/>
                </a:lnTo>
                <a:lnTo>
                  <a:pt x="1398" y="265"/>
                </a:lnTo>
                <a:lnTo>
                  <a:pt x="1397" y="264"/>
                </a:lnTo>
                <a:lnTo>
                  <a:pt x="1396" y="263"/>
                </a:lnTo>
                <a:lnTo>
                  <a:pt x="1391" y="262"/>
                </a:lnTo>
                <a:lnTo>
                  <a:pt x="1389" y="265"/>
                </a:lnTo>
                <a:lnTo>
                  <a:pt x="1389" y="267"/>
                </a:lnTo>
                <a:lnTo>
                  <a:pt x="1388" y="268"/>
                </a:lnTo>
                <a:lnTo>
                  <a:pt x="1385" y="268"/>
                </a:lnTo>
                <a:lnTo>
                  <a:pt x="1386" y="267"/>
                </a:lnTo>
                <a:lnTo>
                  <a:pt x="1386" y="265"/>
                </a:lnTo>
                <a:lnTo>
                  <a:pt x="1387" y="262"/>
                </a:lnTo>
                <a:lnTo>
                  <a:pt x="1387" y="258"/>
                </a:lnTo>
                <a:lnTo>
                  <a:pt x="1388" y="254"/>
                </a:lnTo>
                <a:lnTo>
                  <a:pt x="1392" y="255"/>
                </a:lnTo>
                <a:lnTo>
                  <a:pt x="1396" y="256"/>
                </a:lnTo>
                <a:lnTo>
                  <a:pt x="1405" y="259"/>
                </a:lnTo>
                <a:lnTo>
                  <a:pt x="1405" y="257"/>
                </a:lnTo>
                <a:lnTo>
                  <a:pt x="1405" y="254"/>
                </a:lnTo>
                <a:lnTo>
                  <a:pt x="1406" y="253"/>
                </a:lnTo>
                <a:lnTo>
                  <a:pt x="1406" y="252"/>
                </a:lnTo>
                <a:lnTo>
                  <a:pt x="1407" y="251"/>
                </a:lnTo>
                <a:lnTo>
                  <a:pt x="1406" y="250"/>
                </a:lnTo>
                <a:lnTo>
                  <a:pt x="1405" y="250"/>
                </a:lnTo>
                <a:lnTo>
                  <a:pt x="1402" y="250"/>
                </a:lnTo>
                <a:lnTo>
                  <a:pt x="1400" y="251"/>
                </a:lnTo>
                <a:lnTo>
                  <a:pt x="1399" y="251"/>
                </a:lnTo>
                <a:lnTo>
                  <a:pt x="1399" y="245"/>
                </a:lnTo>
                <a:lnTo>
                  <a:pt x="1394" y="244"/>
                </a:lnTo>
                <a:lnTo>
                  <a:pt x="1390" y="244"/>
                </a:lnTo>
                <a:lnTo>
                  <a:pt x="1388" y="243"/>
                </a:lnTo>
                <a:lnTo>
                  <a:pt x="1387" y="242"/>
                </a:lnTo>
                <a:lnTo>
                  <a:pt x="1386" y="240"/>
                </a:lnTo>
                <a:lnTo>
                  <a:pt x="1384" y="237"/>
                </a:lnTo>
                <a:lnTo>
                  <a:pt x="1381" y="233"/>
                </a:lnTo>
                <a:lnTo>
                  <a:pt x="1379" y="231"/>
                </a:lnTo>
                <a:lnTo>
                  <a:pt x="1377" y="230"/>
                </a:lnTo>
                <a:lnTo>
                  <a:pt x="1374" y="229"/>
                </a:lnTo>
                <a:lnTo>
                  <a:pt x="1369" y="229"/>
                </a:lnTo>
                <a:lnTo>
                  <a:pt x="1364" y="228"/>
                </a:lnTo>
                <a:lnTo>
                  <a:pt x="1362" y="227"/>
                </a:lnTo>
                <a:lnTo>
                  <a:pt x="1360" y="226"/>
                </a:lnTo>
                <a:lnTo>
                  <a:pt x="1329" y="226"/>
                </a:lnTo>
                <a:lnTo>
                  <a:pt x="1326" y="227"/>
                </a:lnTo>
                <a:lnTo>
                  <a:pt x="1322" y="229"/>
                </a:lnTo>
                <a:lnTo>
                  <a:pt x="1318" y="232"/>
                </a:lnTo>
                <a:lnTo>
                  <a:pt x="1315" y="236"/>
                </a:lnTo>
                <a:lnTo>
                  <a:pt x="1313" y="241"/>
                </a:lnTo>
                <a:lnTo>
                  <a:pt x="1312" y="243"/>
                </a:lnTo>
                <a:lnTo>
                  <a:pt x="1311" y="245"/>
                </a:lnTo>
                <a:lnTo>
                  <a:pt x="1311" y="248"/>
                </a:lnTo>
                <a:lnTo>
                  <a:pt x="1312" y="250"/>
                </a:lnTo>
                <a:lnTo>
                  <a:pt x="1313" y="252"/>
                </a:lnTo>
                <a:lnTo>
                  <a:pt x="1315" y="254"/>
                </a:lnTo>
                <a:lnTo>
                  <a:pt x="1313" y="254"/>
                </a:lnTo>
                <a:lnTo>
                  <a:pt x="1310" y="254"/>
                </a:lnTo>
                <a:lnTo>
                  <a:pt x="1306" y="254"/>
                </a:lnTo>
                <a:lnTo>
                  <a:pt x="1306" y="255"/>
                </a:lnTo>
                <a:lnTo>
                  <a:pt x="1305" y="257"/>
                </a:lnTo>
                <a:lnTo>
                  <a:pt x="1303" y="259"/>
                </a:lnTo>
                <a:lnTo>
                  <a:pt x="1308" y="263"/>
                </a:lnTo>
                <a:lnTo>
                  <a:pt x="1312" y="266"/>
                </a:lnTo>
                <a:lnTo>
                  <a:pt x="1316" y="270"/>
                </a:lnTo>
                <a:lnTo>
                  <a:pt x="1320" y="274"/>
                </a:lnTo>
                <a:lnTo>
                  <a:pt x="1318" y="274"/>
                </a:lnTo>
                <a:lnTo>
                  <a:pt x="1316" y="275"/>
                </a:lnTo>
                <a:lnTo>
                  <a:pt x="1314" y="277"/>
                </a:lnTo>
                <a:lnTo>
                  <a:pt x="1314" y="278"/>
                </a:lnTo>
                <a:lnTo>
                  <a:pt x="1314" y="279"/>
                </a:lnTo>
                <a:lnTo>
                  <a:pt x="1314" y="280"/>
                </a:lnTo>
                <a:lnTo>
                  <a:pt x="1315" y="281"/>
                </a:lnTo>
                <a:lnTo>
                  <a:pt x="1318" y="282"/>
                </a:lnTo>
                <a:lnTo>
                  <a:pt x="1323" y="282"/>
                </a:lnTo>
                <a:lnTo>
                  <a:pt x="1322" y="283"/>
                </a:lnTo>
                <a:lnTo>
                  <a:pt x="1322" y="284"/>
                </a:lnTo>
                <a:lnTo>
                  <a:pt x="1323" y="285"/>
                </a:lnTo>
                <a:lnTo>
                  <a:pt x="1326" y="285"/>
                </a:lnTo>
                <a:lnTo>
                  <a:pt x="1325" y="284"/>
                </a:lnTo>
                <a:lnTo>
                  <a:pt x="1324" y="283"/>
                </a:lnTo>
                <a:lnTo>
                  <a:pt x="1324" y="279"/>
                </a:lnTo>
                <a:lnTo>
                  <a:pt x="1324" y="275"/>
                </a:lnTo>
                <a:lnTo>
                  <a:pt x="1325" y="274"/>
                </a:lnTo>
                <a:lnTo>
                  <a:pt x="1326" y="274"/>
                </a:lnTo>
                <a:lnTo>
                  <a:pt x="1328" y="273"/>
                </a:lnTo>
                <a:lnTo>
                  <a:pt x="1330" y="274"/>
                </a:lnTo>
                <a:lnTo>
                  <a:pt x="1332" y="274"/>
                </a:lnTo>
                <a:lnTo>
                  <a:pt x="1334" y="274"/>
                </a:lnTo>
                <a:lnTo>
                  <a:pt x="1339" y="280"/>
                </a:lnTo>
                <a:lnTo>
                  <a:pt x="1344" y="285"/>
                </a:lnTo>
                <a:lnTo>
                  <a:pt x="1345" y="287"/>
                </a:lnTo>
                <a:lnTo>
                  <a:pt x="1347" y="288"/>
                </a:lnTo>
                <a:lnTo>
                  <a:pt x="1351" y="288"/>
                </a:lnTo>
                <a:lnTo>
                  <a:pt x="1354" y="287"/>
                </a:lnTo>
                <a:lnTo>
                  <a:pt x="1359" y="286"/>
                </a:lnTo>
                <a:lnTo>
                  <a:pt x="1374" y="279"/>
                </a:lnTo>
                <a:lnTo>
                  <a:pt x="1374" y="285"/>
                </a:lnTo>
                <a:lnTo>
                  <a:pt x="1368" y="286"/>
                </a:lnTo>
                <a:lnTo>
                  <a:pt x="1365" y="288"/>
                </a:lnTo>
                <a:lnTo>
                  <a:pt x="1362" y="288"/>
                </a:lnTo>
                <a:lnTo>
                  <a:pt x="1362" y="289"/>
                </a:lnTo>
                <a:lnTo>
                  <a:pt x="1362" y="290"/>
                </a:lnTo>
                <a:lnTo>
                  <a:pt x="1362" y="294"/>
                </a:lnTo>
                <a:lnTo>
                  <a:pt x="1362" y="302"/>
                </a:lnTo>
                <a:lnTo>
                  <a:pt x="1357" y="300"/>
                </a:lnTo>
                <a:lnTo>
                  <a:pt x="1354" y="299"/>
                </a:lnTo>
                <a:lnTo>
                  <a:pt x="1352" y="299"/>
                </a:lnTo>
                <a:lnTo>
                  <a:pt x="1350" y="299"/>
                </a:lnTo>
                <a:lnTo>
                  <a:pt x="1346" y="299"/>
                </a:lnTo>
                <a:lnTo>
                  <a:pt x="1345" y="304"/>
                </a:lnTo>
                <a:lnTo>
                  <a:pt x="1344" y="309"/>
                </a:lnTo>
                <a:lnTo>
                  <a:pt x="1343" y="321"/>
                </a:lnTo>
                <a:lnTo>
                  <a:pt x="1350" y="319"/>
                </a:lnTo>
                <a:lnTo>
                  <a:pt x="1353" y="318"/>
                </a:lnTo>
                <a:lnTo>
                  <a:pt x="1357" y="319"/>
                </a:lnTo>
                <a:lnTo>
                  <a:pt x="1356" y="319"/>
                </a:lnTo>
                <a:lnTo>
                  <a:pt x="1356" y="320"/>
                </a:lnTo>
                <a:lnTo>
                  <a:pt x="1357" y="323"/>
                </a:lnTo>
                <a:lnTo>
                  <a:pt x="1360" y="327"/>
                </a:lnTo>
                <a:lnTo>
                  <a:pt x="1353" y="328"/>
                </a:lnTo>
                <a:lnTo>
                  <a:pt x="1349" y="328"/>
                </a:lnTo>
                <a:lnTo>
                  <a:pt x="1346" y="330"/>
                </a:lnTo>
                <a:lnTo>
                  <a:pt x="1346" y="333"/>
                </a:lnTo>
                <a:lnTo>
                  <a:pt x="1333" y="341"/>
                </a:lnTo>
                <a:lnTo>
                  <a:pt x="1327" y="347"/>
                </a:lnTo>
                <a:lnTo>
                  <a:pt x="1321" y="353"/>
                </a:lnTo>
                <a:lnTo>
                  <a:pt x="1318" y="359"/>
                </a:lnTo>
                <a:lnTo>
                  <a:pt x="1317" y="362"/>
                </a:lnTo>
                <a:lnTo>
                  <a:pt x="1317" y="366"/>
                </a:lnTo>
                <a:lnTo>
                  <a:pt x="1317" y="369"/>
                </a:lnTo>
                <a:lnTo>
                  <a:pt x="1319" y="372"/>
                </a:lnTo>
                <a:lnTo>
                  <a:pt x="1322" y="375"/>
                </a:lnTo>
                <a:lnTo>
                  <a:pt x="1326" y="378"/>
                </a:lnTo>
                <a:lnTo>
                  <a:pt x="1326" y="379"/>
                </a:lnTo>
                <a:lnTo>
                  <a:pt x="1325" y="380"/>
                </a:lnTo>
                <a:lnTo>
                  <a:pt x="1323" y="382"/>
                </a:lnTo>
                <a:lnTo>
                  <a:pt x="1323" y="383"/>
                </a:lnTo>
                <a:lnTo>
                  <a:pt x="1316" y="379"/>
                </a:lnTo>
                <a:lnTo>
                  <a:pt x="1309" y="375"/>
                </a:lnTo>
                <a:lnTo>
                  <a:pt x="1305" y="371"/>
                </a:lnTo>
                <a:lnTo>
                  <a:pt x="1302" y="367"/>
                </a:lnTo>
                <a:lnTo>
                  <a:pt x="1301" y="365"/>
                </a:lnTo>
                <a:lnTo>
                  <a:pt x="1300" y="363"/>
                </a:lnTo>
                <a:lnTo>
                  <a:pt x="1299" y="359"/>
                </a:lnTo>
                <a:lnTo>
                  <a:pt x="1298" y="354"/>
                </a:lnTo>
                <a:lnTo>
                  <a:pt x="1298" y="348"/>
                </a:lnTo>
                <a:lnTo>
                  <a:pt x="1298" y="335"/>
                </a:lnTo>
                <a:lnTo>
                  <a:pt x="1296" y="335"/>
                </a:lnTo>
                <a:lnTo>
                  <a:pt x="1295" y="336"/>
                </a:lnTo>
                <a:lnTo>
                  <a:pt x="1294" y="337"/>
                </a:lnTo>
                <a:lnTo>
                  <a:pt x="1292" y="338"/>
                </a:lnTo>
                <a:lnTo>
                  <a:pt x="1293" y="339"/>
                </a:lnTo>
                <a:lnTo>
                  <a:pt x="1294" y="340"/>
                </a:lnTo>
                <a:lnTo>
                  <a:pt x="1293" y="341"/>
                </a:lnTo>
                <a:lnTo>
                  <a:pt x="1289" y="341"/>
                </a:lnTo>
                <a:lnTo>
                  <a:pt x="1285" y="337"/>
                </a:lnTo>
                <a:lnTo>
                  <a:pt x="1281" y="333"/>
                </a:lnTo>
                <a:lnTo>
                  <a:pt x="1277" y="328"/>
                </a:lnTo>
                <a:lnTo>
                  <a:pt x="1272" y="324"/>
                </a:lnTo>
                <a:lnTo>
                  <a:pt x="1270" y="329"/>
                </a:lnTo>
                <a:lnTo>
                  <a:pt x="1267" y="336"/>
                </a:lnTo>
                <a:lnTo>
                  <a:pt x="1266" y="339"/>
                </a:lnTo>
                <a:lnTo>
                  <a:pt x="1266" y="343"/>
                </a:lnTo>
                <a:lnTo>
                  <a:pt x="1267" y="345"/>
                </a:lnTo>
                <a:lnTo>
                  <a:pt x="1267" y="346"/>
                </a:lnTo>
                <a:lnTo>
                  <a:pt x="1268" y="348"/>
                </a:lnTo>
                <a:lnTo>
                  <a:pt x="1270" y="349"/>
                </a:lnTo>
                <a:lnTo>
                  <a:pt x="1261" y="352"/>
                </a:lnTo>
                <a:lnTo>
                  <a:pt x="1254" y="354"/>
                </a:lnTo>
                <a:lnTo>
                  <a:pt x="1250" y="355"/>
                </a:lnTo>
                <a:lnTo>
                  <a:pt x="1246" y="355"/>
                </a:lnTo>
                <a:lnTo>
                  <a:pt x="1241" y="354"/>
                </a:lnTo>
                <a:lnTo>
                  <a:pt x="1236" y="352"/>
                </a:lnTo>
                <a:lnTo>
                  <a:pt x="1233" y="347"/>
                </a:lnTo>
                <a:lnTo>
                  <a:pt x="1229" y="347"/>
                </a:lnTo>
                <a:lnTo>
                  <a:pt x="1226" y="348"/>
                </a:lnTo>
                <a:lnTo>
                  <a:pt x="1220" y="352"/>
                </a:lnTo>
                <a:lnTo>
                  <a:pt x="1215" y="356"/>
                </a:lnTo>
                <a:lnTo>
                  <a:pt x="1211" y="357"/>
                </a:lnTo>
                <a:lnTo>
                  <a:pt x="1208" y="358"/>
                </a:lnTo>
                <a:lnTo>
                  <a:pt x="1205" y="352"/>
                </a:lnTo>
                <a:lnTo>
                  <a:pt x="1200" y="352"/>
                </a:lnTo>
                <a:lnTo>
                  <a:pt x="1196" y="352"/>
                </a:lnTo>
                <a:lnTo>
                  <a:pt x="1194" y="352"/>
                </a:lnTo>
                <a:lnTo>
                  <a:pt x="1192" y="352"/>
                </a:lnTo>
                <a:lnTo>
                  <a:pt x="1189" y="351"/>
                </a:lnTo>
                <a:lnTo>
                  <a:pt x="1185" y="349"/>
                </a:lnTo>
                <a:lnTo>
                  <a:pt x="1183" y="347"/>
                </a:lnTo>
                <a:lnTo>
                  <a:pt x="1180" y="343"/>
                </a:lnTo>
                <a:lnTo>
                  <a:pt x="1177" y="340"/>
                </a:lnTo>
                <a:lnTo>
                  <a:pt x="1176" y="339"/>
                </a:lnTo>
                <a:lnTo>
                  <a:pt x="1174" y="338"/>
                </a:lnTo>
                <a:lnTo>
                  <a:pt x="1173" y="338"/>
                </a:lnTo>
                <a:lnTo>
                  <a:pt x="1172" y="339"/>
                </a:lnTo>
                <a:lnTo>
                  <a:pt x="1170" y="340"/>
                </a:lnTo>
                <a:lnTo>
                  <a:pt x="1168" y="342"/>
                </a:lnTo>
                <a:lnTo>
                  <a:pt x="1167" y="343"/>
                </a:lnTo>
                <a:lnTo>
                  <a:pt x="1166" y="344"/>
                </a:lnTo>
                <a:lnTo>
                  <a:pt x="1166" y="341"/>
                </a:lnTo>
                <a:lnTo>
                  <a:pt x="1163" y="344"/>
                </a:lnTo>
                <a:lnTo>
                  <a:pt x="1159" y="345"/>
                </a:lnTo>
                <a:lnTo>
                  <a:pt x="1158" y="345"/>
                </a:lnTo>
                <a:lnTo>
                  <a:pt x="1157" y="344"/>
                </a:lnTo>
                <a:lnTo>
                  <a:pt x="1158" y="342"/>
                </a:lnTo>
                <a:lnTo>
                  <a:pt x="1160" y="338"/>
                </a:lnTo>
                <a:lnTo>
                  <a:pt x="1160" y="337"/>
                </a:lnTo>
                <a:lnTo>
                  <a:pt x="1160" y="335"/>
                </a:lnTo>
                <a:lnTo>
                  <a:pt x="1158" y="335"/>
                </a:lnTo>
                <a:lnTo>
                  <a:pt x="1156" y="334"/>
                </a:lnTo>
                <a:lnTo>
                  <a:pt x="1153" y="334"/>
                </a:lnTo>
                <a:lnTo>
                  <a:pt x="1152" y="333"/>
                </a:lnTo>
                <a:lnTo>
                  <a:pt x="1149" y="334"/>
                </a:lnTo>
                <a:lnTo>
                  <a:pt x="1149" y="336"/>
                </a:lnTo>
                <a:lnTo>
                  <a:pt x="1147" y="337"/>
                </a:lnTo>
                <a:lnTo>
                  <a:pt x="1145" y="338"/>
                </a:lnTo>
                <a:lnTo>
                  <a:pt x="1143" y="338"/>
                </a:lnTo>
                <a:lnTo>
                  <a:pt x="1141" y="332"/>
                </a:lnTo>
                <a:lnTo>
                  <a:pt x="1139" y="325"/>
                </a:lnTo>
                <a:lnTo>
                  <a:pt x="1135" y="313"/>
                </a:lnTo>
                <a:lnTo>
                  <a:pt x="1109" y="314"/>
                </a:lnTo>
                <a:lnTo>
                  <a:pt x="1084" y="316"/>
                </a:lnTo>
                <a:lnTo>
                  <a:pt x="1081" y="323"/>
                </a:lnTo>
                <a:lnTo>
                  <a:pt x="1080" y="329"/>
                </a:lnTo>
                <a:lnTo>
                  <a:pt x="1078" y="335"/>
                </a:lnTo>
                <a:lnTo>
                  <a:pt x="1076" y="341"/>
                </a:lnTo>
                <a:lnTo>
                  <a:pt x="1080" y="339"/>
                </a:lnTo>
                <a:lnTo>
                  <a:pt x="1084" y="338"/>
                </a:lnTo>
                <a:lnTo>
                  <a:pt x="1083" y="339"/>
                </a:lnTo>
                <a:lnTo>
                  <a:pt x="1083" y="340"/>
                </a:lnTo>
                <a:lnTo>
                  <a:pt x="1085" y="341"/>
                </a:lnTo>
                <a:lnTo>
                  <a:pt x="1090" y="341"/>
                </a:lnTo>
                <a:lnTo>
                  <a:pt x="1087" y="333"/>
                </a:lnTo>
                <a:lnTo>
                  <a:pt x="1089" y="332"/>
                </a:lnTo>
                <a:lnTo>
                  <a:pt x="1090" y="333"/>
                </a:lnTo>
                <a:lnTo>
                  <a:pt x="1092" y="334"/>
                </a:lnTo>
                <a:lnTo>
                  <a:pt x="1094" y="335"/>
                </a:lnTo>
                <a:lnTo>
                  <a:pt x="1096" y="336"/>
                </a:lnTo>
                <a:lnTo>
                  <a:pt x="1098" y="335"/>
                </a:lnTo>
                <a:lnTo>
                  <a:pt x="1104" y="327"/>
                </a:lnTo>
                <a:lnTo>
                  <a:pt x="1107" y="328"/>
                </a:lnTo>
                <a:lnTo>
                  <a:pt x="1110" y="329"/>
                </a:lnTo>
                <a:lnTo>
                  <a:pt x="1113" y="330"/>
                </a:lnTo>
                <a:lnTo>
                  <a:pt x="1118" y="330"/>
                </a:lnTo>
                <a:lnTo>
                  <a:pt x="1099" y="342"/>
                </a:lnTo>
                <a:lnTo>
                  <a:pt x="1081" y="355"/>
                </a:lnTo>
                <a:lnTo>
                  <a:pt x="1082" y="359"/>
                </a:lnTo>
                <a:lnTo>
                  <a:pt x="1084" y="362"/>
                </a:lnTo>
                <a:lnTo>
                  <a:pt x="1087" y="366"/>
                </a:lnTo>
                <a:lnTo>
                  <a:pt x="1087" y="368"/>
                </a:lnTo>
                <a:lnTo>
                  <a:pt x="1087" y="370"/>
                </a:lnTo>
                <a:lnTo>
                  <a:pt x="1086" y="371"/>
                </a:lnTo>
                <a:lnTo>
                  <a:pt x="1085" y="371"/>
                </a:lnTo>
                <a:lnTo>
                  <a:pt x="1084" y="373"/>
                </a:lnTo>
                <a:lnTo>
                  <a:pt x="1084" y="375"/>
                </a:lnTo>
                <a:lnTo>
                  <a:pt x="1087" y="377"/>
                </a:lnTo>
                <a:lnTo>
                  <a:pt x="1088" y="379"/>
                </a:lnTo>
                <a:lnTo>
                  <a:pt x="1090" y="380"/>
                </a:lnTo>
                <a:lnTo>
                  <a:pt x="1092" y="380"/>
                </a:lnTo>
                <a:lnTo>
                  <a:pt x="1093" y="381"/>
                </a:lnTo>
                <a:lnTo>
                  <a:pt x="1092" y="382"/>
                </a:lnTo>
                <a:lnTo>
                  <a:pt x="1091" y="383"/>
                </a:lnTo>
                <a:lnTo>
                  <a:pt x="1089" y="384"/>
                </a:lnTo>
                <a:lnTo>
                  <a:pt x="1088" y="384"/>
                </a:lnTo>
                <a:lnTo>
                  <a:pt x="1087" y="383"/>
                </a:lnTo>
                <a:lnTo>
                  <a:pt x="1084" y="392"/>
                </a:lnTo>
                <a:lnTo>
                  <a:pt x="1082" y="390"/>
                </a:lnTo>
                <a:lnTo>
                  <a:pt x="1080" y="389"/>
                </a:lnTo>
                <a:lnTo>
                  <a:pt x="1077" y="388"/>
                </a:lnTo>
                <a:lnTo>
                  <a:pt x="1076" y="386"/>
                </a:lnTo>
                <a:lnTo>
                  <a:pt x="1075" y="383"/>
                </a:lnTo>
                <a:lnTo>
                  <a:pt x="1074" y="379"/>
                </a:lnTo>
                <a:lnTo>
                  <a:pt x="1073" y="369"/>
                </a:lnTo>
                <a:lnTo>
                  <a:pt x="1073" y="365"/>
                </a:lnTo>
                <a:lnTo>
                  <a:pt x="1072" y="363"/>
                </a:lnTo>
                <a:lnTo>
                  <a:pt x="1071" y="363"/>
                </a:lnTo>
                <a:lnTo>
                  <a:pt x="1070" y="366"/>
                </a:lnTo>
                <a:lnTo>
                  <a:pt x="1067" y="375"/>
                </a:lnTo>
                <a:lnTo>
                  <a:pt x="1064" y="364"/>
                </a:lnTo>
                <a:lnTo>
                  <a:pt x="1061" y="352"/>
                </a:lnTo>
                <a:lnTo>
                  <a:pt x="1056" y="353"/>
                </a:lnTo>
                <a:lnTo>
                  <a:pt x="1052" y="353"/>
                </a:lnTo>
                <a:lnTo>
                  <a:pt x="1050" y="352"/>
                </a:lnTo>
                <a:lnTo>
                  <a:pt x="1048" y="350"/>
                </a:lnTo>
                <a:lnTo>
                  <a:pt x="1047" y="347"/>
                </a:lnTo>
                <a:lnTo>
                  <a:pt x="1046" y="344"/>
                </a:lnTo>
                <a:lnTo>
                  <a:pt x="1045" y="341"/>
                </a:lnTo>
                <a:lnTo>
                  <a:pt x="1037" y="347"/>
                </a:lnTo>
                <a:lnTo>
                  <a:pt x="1034" y="350"/>
                </a:lnTo>
                <a:lnTo>
                  <a:pt x="1031" y="352"/>
                </a:lnTo>
                <a:lnTo>
                  <a:pt x="1028" y="353"/>
                </a:lnTo>
                <a:lnTo>
                  <a:pt x="1027" y="353"/>
                </a:lnTo>
                <a:lnTo>
                  <a:pt x="1028" y="352"/>
                </a:lnTo>
                <a:lnTo>
                  <a:pt x="1029" y="351"/>
                </a:lnTo>
                <a:lnTo>
                  <a:pt x="1029" y="350"/>
                </a:lnTo>
                <a:lnTo>
                  <a:pt x="1028" y="349"/>
                </a:lnTo>
                <a:lnTo>
                  <a:pt x="1023" y="349"/>
                </a:lnTo>
                <a:lnTo>
                  <a:pt x="1017" y="351"/>
                </a:lnTo>
                <a:lnTo>
                  <a:pt x="1002" y="355"/>
                </a:lnTo>
                <a:lnTo>
                  <a:pt x="994" y="357"/>
                </a:lnTo>
                <a:lnTo>
                  <a:pt x="987" y="359"/>
                </a:lnTo>
                <a:lnTo>
                  <a:pt x="979" y="359"/>
                </a:lnTo>
                <a:lnTo>
                  <a:pt x="975" y="359"/>
                </a:lnTo>
                <a:lnTo>
                  <a:pt x="971" y="358"/>
                </a:lnTo>
                <a:lnTo>
                  <a:pt x="969" y="357"/>
                </a:lnTo>
                <a:lnTo>
                  <a:pt x="968" y="354"/>
                </a:lnTo>
                <a:lnTo>
                  <a:pt x="967" y="351"/>
                </a:lnTo>
                <a:lnTo>
                  <a:pt x="966" y="348"/>
                </a:lnTo>
                <a:lnTo>
                  <a:pt x="966" y="345"/>
                </a:lnTo>
                <a:lnTo>
                  <a:pt x="967" y="343"/>
                </a:lnTo>
                <a:lnTo>
                  <a:pt x="968" y="342"/>
                </a:lnTo>
                <a:lnTo>
                  <a:pt x="969" y="341"/>
                </a:lnTo>
                <a:lnTo>
                  <a:pt x="971" y="341"/>
                </a:lnTo>
                <a:lnTo>
                  <a:pt x="970" y="340"/>
                </a:lnTo>
                <a:lnTo>
                  <a:pt x="969" y="339"/>
                </a:lnTo>
                <a:lnTo>
                  <a:pt x="969" y="337"/>
                </a:lnTo>
                <a:lnTo>
                  <a:pt x="969" y="335"/>
                </a:lnTo>
                <a:lnTo>
                  <a:pt x="977" y="336"/>
                </a:lnTo>
                <a:lnTo>
                  <a:pt x="981" y="336"/>
                </a:lnTo>
                <a:lnTo>
                  <a:pt x="986" y="335"/>
                </a:lnTo>
                <a:lnTo>
                  <a:pt x="981" y="330"/>
                </a:lnTo>
                <a:lnTo>
                  <a:pt x="975" y="323"/>
                </a:lnTo>
                <a:lnTo>
                  <a:pt x="971" y="319"/>
                </a:lnTo>
                <a:lnTo>
                  <a:pt x="968" y="316"/>
                </a:lnTo>
                <a:lnTo>
                  <a:pt x="965" y="314"/>
                </a:lnTo>
                <a:lnTo>
                  <a:pt x="963" y="313"/>
                </a:lnTo>
                <a:lnTo>
                  <a:pt x="960" y="312"/>
                </a:lnTo>
                <a:lnTo>
                  <a:pt x="957" y="312"/>
                </a:lnTo>
                <a:lnTo>
                  <a:pt x="955" y="313"/>
                </a:lnTo>
                <a:lnTo>
                  <a:pt x="954" y="313"/>
                </a:lnTo>
                <a:lnTo>
                  <a:pt x="952" y="315"/>
                </a:lnTo>
                <a:lnTo>
                  <a:pt x="951" y="317"/>
                </a:lnTo>
                <a:lnTo>
                  <a:pt x="950" y="319"/>
                </a:lnTo>
                <a:lnTo>
                  <a:pt x="948" y="321"/>
                </a:lnTo>
                <a:lnTo>
                  <a:pt x="944" y="322"/>
                </a:lnTo>
                <a:lnTo>
                  <a:pt x="941" y="322"/>
                </a:lnTo>
                <a:lnTo>
                  <a:pt x="938" y="321"/>
                </a:lnTo>
                <a:lnTo>
                  <a:pt x="936" y="321"/>
                </a:lnTo>
                <a:lnTo>
                  <a:pt x="934" y="320"/>
                </a:lnTo>
                <a:lnTo>
                  <a:pt x="930" y="317"/>
                </a:lnTo>
                <a:lnTo>
                  <a:pt x="924" y="313"/>
                </a:lnTo>
                <a:lnTo>
                  <a:pt x="918" y="312"/>
                </a:lnTo>
                <a:lnTo>
                  <a:pt x="913" y="312"/>
                </a:lnTo>
                <a:lnTo>
                  <a:pt x="908" y="312"/>
                </a:lnTo>
                <a:lnTo>
                  <a:pt x="906" y="311"/>
                </a:lnTo>
                <a:lnTo>
                  <a:pt x="904" y="310"/>
                </a:lnTo>
                <a:lnTo>
                  <a:pt x="903" y="309"/>
                </a:lnTo>
                <a:lnTo>
                  <a:pt x="903" y="308"/>
                </a:lnTo>
                <a:lnTo>
                  <a:pt x="903" y="306"/>
                </a:lnTo>
                <a:lnTo>
                  <a:pt x="903" y="303"/>
                </a:lnTo>
                <a:lnTo>
                  <a:pt x="902" y="302"/>
                </a:lnTo>
                <a:lnTo>
                  <a:pt x="901" y="302"/>
                </a:lnTo>
                <a:lnTo>
                  <a:pt x="899" y="301"/>
                </a:lnTo>
                <a:lnTo>
                  <a:pt x="898" y="301"/>
                </a:lnTo>
                <a:lnTo>
                  <a:pt x="896" y="302"/>
                </a:lnTo>
                <a:lnTo>
                  <a:pt x="895" y="304"/>
                </a:lnTo>
                <a:lnTo>
                  <a:pt x="894" y="304"/>
                </a:lnTo>
                <a:lnTo>
                  <a:pt x="893" y="304"/>
                </a:lnTo>
                <a:lnTo>
                  <a:pt x="887" y="299"/>
                </a:lnTo>
                <a:lnTo>
                  <a:pt x="881" y="296"/>
                </a:lnTo>
                <a:lnTo>
                  <a:pt x="875" y="293"/>
                </a:lnTo>
                <a:lnTo>
                  <a:pt x="860" y="286"/>
                </a:lnTo>
                <a:lnTo>
                  <a:pt x="852" y="283"/>
                </a:lnTo>
                <a:lnTo>
                  <a:pt x="844" y="281"/>
                </a:lnTo>
                <a:lnTo>
                  <a:pt x="840" y="281"/>
                </a:lnTo>
                <a:lnTo>
                  <a:pt x="836" y="281"/>
                </a:lnTo>
                <a:lnTo>
                  <a:pt x="832" y="281"/>
                </a:lnTo>
                <a:lnTo>
                  <a:pt x="828" y="282"/>
                </a:lnTo>
                <a:lnTo>
                  <a:pt x="828" y="288"/>
                </a:lnTo>
                <a:lnTo>
                  <a:pt x="819" y="292"/>
                </a:lnTo>
                <a:lnTo>
                  <a:pt x="810" y="296"/>
                </a:lnTo>
                <a:lnTo>
                  <a:pt x="808" y="288"/>
                </a:lnTo>
                <a:lnTo>
                  <a:pt x="806" y="280"/>
                </a:lnTo>
                <a:lnTo>
                  <a:pt x="805" y="273"/>
                </a:lnTo>
                <a:lnTo>
                  <a:pt x="805" y="268"/>
                </a:lnTo>
                <a:lnTo>
                  <a:pt x="803" y="270"/>
                </a:lnTo>
                <a:lnTo>
                  <a:pt x="802" y="271"/>
                </a:lnTo>
                <a:lnTo>
                  <a:pt x="799" y="274"/>
                </a:lnTo>
                <a:lnTo>
                  <a:pt x="800" y="274"/>
                </a:lnTo>
                <a:lnTo>
                  <a:pt x="801" y="277"/>
                </a:lnTo>
                <a:lnTo>
                  <a:pt x="801" y="280"/>
                </a:lnTo>
                <a:lnTo>
                  <a:pt x="800" y="284"/>
                </a:lnTo>
                <a:lnTo>
                  <a:pt x="796" y="299"/>
                </a:lnTo>
                <a:lnTo>
                  <a:pt x="790" y="299"/>
                </a:lnTo>
                <a:lnTo>
                  <a:pt x="784" y="294"/>
                </a:lnTo>
                <a:lnTo>
                  <a:pt x="774" y="285"/>
                </a:lnTo>
                <a:lnTo>
                  <a:pt x="769" y="281"/>
                </a:lnTo>
                <a:lnTo>
                  <a:pt x="764" y="276"/>
                </a:lnTo>
                <a:lnTo>
                  <a:pt x="761" y="273"/>
                </a:lnTo>
                <a:lnTo>
                  <a:pt x="760" y="271"/>
                </a:lnTo>
                <a:lnTo>
                  <a:pt x="760" y="265"/>
                </a:lnTo>
                <a:lnTo>
                  <a:pt x="754" y="265"/>
                </a:lnTo>
                <a:lnTo>
                  <a:pt x="754" y="262"/>
                </a:lnTo>
                <a:lnTo>
                  <a:pt x="750" y="260"/>
                </a:lnTo>
                <a:lnTo>
                  <a:pt x="746" y="257"/>
                </a:lnTo>
                <a:lnTo>
                  <a:pt x="738" y="251"/>
                </a:lnTo>
                <a:lnTo>
                  <a:pt x="731" y="244"/>
                </a:lnTo>
                <a:lnTo>
                  <a:pt x="723" y="237"/>
                </a:lnTo>
                <a:lnTo>
                  <a:pt x="720" y="251"/>
                </a:lnTo>
                <a:lnTo>
                  <a:pt x="722" y="251"/>
                </a:lnTo>
                <a:lnTo>
                  <a:pt x="723" y="252"/>
                </a:lnTo>
                <a:lnTo>
                  <a:pt x="723" y="253"/>
                </a:lnTo>
                <a:lnTo>
                  <a:pt x="723" y="254"/>
                </a:lnTo>
                <a:lnTo>
                  <a:pt x="723" y="255"/>
                </a:lnTo>
                <a:lnTo>
                  <a:pt x="723" y="256"/>
                </a:lnTo>
                <a:lnTo>
                  <a:pt x="721" y="257"/>
                </a:lnTo>
                <a:lnTo>
                  <a:pt x="720" y="257"/>
                </a:lnTo>
                <a:lnTo>
                  <a:pt x="716" y="267"/>
                </a:lnTo>
                <a:lnTo>
                  <a:pt x="713" y="273"/>
                </a:lnTo>
                <a:lnTo>
                  <a:pt x="712" y="275"/>
                </a:lnTo>
                <a:lnTo>
                  <a:pt x="712" y="276"/>
                </a:lnTo>
                <a:lnTo>
                  <a:pt x="710" y="276"/>
                </a:lnTo>
                <a:lnTo>
                  <a:pt x="707" y="275"/>
                </a:lnTo>
                <a:lnTo>
                  <a:pt x="704" y="274"/>
                </a:lnTo>
                <a:lnTo>
                  <a:pt x="700" y="274"/>
                </a:lnTo>
                <a:lnTo>
                  <a:pt x="696" y="275"/>
                </a:lnTo>
                <a:lnTo>
                  <a:pt x="693" y="277"/>
                </a:lnTo>
                <a:lnTo>
                  <a:pt x="692" y="278"/>
                </a:lnTo>
                <a:lnTo>
                  <a:pt x="691" y="279"/>
                </a:lnTo>
                <a:lnTo>
                  <a:pt x="689" y="282"/>
                </a:lnTo>
                <a:lnTo>
                  <a:pt x="686" y="290"/>
                </a:lnTo>
                <a:lnTo>
                  <a:pt x="684" y="299"/>
                </a:lnTo>
                <a:lnTo>
                  <a:pt x="681" y="299"/>
                </a:lnTo>
                <a:lnTo>
                  <a:pt x="682" y="299"/>
                </a:lnTo>
                <a:lnTo>
                  <a:pt x="682" y="298"/>
                </a:lnTo>
                <a:lnTo>
                  <a:pt x="681" y="296"/>
                </a:lnTo>
                <a:lnTo>
                  <a:pt x="678" y="293"/>
                </a:lnTo>
                <a:lnTo>
                  <a:pt x="674" y="296"/>
                </a:lnTo>
                <a:lnTo>
                  <a:pt x="672" y="298"/>
                </a:lnTo>
                <a:lnTo>
                  <a:pt x="671" y="298"/>
                </a:lnTo>
                <a:lnTo>
                  <a:pt x="670" y="299"/>
                </a:lnTo>
                <a:lnTo>
                  <a:pt x="670" y="293"/>
                </a:lnTo>
                <a:lnTo>
                  <a:pt x="660" y="297"/>
                </a:lnTo>
                <a:lnTo>
                  <a:pt x="656" y="300"/>
                </a:lnTo>
                <a:lnTo>
                  <a:pt x="653" y="302"/>
                </a:lnTo>
                <a:lnTo>
                  <a:pt x="647" y="319"/>
                </a:lnTo>
                <a:lnTo>
                  <a:pt x="646" y="319"/>
                </a:lnTo>
                <a:lnTo>
                  <a:pt x="644" y="320"/>
                </a:lnTo>
                <a:lnTo>
                  <a:pt x="641" y="320"/>
                </a:lnTo>
                <a:lnTo>
                  <a:pt x="638" y="320"/>
                </a:lnTo>
                <a:lnTo>
                  <a:pt x="637" y="321"/>
                </a:lnTo>
                <a:lnTo>
                  <a:pt x="636" y="321"/>
                </a:lnTo>
                <a:lnTo>
                  <a:pt x="635" y="321"/>
                </a:lnTo>
                <a:lnTo>
                  <a:pt x="635" y="320"/>
                </a:lnTo>
                <a:lnTo>
                  <a:pt x="636" y="318"/>
                </a:lnTo>
                <a:lnTo>
                  <a:pt x="633" y="319"/>
                </a:lnTo>
                <a:lnTo>
                  <a:pt x="643" y="301"/>
                </a:lnTo>
                <a:lnTo>
                  <a:pt x="649" y="290"/>
                </a:lnTo>
                <a:lnTo>
                  <a:pt x="653" y="285"/>
                </a:lnTo>
                <a:lnTo>
                  <a:pt x="656" y="283"/>
                </a:lnTo>
                <a:lnTo>
                  <a:pt x="660" y="282"/>
                </a:lnTo>
                <a:lnTo>
                  <a:pt x="668" y="281"/>
                </a:lnTo>
                <a:lnTo>
                  <a:pt x="676" y="280"/>
                </a:lnTo>
                <a:lnTo>
                  <a:pt x="680" y="278"/>
                </a:lnTo>
                <a:lnTo>
                  <a:pt x="684" y="276"/>
                </a:lnTo>
                <a:lnTo>
                  <a:pt x="691" y="271"/>
                </a:lnTo>
                <a:lnTo>
                  <a:pt x="696" y="268"/>
                </a:lnTo>
                <a:lnTo>
                  <a:pt x="698" y="265"/>
                </a:lnTo>
                <a:lnTo>
                  <a:pt x="698" y="264"/>
                </a:lnTo>
                <a:lnTo>
                  <a:pt x="697" y="263"/>
                </a:lnTo>
                <a:lnTo>
                  <a:pt x="694" y="262"/>
                </a:lnTo>
                <a:lnTo>
                  <a:pt x="690" y="261"/>
                </a:lnTo>
                <a:lnTo>
                  <a:pt x="675" y="259"/>
                </a:lnTo>
                <a:lnTo>
                  <a:pt x="673" y="264"/>
                </a:lnTo>
                <a:lnTo>
                  <a:pt x="672" y="268"/>
                </a:lnTo>
                <a:lnTo>
                  <a:pt x="671" y="272"/>
                </a:lnTo>
                <a:lnTo>
                  <a:pt x="670" y="276"/>
                </a:lnTo>
                <a:lnTo>
                  <a:pt x="668" y="276"/>
                </a:lnTo>
                <a:lnTo>
                  <a:pt x="667" y="275"/>
                </a:lnTo>
                <a:lnTo>
                  <a:pt x="665" y="273"/>
                </a:lnTo>
                <a:lnTo>
                  <a:pt x="661" y="271"/>
                </a:lnTo>
                <a:lnTo>
                  <a:pt x="656" y="272"/>
                </a:lnTo>
                <a:lnTo>
                  <a:pt x="648" y="275"/>
                </a:lnTo>
                <a:lnTo>
                  <a:pt x="636" y="279"/>
                </a:lnTo>
                <a:lnTo>
                  <a:pt x="635" y="281"/>
                </a:lnTo>
                <a:lnTo>
                  <a:pt x="635" y="282"/>
                </a:lnTo>
                <a:lnTo>
                  <a:pt x="635" y="285"/>
                </a:lnTo>
                <a:lnTo>
                  <a:pt x="635" y="288"/>
                </a:lnTo>
                <a:lnTo>
                  <a:pt x="634" y="289"/>
                </a:lnTo>
                <a:lnTo>
                  <a:pt x="633" y="290"/>
                </a:lnTo>
                <a:lnTo>
                  <a:pt x="630" y="291"/>
                </a:lnTo>
                <a:lnTo>
                  <a:pt x="627" y="292"/>
                </a:lnTo>
                <a:lnTo>
                  <a:pt x="624" y="292"/>
                </a:lnTo>
                <a:lnTo>
                  <a:pt x="622" y="293"/>
                </a:lnTo>
                <a:lnTo>
                  <a:pt x="621" y="292"/>
                </a:lnTo>
                <a:lnTo>
                  <a:pt x="621" y="289"/>
                </a:lnTo>
                <a:lnTo>
                  <a:pt x="622" y="285"/>
                </a:lnTo>
                <a:lnTo>
                  <a:pt x="618" y="283"/>
                </a:lnTo>
                <a:lnTo>
                  <a:pt x="615" y="282"/>
                </a:lnTo>
                <a:lnTo>
                  <a:pt x="613" y="281"/>
                </a:lnTo>
                <a:lnTo>
                  <a:pt x="610" y="279"/>
                </a:lnTo>
                <a:lnTo>
                  <a:pt x="610" y="282"/>
                </a:lnTo>
                <a:lnTo>
                  <a:pt x="609" y="284"/>
                </a:lnTo>
                <a:lnTo>
                  <a:pt x="609" y="288"/>
                </a:lnTo>
                <a:lnTo>
                  <a:pt x="609" y="292"/>
                </a:lnTo>
                <a:lnTo>
                  <a:pt x="608" y="296"/>
                </a:lnTo>
                <a:lnTo>
                  <a:pt x="607" y="297"/>
                </a:lnTo>
                <a:lnTo>
                  <a:pt x="606" y="297"/>
                </a:lnTo>
                <a:lnTo>
                  <a:pt x="605" y="296"/>
                </a:lnTo>
                <a:lnTo>
                  <a:pt x="605" y="294"/>
                </a:lnTo>
                <a:lnTo>
                  <a:pt x="605" y="293"/>
                </a:lnTo>
                <a:lnTo>
                  <a:pt x="602" y="293"/>
                </a:lnTo>
                <a:lnTo>
                  <a:pt x="600" y="293"/>
                </a:lnTo>
                <a:lnTo>
                  <a:pt x="599" y="294"/>
                </a:lnTo>
                <a:lnTo>
                  <a:pt x="599" y="296"/>
                </a:lnTo>
                <a:lnTo>
                  <a:pt x="600" y="299"/>
                </a:lnTo>
                <a:lnTo>
                  <a:pt x="600" y="301"/>
                </a:lnTo>
                <a:lnTo>
                  <a:pt x="599" y="302"/>
                </a:lnTo>
                <a:lnTo>
                  <a:pt x="596" y="302"/>
                </a:lnTo>
                <a:lnTo>
                  <a:pt x="592" y="301"/>
                </a:lnTo>
                <a:lnTo>
                  <a:pt x="587" y="300"/>
                </a:lnTo>
                <a:lnTo>
                  <a:pt x="582" y="299"/>
                </a:lnTo>
                <a:lnTo>
                  <a:pt x="582" y="301"/>
                </a:lnTo>
                <a:lnTo>
                  <a:pt x="582" y="303"/>
                </a:lnTo>
                <a:lnTo>
                  <a:pt x="582" y="304"/>
                </a:lnTo>
                <a:lnTo>
                  <a:pt x="583" y="304"/>
                </a:lnTo>
                <a:lnTo>
                  <a:pt x="585" y="304"/>
                </a:lnTo>
                <a:lnTo>
                  <a:pt x="585" y="307"/>
                </a:lnTo>
                <a:lnTo>
                  <a:pt x="589" y="308"/>
                </a:lnTo>
                <a:lnTo>
                  <a:pt x="591" y="310"/>
                </a:lnTo>
                <a:lnTo>
                  <a:pt x="593" y="313"/>
                </a:lnTo>
                <a:lnTo>
                  <a:pt x="593" y="314"/>
                </a:lnTo>
                <a:lnTo>
                  <a:pt x="593" y="315"/>
                </a:lnTo>
                <a:lnTo>
                  <a:pt x="591" y="316"/>
                </a:lnTo>
                <a:lnTo>
                  <a:pt x="590" y="316"/>
                </a:lnTo>
                <a:lnTo>
                  <a:pt x="588" y="316"/>
                </a:lnTo>
                <a:lnTo>
                  <a:pt x="585" y="316"/>
                </a:lnTo>
                <a:lnTo>
                  <a:pt x="582" y="307"/>
                </a:lnTo>
                <a:lnTo>
                  <a:pt x="581" y="306"/>
                </a:lnTo>
                <a:lnTo>
                  <a:pt x="579" y="306"/>
                </a:lnTo>
                <a:lnTo>
                  <a:pt x="576" y="305"/>
                </a:lnTo>
                <a:lnTo>
                  <a:pt x="572" y="305"/>
                </a:lnTo>
                <a:lnTo>
                  <a:pt x="571" y="305"/>
                </a:lnTo>
                <a:lnTo>
                  <a:pt x="568" y="304"/>
                </a:lnTo>
                <a:lnTo>
                  <a:pt x="565" y="299"/>
                </a:lnTo>
                <a:lnTo>
                  <a:pt x="544" y="291"/>
                </a:lnTo>
                <a:lnTo>
                  <a:pt x="534" y="287"/>
                </a:lnTo>
                <a:lnTo>
                  <a:pt x="530" y="285"/>
                </a:lnTo>
                <a:lnTo>
                  <a:pt x="526" y="282"/>
                </a:lnTo>
                <a:lnTo>
                  <a:pt x="525" y="279"/>
                </a:lnTo>
                <a:lnTo>
                  <a:pt x="523" y="276"/>
                </a:lnTo>
                <a:lnTo>
                  <a:pt x="519" y="276"/>
                </a:lnTo>
                <a:lnTo>
                  <a:pt x="516" y="276"/>
                </a:lnTo>
                <a:lnTo>
                  <a:pt x="513" y="276"/>
                </a:lnTo>
                <a:lnTo>
                  <a:pt x="510" y="277"/>
                </a:lnTo>
                <a:lnTo>
                  <a:pt x="508" y="278"/>
                </a:lnTo>
                <a:lnTo>
                  <a:pt x="505" y="279"/>
                </a:lnTo>
                <a:lnTo>
                  <a:pt x="502" y="279"/>
                </a:lnTo>
                <a:lnTo>
                  <a:pt x="498" y="279"/>
                </a:lnTo>
                <a:lnTo>
                  <a:pt x="494" y="278"/>
                </a:lnTo>
                <a:lnTo>
                  <a:pt x="489" y="277"/>
                </a:lnTo>
                <a:lnTo>
                  <a:pt x="480" y="272"/>
                </a:lnTo>
                <a:lnTo>
                  <a:pt x="472" y="268"/>
                </a:lnTo>
                <a:lnTo>
                  <a:pt x="463" y="265"/>
                </a:lnTo>
                <a:lnTo>
                  <a:pt x="459" y="263"/>
                </a:lnTo>
                <a:lnTo>
                  <a:pt x="454" y="262"/>
                </a:lnTo>
                <a:lnTo>
                  <a:pt x="449" y="262"/>
                </a:lnTo>
                <a:lnTo>
                  <a:pt x="445" y="262"/>
                </a:lnTo>
                <a:lnTo>
                  <a:pt x="445" y="271"/>
                </a:lnTo>
                <a:lnTo>
                  <a:pt x="435" y="271"/>
                </a:lnTo>
                <a:lnTo>
                  <a:pt x="428" y="271"/>
                </a:lnTo>
                <a:lnTo>
                  <a:pt x="425" y="265"/>
                </a:lnTo>
                <a:lnTo>
                  <a:pt x="414" y="265"/>
                </a:lnTo>
                <a:lnTo>
                  <a:pt x="402" y="265"/>
                </a:lnTo>
                <a:lnTo>
                  <a:pt x="402" y="259"/>
                </a:lnTo>
                <a:lnTo>
                  <a:pt x="398" y="259"/>
                </a:lnTo>
                <a:lnTo>
                  <a:pt x="393" y="259"/>
                </a:lnTo>
                <a:lnTo>
                  <a:pt x="382" y="261"/>
                </a:lnTo>
                <a:lnTo>
                  <a:pt x="372" y="262"/>
                </a:lnTo>
                <a:lnTo>
                  <a:pt x="367" y="262"/>
                </a:lnTo>
                <a:lnTo>
                  <a:pt x="363" y="262"/>
                </a:lnTo>
                <a:lnTo>
                  <a:pt x="360" y="257"/>
                </a:lnTo>
                <a:lnTo>
                  <a:pt x="359" y="257"/>
                </a:lnTo>
                <a:lnTo>
                  <a:pt x="358" y="257"/>
                </a:lnTo>
                <a:lnTo>
                  <a:pt x="357" y="258"/>
                </a:lnTo>
                <a:lnTo>
                  <a:pt x="355" y="259"/>
                </a:lnTo>
                <a:lnTo>
                  <a:pt x="354" y="260"/>
                </a:lnTo>
                <a:lnTo>
                  <a:pt x="352" y="259"/>
                </a:lnTo>
                <a:lnTo>
                  <a:pt x="349" y="258"/>
                </a:lnTo>
                <a:lnTo>
                  <a:pt x="345" y="255"/>
                </a:lnTo>
                <a:lnTo>
                  <a:pt x="341" y="252"/>
                </a:lnTo>
                <a:lnTo>
                  <a:pt x="338" y="251"/>
                </a:lnTo>
                <a:lnTo>
                  <a:pt x="333" y="251"/>
                </a:lnTo>
                <a:lnTo>
                  <a:pt x="329" y="251"/>
                </a:lnTo>
                <a:lnTo>
                  <a:pt x="325" y="252"/>
                </a:lnTo>
                <a:lnTo>
                  <a:pt x="322" y="254"/>
                </a:lnTo>
                <a:lnTo>
                  <a:pt x="319" y="255"/>
                </a:lnTo>
                <a:lnTo>
                  <a:pt x="315" y="256"/>
                </a:lnTo>
                <a:lnTo>
                  <a:pt x="311" y="257"/>
                </a:lnTo>
                <a:lnTo>
                  <a:pt x="307" y="257"/>
                </a:lnTo>
                <a:lnTo>
                  <a:pt x="301" y="256"/>
                </a:lnTo>
                <a:lnTo>
                  <a:pt x="292" y="253"/>
                </a:lnTo>
                <a:lnTo>
                  <a:pt x="276" y="248"/>
                </a:lnTo>
                <a:lnTo>
                  <a:pt x="273" y="243"/>
                </a:lnTo>
                <a:lnTo>
                  <a:pt x="269" y="242"/>
                </a:lnTo>
                <a:lnTo>
                  <a:pt x="265" y="242"/>
                </a:lnTo>
                <a:lnTo>
                  <a:pt x="257" y="244"/>
                </a:lnTo>
                <a:lnTo>
                  <a:pt x="250" y="245"/>
                </a:lnTo>
                <a:lnTo>
                  <a:pt x="247" y="245"/>
                </a:lnTo>
                <a:lnTo>
                  <a:pt x="245" y="245"/>
                </a:lnTo>
                <a:lnTo>
                  <a:pt x="243" y="245"/>
                </a:lnTo>
                <a:lnTo>
                  <a:pt x="242" y="243"/>
                </a:lnTo>
                <a:lnTo>
                  <a:pt x="240" y="240"/>
                </a:lnTo>
                <a:lnTo>
                  <a:pt x="238" y="237"/>
                </a:lnTo>
                <a:lnTo>
                  <a:pt x="236" y="234"/>
                </a:lnTo>
                <a:lnTo>
                  <a:pt x="228" y="240"/>
                </a:lnTo>
                <a:lnTo>
                  <a:pt x="220" y="245"/>
                </a:lnTo>
                <a:lnTo>
                  <a:pt x="219" y="244"/>
                </a:lnTo>
                <a:lnTo>
                  <a:pt x="218" y="243"/>
                </a:lnTo>
                <a:lnTo>
                  <a:pt x="218" y="240"/>
                </a:lnTo>
                <a:lnTo>
                  <a:pt x="218" y="237"/>
                </a:lnTo>
                <a:lnTo>
                  <a:pt x="217" y="233"/>
                </a:lnTo>
                <a:lnTo>
                  <a:pt x="215" y="230"/>
                </a:lnTo>
                <a:lnTo>
                  <a:pt x="214" y="229"/>
                </a:lnTo>
                <a:lnTo>
                  <a:pt x="212" y="228"/>
                </a:lnTo>
                <a:lnTo>
                  <a:pt x="209" y="228"/>
                </a:lnTo>
                <a:lnTo>
                  <a:pt x="206" y="227"/>
                </a:lnTo>
                <a:lnTo>
                  <a:pt x="202" y="228"/>
                </a:lnTo>
                <a:lnTo>
                  <a:pt x="197" y="229"/>
                </a:lnTo>
                <a:lnTo>
                  <a:pt x="195" y="229"/>
                </a:lnTo>
                <a:lnTo>
                  <a:pt x="193" y="231"/>
                </a:lnTo>
                <a:lnTo>
                  <a:pt x="189" y="235"/>
                </a:lnTo>
                <a:lnTo>
                  <a:pt x="184" y="240"/>
                </a:lnTo>
                <a:lnTo>
                  <a:pt x="180" y="243"/>
                </a:lnTo>
                <a:lnTo>
                  <a:pt x="178" y="243"/>
                </a:lnTo>
                <a:lnTo>
                  <a:pt x="176" y="243"/>
                </a:lnTo>
                <a:lnTo>
                  <a:pt x="172" y="243"/>
                </a:lnTo>
                <a:lnTo>
                  <a:pt x="167" y="242"/>
                </a:lnTo>
                <a:lnTo>
                  <a:pt x="165" y="242"/>
                </a:lnTo>
                <a:lnTo>
                  <a:pt x="163" y="243"/>
                </a:lnTo>
                <a:lnTo>
                  <a:pt x="162" y="244"/>
                </a:lnTo>
                <a:lnTo>
                  <a:pt x="161" y="246"/>
                </a:lnTo>
                <a:lnTo>
                  <a:pt x="160" y="248"/>
                </a:lnTo>
                <a:lnTo>
                  <a:pt x="159" y="248"/>
                </a:lnTo>
                <a:lnTo>
                  <a:pt x="158" y="248"/>
                </a:lnTo>
                <a:lnTo>
                  <a:pt x="157" y="247"/>
                </a:lnTo>
                <a:lnTo>
                  <a:pt x="157" y="244"/>
                </a:lnTo>
                <a:lnTo>
                  <a:pt x="157" y="243"/>
                </a:lnTo>
                <a:lnTo>
                  <a:pt x="156" y="242"/>
                </a:lnTo>
                <a:lnTo>
                  <a:pt x="154" y="242"/>
                </a:lnTo>
                <a:lnTo>
                  <a:pt x="152" y="243"/>
                </a:lnTo>
                <a:lnTo>
                  <a:pt x="152" y="248"/>
                </a:lnTo>
                <a:lnTo>
                  <a:pt x="150" y="249"/>
                </a:lnTo>
                <a:lnTo>
                  <a:pt x="148" y="249"/>
                </a:lnTo>
                <a:lnTo>
                  <a:pt x="144" y="248"/>
                </a:lnTo>
                <a:lnTo>
                  <a:pt x="142" y="251"/>
                </a:lnTo>
                <a:lnTo>
                  <a:pt x="141" y="254"/>
                </a:lnTo>
                <a:lnTo>
                  <a:pt x="138" y="254"/>
                </a:lnTo>
                <a:lnTo>
                  <a:pt x="136" y="254"/>
                </a:lnTo>
                <a:lnTo>
                  <a:pt x="131" y="254"/>
                </a:lnTo>
                <a:lnTo>
                  <a:pt x="126" y="253"/>
                </a:lnTo>
                <a:lnTo>
                  <a:pt x="123" y="253"/>
                </a:lnTo>
                <a:lnTo>
                  <a:pt x="121" y="254"/>
                </a:lnTo>
                <a:lnTo>
                  <a:pt x="118" y="255"/>
                </a:lnTo>
                <a:lnTo>
                  <a:pt x="116" y="257"/>
                </a:lnTo>
                <a:lnTo>
                  <a:pt x="114" y="260"/>
                </a:lnTo>
                <a:lnTo>
                  <a:pt x="112" y="263"/>
                </a:lnTo>
                <a:lnTo>
                  <a:pt x="108" y="269"/>
                </a:lnTo>
                <a:lnTo>
                  <a:pt x="106" y="272"/>
                </a:lnTo>
                <a:lnTo>
                  <a:pt x="104" y="274"/>
                </a:lnTo>
                <a:lnTo>
                  <a:pt x="102" y="274"/>
                </a:lnTo>
                <a:lnTo>
                  <a:pt x="100" y="275"/>
                </a:lnTo>
                <a:lnTo>
                  <a:pt x="97" y="275"/>
                </a:lnTo>
                <a:lnTo>
                  <a:pt x="96" y="275"/>
                </a:lnTo>
                <a:lnTo>
                  <a:pt x="96" y="276"/>
                </a:lnTo>
                <a:lnTo>
                  <a:pt x="95" y="279"/>
                </a:lnTo>
                <a:lnTo>
                  <a:pt x="94" y="283"/>
                </a:lnTo>
                <a:lnTo>
                  <a:pt x="91" y="294"/>
                </a:lnTo>
                <a:lnTo>
                  <a:pt x="89" y="305"/>
                </a:lnTo>
                <a:lnTo>
                  <a:pt x="88" y="308"/>
                </a:lnTo>
                <a:lnTo>
                  <a:pt x="87" y="310"/>
                </a:lnTo>
                <a:lnTo>
                  <a:pt x="84" y="312"/>
                </a:lnTo>
                <a:lnTo>
                  <a:pt x="80" y="313"/>
                </a:lnTo>
                <a:lnTo>
                  <a:pt x="76" y="313"/>
                </a:lnTo>
                <a:lnTo>
                  <a:pt x="71" y="313"/>
                </a:lnTo>
                <a:lnTo>
                  <a:pt x="62" y="313"/>
                </a:lnTo>
                <a:lnTo>
                  <a:pt x="56" y="313"/>
                </a:lnTo>
                <a:lnTo>
                  <a:pt x="55" y="314"/>
                </a:lnTo>
                <a:lnTo>
                  <a:pt x="53" y="316"/>
                </a:lnTo>
                <a:lnTo>
                  <a:pt x="50" y="318"/>
                </a:lnTo>
                <a:lnTo>
                  <a:pt x="49" y="318"/>
                </a:lnTo>
                <a:lnTo>
                  <a:pt x="48" y="319"/>
                </a:lnTo>
                <a:lnTo>
                  <a:pt x="41" y="316"/>
                </a:lnTo>
                <a:lnTo>
                  <a:pt x="38" y="315"/>
                </a:lnTo>
                <a:lnTo>
                  <a:pt x="36" y="315"/>
                </a:lnTo>
                <a:lnTo>
                  <a:pt x="33" y="315"/>
                </a:lnTo>
                <a:lnTo>
                  <a:pt x="31" y="316"/>
                </a:lnTo>
                <a:lnTo>
                  <a:pt x="31" y="333"/>
                </a:lnTo>
                <a:lnTo>
                  <a:pt x="31" y="334"/>
                </a:lnTo>
                <a:lnTo>
                  <a:pt x="30" y="335"/>
                </a:lnTo>
                <a:lnTo>
                  <a:pt x="28" y="338"/>
                </a:lnTo>
                <a:lnTo>
                  <a:pt x="31" y="339"/>
                </a:lnTo>
                <a:lnTo>
                  <a:pt x="34" y="341"/>
                </a:lnTo>
                <a:lnTo>
                  <a:pt x="40" y="342"/>
                </a:lnTo>
                <a:lnTo>
                  <a:pt x="45" y="344"/>
                </a:lnTo>
                <a:lnTo>
                  <a:pt x="51" y="347"/>
                </a:lnTo>
                <a:lnTo>
                  <a:pt x="52" y="348"/>
                </a:lnTo>
                <a:lnTo>
                  <a:pt x="54" y="350"/>
                </a:lnTo>
                <a:lnTo>
                  <a:pt x="58" y="354"/>
                </a:lnTo>
                <a:lnTo>
                  <a:pt x="62" y="358"/>
                </a:lnTo>
                <a:lnTo>
                  <a:pt x="65" y="361"/>
                </a:lnTo>
                <a:lnTo>
                  <a:pt x="67" y="361"/>
                </a:lnTo>
                <a:lnTo>
                  <a:pt x="71" y="360"/>
                </a:lnTo>
                <a:lnTo>
                  <a:pt x="74" y="360"/>
                </a:lnTo>
                <a:lnTo>
                  <a:pt x="76" y="361"/>
                </a:lnTo>
                <a:lnTo>
                  <a:pt x="77" y="362"/>
                </a:lnTo>
                <a:lnTo>
                  <a:pt x="77" y="364"/>
                </a:lnTo>
                <a:lnTo>
                  <a:pt x="77" y="368"/>
                </a:lnTo>
                <a:lnTo>
                  <a:pt x="77" y="372"/>
                </a:lnTo>
                <a:lnTo>
                  <a:pt x="77" y="373"/>
                </a:lnTo>
                <a:lnTo>
                  <a:pt x="77" y="374"/>
                </a:lnTo>
                <a:lnTo>
                  <a:pt x="79" y="375"/>
                </a:lnTo>
                <a:lnTo>
                  <a:pt x="82" y="376"/>
                </a:lnTo>
                <a:lnTo>
                  <a:pt x="84" y="375"/>
                </a:lnTo>
                <a:lnTo>
                  <a:pt x="86" y="375"/>
                </a:lnTo>
                <a:lnTo>
                  <a:pt x="88" y="374"/>
                </a:lnTo>
                <a:lnTo>
                  <a:pt x="90" y="372"/>
                </a:lnTo>
                <a:lnTo>
                  <a:pt x="92" y="372"/>
                </a:lnTo>
                <a:lnTo>
                  <a:pt x="95" y="371"/>
                </a:lnTo>
                <a:lnTo>
                  <a:pt x="99" y="372"/>
                </a:lnTo>
                <a:lnTo>
                  <a:pt x="104" y="372"/>
                </a:lnTo>
                <a:lnTo>
                  <a:pt x="107" y="372"/>
                </a:lnTo>
                <a:lnTo>
                  <a:pt x="108" y="372"/>
                </a:lnTo>
                <a:lnTo>
                  <a:pt x="107" y="372"/>
                </a:lnTo>
                <a:lnTo>
                  <a:pt x="110" y="372"/>
                </a:lnTo>
                <a:lnTo>
                  <a:pt x="112" y="372"/>
                </a:lnTo>
                <a:lnTo>
                  <a:pt x="112" y="373"/>
                </a:lnTo>
                <a:lnTo>
                  <a:pt x="112" y="374"/>
                </a:lnTo>
                <a:lnTo>
                  <a:pt x="112" y="375"/>
                </a:lnTo>
                <a:lnTo>
                  <a:pt x="112" y="377"/>
                </a:lnTo>
                <a:lnTo>
                  <a:pt x="111" y="379"/>
                </a:lnTo>
                <a:lnTo>
                  <a:pt x="109" y="380"/>
                </a:lnTo>
                <a:lnTo>
                  <a:pt x="107" y="380"/>
                </a:lnTo>
                <a:lnTo>
                  <a:pt x="124" y="389"/>
                </a:lnTo>
                <a:lnTo>
                  <a:pt x="123" y="388"/>
                </a:lnTo>
                <a:lnTo>
                  <a:pt x="126" y="387"/>
                </a:lnTo>
                <a:lnTo>
                  <a:pt x="132" y="386"/>
                </a:lnTo>
                <a:lnTo>
                  <a:pt x="132" y="390"/>
                </a:lnTo>
                <a:lnTo>
                  <a:pt x="132" y="395"/>
                </a:lnTo>
                <a:lnTo>
                  <a:pt x="126" y="394"/>
                </a:lnTo>
                <a:lnTo>
                  <a:pt x="122" y="393"/>
                </a:lnTo>
                <a:lnTo>
                  <a:pt x="113" y="392"/>
                </a:lnTo>
                <a:lnTo>
                  <a:pt x="112" y="393"/>
                </a:lnTo>
                <a:lnTo>
                  <a:pt x="110" y="395"/>
                </a:lnTo>
                <a:lnTo>
                  <a:pt x="107" y="397"/>
                </a:lnTo>
                <a:lnTo>
                  <a:pt x="113" y="397"/>
                </a:lnTo>
                <a:lnTo>
                  <a:pt x="118" y="397"/>
                </a:lnTo>
                <a:lnTo>
                  <a:pt x="121" y="409"/>
                </a:lnTo>
                <a:lnTo>
                  <a:pt x="118" y="403"/>
                </a:lnTo>
                <a:lnTo>
                  <a:pt x="107" y="411"/>
                </a:lnTo>
                <a:lnTo>
                  <a:pt x="102" y="411"/>
                </a:lnTo>
                <a:lnTo>
                  <a:pt x="97" y="411"/>
                </a:lnTo>
                <a:lnTo>
                  <a:pt x="92" y="410"/>
                </a:lnTo>
                <a:lnTo>
                  <a:pt x="87" y="408"/>
                </a:lnTo>
                <a:lnTo>
                  <a:pt x="78" y="405"/>
                </a:lnTo>
                <a:lnTo>
                  <a:pt x="70" y="403"/>
                </a:lnTo>
                <a:lnTo>
                  <a:pt x="72" y="402"/>
                </a:lnTo>
                <a:lnTo>
                  <a:pt x="73" y="401"/>
                </a:lnTo>
                <a:lnTo>
                  <a:pt x="73" y="399"/>
                </a:lnTo>
                <a:lnTo>
                  <a:pt x="73" y="396"/>
                </a:lnTo>
                <a:lnTo>
                  <a:pt x="73" y="393"/>
                </a:lnTo>
                <a:lnTo>
                  <a:pt x="71" y="387"/>
                </a:lnTo>
                <a:lnTo>
                  <a:pt x="70" y="383"/>
                </a:lnTo>
                <a:lnTo>
                  <a:pt x="53" y="389"/>
                </a:lnTo>
                <a:lnTo>
                  <a:pt x="45" y="391"/>
                </a:lnTo>
                <a:lnTo>
                  <a:pt x="37" y="395"/>
                </a:lnTo>
                <a:lnTo>
                  <a:pt x="37" y="400"/>
                </a:lnTo>
                <a:lnTo>
                  <a:pt x="37" y="406"/>
                </a:lnTo>
                <a:lnTo>
                  <a:pt x="34" y="407"/>
                </a:lnTo>
                <a:lnTo>
                  <a:pt x="32" y="407"/>
                </a:lnTo>
                <a:lnTo>
                  <a:pt x="28" y="405"/>
                </a:lnTo>
                <a:lnTo>
                  <a:pt x="25" y="403"/>
                </a:lnTo>
                <a:lnTo>
                  <a:pt x="22" y="403"/>
                </a:lnTo>
                <a:lnTo>
                  <a:pt x="20" y="403"/>
                </a:lnTo>
                <a:lnTo>
                  <a:pt x="18" y="404"/>
                </a:lnTo>
                <a:lnTo>
                  <a:pt x="15" y="405"/>
                </a:lnTo>
                <a:lnTo>
                  <a:pt x="10" y="409"/>
                </a:lnTo>
                <a:lnTo>
                  <a:pt x="0" y="417"/>
                </a:lnTo>
                <a:lnTo>
                  <a:pt x="3" y="423"/>
                </a:lnTo>
                <a:lnTo>
                  <a:pt x="12" y="423"/>
                </a:lnTo>
                <a:lnTo>
                  <a:pt x="18" y="424"/>
                </a:lnTo>
                <a:lnTo>
                  <a:pt x="22" y="424"/>
                </a:lnTo>
                <a:lnTo>
                  <a:pt x="26" y="425"/>
                </a:lnTo>
                <a:lnTo>
                  <a:pt x="27" y="426"/>
                </a:lnTo>
                <a:lnTo>
                  <a:pt x="27" y="427"/>
                </a:lnTo>
                <a:lnTo>
                  <a:pt x="26" y="428"/>
                </a:lnTo>
                <a:lnTo>
                  <a:pt x="24" y="429"/>
                </a:lnTo>
                <a:lnTo>
                  <a:pt x="17" y="431"/>
                </a:lnTo>
                <a:lnTo>
                  <a:pt x="19" y="433"/>
                </a:lnTo>
                <a:lnTo>
                  <a:pt x="20" y="436"/>
                </a:lnTo>
                <a:lnTo>
                  <a:pt x="22" y="438"/>
                </a:lnTo>
                <a:lnTo>
                  <a:pt x="25" y="440"/>
                </a:lnTo>
                <a:lnTo>
                  <a:pt x="26" y="442"/>
                </a:lnTo>
                <a:lnTo>
                  <a:pt x="26" y="445"/>
                </a:lnTo>
                <a:lnTo>
                  <a:pt x="27" y="446"/>
                </a:lnTo>
                <a:lnTo>
                  <a:pt x="28" y="448"/>
                </a:lnTo>
                <a:lnTo>
                  <a:pt x="31" y="450"/>
                </a:lnTo>
                <a:lnTo>
                  <a:pt x="34" y="451"/>
                </a:lnTo>
                <a:lnTo>
                  <a:pt x="38" y="452"/>
                </a:lnTo>
                <a:lnTo>
                  <a:pt x="42" y="452"/>
                </a:lnTo>
                <a:lnTo>
                  <a:pt x="49" y="452"/>
                </a:lnTo>
                <a:lnTo>
                  <a:pt x="57" y="452"/>
                </a:lnTo>
                <a:lnTo>
                  <a:pt x="73" y="449"/>
                </a:lnTo>
                <a:lnTo>
                  <a:pt x="87" y="445"/>
                </a:lnTo>
                <a:lnTo>
                  <a:pt x="91" y="452"/>
                </a:lnTo>
                <a:lnTo>
                  <a:pt x="92" y="453"/>
                </a:lnTo>
                <a:lnTo>
                  <a:pt x="93" y="455"/>
                </a:lnTo>
                <a:lnTo>
                  <a:pt x="95" y="456"/>
                </a:lnTo>
                <a:lnTo>
                  <a:pt x="96" y="456"/>
                </a:lnTo>
                <a:lnTo>
                  <a:pt x="97" y="455"/>
                </a:lnTo>
                <a:lnTo>
                  <a:pt x="98" y="452"/>
                </a:lnTo>
                <a:lnTo>
                  <a:pt x="100" y="449"/>
                </a:lnTo>
                <a:lnTo>
                  <a:pt x="101" y="448"/>
                </a:lnTo>
                <a:lnTo>
                  <a:pt x="106" y="447"/>
                </a:lnTo>
                <a:lnTo>
                  <a:pt x="110" y="446"/>
                </a:lnTo>
                <a:lnTo>
                  <a:pt x="114" y="446"/>
                </a:lnTo>
                <a:lnTo>
                  <a:pt x="118" y="447"/>
                </a:lnTo>
                <a:lnTo>
                  <a:pt x="126" y="448"/>
                </a:lnTo>
                <a:lnTo>
                  <a:pt x="132" y="448"/>
                </a:lnTo>
                <a:lnTo>
                  <a:pt x="130" y="456"/>
                </a:lnTo>
                <a:lnTo>
                  <a:pt x="129" y="463"/>
                </a:lnTo>
                <a:lnTo>
                  <a:pt x="128" y="470"/>
                </a:lnTo>
                <a:lnTo>
                  <a:pt x="129" y="475"/>
                </a:lnTo>
                <a:lnTo>
                  <a:pt x="130" y="482"/>
                </a:lnTo>
                <a:lnTo>
                  <a:pt x="126" y="484"/>
                </a:lnTo>
                <a:lnTo>
                  <a:pt x="121" y="486"/>
                </a:lnTo>
                <a:lnTo>
                  <a:pt x="117" y="489"/>
                </a:lnTo>
                <a:lnTo>
                  <a:pt x="115" y="490"/>
                </a:lnTo>
                <a:lnTo>
                  <a:pt x="113" y="490"/>
                </a:lnTo>
                <a:lnTo>
                  <a:pt x="110" y="490"/>
                </a:lnTo>
                <a:lnTo>
                  <a:pt x="110" y="489"/>
                </a:lnTo>
                <a:lnTo>
                  <a:pt x="110" y="488"/>
                </a:lnTo>
                <a:lnTo>
                  <a:pt x="109" y="487"/>
                </a:lnTo>
                <a:lnTo>
                  <a:pt x="108" y="487"/>
                </a:lnTo>
                <a:lnTo>
                  <a:pt x="107" y="487"/>
                </a:lnTo>
                <a:lnTo>
                  <a:pt x="105" y="489"/>
                </a:lnTo>
                <a:lnTo>
                  <a:pt x="101" y="493"/>
                </a:lnTo>
                <a:lnTo>
                  <a:pt x="98" y="497"/>
                </a:lnTo>
                <a:lnTo>
                  <a:pt x="96" y="499"/>
                </a:lnTo>
                <a:lnTo>
                  <a:pt x="92" y="499"/>
                </a:lnTo>
                <a:lnTo>
                  <a:pt x="89" y="499"/>
                </a:lnTo>
                <a:lnTo>
                  <a:pt x="85" y="498"/>
                </a:lnTo>
                <a:lnTo>
                  <a:pt x="83" y="498"/>
                </a:lnTo>
                <a:lnTo>
                  <a:pt x="82" y="499"/>
                </a:lnTo>
                <a:lnTo>
                  <a:pt x="79" y="494"/>
                </a:lnTo>
                <a:lnTo>
                  <a:pt x="76" y="490"/>
                </a:lnTo>
                <a:lnTo>
                  <a:pt x="75" y="490"/>
                </a:lnTo>
                <a:lnTo>
                  <a:pt x="74" y="490"/>
                </a:lnTo>
                <a:lnTo>
                  <a:pt x="72" y="490"/>
                </a:lnTo>
                <a:lnTo>
                  <a:pt x="70" y="491"/>
                </a:lnTo>
                <a:lnTo>
                  <a:pt x="69" y="491"/>
                </a:lnTo>
                <a:lnTo>
                  <a:pt x="68" y="490"/>
                </a:lnTo>
                <a:lnTo>
                  <a:pt x="65" y="494"/>
                </a:lnTo>
                <a:lnTo>
                  <a:pt x="62" y="498"/>
                </a:lnTo>
                <a:lnTo>
                  <a:pt x="57" y="502"/>
                </a:lnTo>
                <a:lnTo>
                  <a:pt x="57" y="503"/>
                </a:lnTo>
                <a:lnTo>
                  <a:pt x="58" y="504"/>
                </a:lnTo>
                <a:lnTo>
                  <a:pt x="68" y="504"/>
                </a:lnTo>
                <a:lnTo>
                  <a:pt x="67" y="509"/>
                </a:lnTo>
                <a:lnTo>
                  <a:pt x="68" y="513"/>
                </a:lnTo>
                <a:lnTo>
                  <a:pt x="64" y="512"/>
                </a:lnTo>
                <a:lnTo>
                  <a:pt x="59" y="510"/>
                </a:lnTo>
                <a:lnTo>
                  <a:pt x="58" y="512"/>
                </a:lnTo>
                <a:lnTo>
                  <a:pt x="58" y="514"/>
                </a:lnTo>
                <a:lnTo>
                  <a:pt x="57" y="517"/>
                </a:lnTo>
                <a:lnTo>
                  <a:pt x="56" y="518"/>
                </a:lnTo>
                <a:lnTo>
                  <a:pt x="53" y="520"/>
                </a:lnTo>
                <a:lnTo>
                  <a:pt x="49" y="522"/>
                </a:lnTo>
                <a:lnTo>
                  <a:pt x="47" y="523"/>
                </a:lnTo>
                <a:lnTo>
                  <a:pt x="45" y="524"/>
                </a:lnTo>
                <a:lnTo>
                  <a:pt x="43" y="525"/>
                </a:lnTo>
                <a:lnTo>
                  <a:pt x="42" y="527"/>
                </a:lnTo>
                <a:lnTo>
                  <a:pt x="42" y="528"/>
                </a:lnTo>
                <a:lnTo>
                  <a:pt x="42" y="529"/>
                </a:lnTo>
                <a:lnTo>
                  <a:pt x="42" y="531"/>
                </a:lnTo>
                <a:lnTo>
                  <a:pt x="43" y="533"/>
                </a:lnTo>
                <a:lnTo>
                  <a:pt x="43" y="534"/>
                </a:lnTo>
                <a:lnTo>
                  <a:pt x="42" y="535"/>
                </a:lnTo>
                <a:lnTo>
                  <a:pt x="41" y="537"/>
                </a:lnTo>
                <a:lnTo>
                  <a:pt x="38" y="538"/>
                </a:lnTo>
                <a:lnTo>
                  <a:pt x="36" y="539"/>
                </a:lnTo>
                <a:lnTo>
                  <a:pt x="34" y="541"/>
                </a:lnTo>
                <a:lnTo>
                  <a:pt x="44" y="549"/>
                </a:lnTo>
                <a:lnTo>
                  <a:pt x="48" y="552"/>
                </a:lnTo>
                <a:lnTo>
                  <a:pt x="52" y="554"/>
                </a:lnTo>
                <a:lnTo>
                  <a:pt x="56" y="556"/>
                </a:lnTo>
                <a:lnTo>
                  <a:pt x="61" y="557"/>
                </a:lnTo>
                <a:lnTo>
                  <a:pt x="67" y="557"/>
                </a:lnTo>
                <a:lnTo>
                  <a:pt x="76" y="558"/>
                </a:lnTo>
                <a:lnTo>
                  <a:pt x="70" y="569"/>
                </a:lnTo>
                <a:lnTo>
                  <a:pt x="69" y="568"/>
                </a:lnTo>
                <a:lnTo>
                  <a:pt x="68" y="567"/>
                </a:lnTo>
                <a:lnTo>
                  <a:pt x="66" y="565"/>
                </a:lnTo>
                <a:lnTo>
                  <a:pt x="64" y="562"/>
                </a:lnTo>
                <a:lnTo>
                  <a:pt x="62" y="561"/>
                </a:lnTo>
                <a:lnTo>
                  <a:pt x="60" y="560"/>
                </a:lnTo>
                <a:lnTo>
                  <a:pt x="58" y="560"/>
                </a:lnTo>
                <a:lnTo>
                  <a:pt x="54" y="562"/>
                </a:lnTo>
                <a:lnTo>
                  <a:pt x="53" y="563"/>
                </a:lnTo>
                <a:lnTo>
                  <a:pt x="53" y="564"/>
                </a:lnTo>
                <a:lnTo>
                  <a:pt x="54" y="565"/>
                </a:lnTo>
                <a:lnTo>
                  <a:pt x="56" y="566"/>
                </a:lnTo>
                <a:lnTo>
                  <a:pt x="56" y="572"/>
                </a:lnTo>
                <a:lnTo>
                  <a:pt x="62" y="572"/>
                </a:lnTo>
                <a:lnTo>
                  <a:pt x="65" y="572"/>
                </a:lnTo>
                <a:lnTo>
                  <a:pt x="66" y="573"/>
                </a:lnTo>
                <a:lnTo>
                  <a:pt x="66" y="574"/>
                </a:lnTo>
                <a:lnTo>
                  <a:pt x="63" y="577"/>
                </a:lnTo>
                <a:lnTo>
                  <a:pt x="62" y="580"/>
                </a:lnTo>
                <a:lnTo>
                  <a:pt x="62" y="583"/>
                </a:lnTo>
                <a:lnTo>
                  <a:pt x="66" y="588"/>
                </a:lnTo>
                <a:lnTo>
                  <a:pt x="69" y="591"/>
                </a:lnTo>
                <a:lnTo>
                  <a:pt x="70" y="594"/>
                </a:lnTo>
                <a:lnTo>
                  <a:pt x="74" y="594"/>
                </a:lnTo>
                <a:lnTo>
                  <a:pt x="78" y="594"/>
                </a:lnTo>
                <a:lnTo>
                  <a:pt x="82" y="595"/>
                </a:lnTo>
                <a:lnTo>
                  <a:pt x="86" y="595"/>
                </a:lnTo>
                <a:lnTo>
                  <a:pt x="89" y="594"/>
                </a:lnTo>
                <a:lnTo>
                  <a:pt x="92" y="593"/>
                </a:lnTo>
                <a:lnTo>
                  <a:pt x="93" y="591"/>
                </a:lnTo>
                <a:lnTo>
                  <a:pt x="94" y="590"/>
                </a:lnTo>
                <a:lnTo>
                  <a:pt x="95" y="588"/>
                </a:lnTo>
                <a:lnTo>
                  <a:pt x="96" y="586"/>
                </a:lnTo>
                <a:lnTo>
                  <a:pt x="96" y="584"/>
                </a:lnTo>
                <a:lnTo>
                  <a:pt x="95" y="582"/>
                </a:lnTo>
                <a:lnTo>
                  <a:pt x="95" y="579"/>
                </a:lnTo>
                <a:lnTo>
                  <a:pt x="96" y="577"/>
                </a:lnTo>
                <a:lnTo>
                  <a:pt x="98" y="578"/>
                </a:lnTo>
                <a:lnTo>
                  <a:pt x="101" y="578"/>
                </a:lnTo>
                <a:lnTo>
                  <a:pt x="102" y="579"/>
                </a:lnTo>
                <a:lnTo>
                  <a:pt x="103" y="580"/>
                </a:lnTo>
                <a:lnTo>
                  <a:pt x="103" y="581"/>
                </a:lnTo>
                <a:lnTo>
                  <a:pt x="101" y="583"/>
                </a:lnTo>
                <a:lnTo>
                  <a:pt x="101" y="582"/>
                </a:lnTo>
                <a:lnTo>
                  <a:pt x="100" y="583"/>
                </a:lnTo>
                <a:lnTo>
                  <a:pt x="100" y="585"/>
                </a:lnTo>
                <a:lnTo>
                  <a:pt x="101" y="588"/>
                </a:lnTo>
                <a:lnTo>
                  <a:pt x="102" y="592"/>
                </a:lnTo>
                <a:lnTo>
                  <a:pt x="104" y="597"/>
                </a:lnTo>
                <a:lnTo>
                  <a:pt x="105" y="599"/>
                </a:lnTo>
                <a:lnTo>
                  <a:pt x="106" y="601"/>
                </a:lnTo>
                <a:lnTo>
                  <a:pt x="108" y="603"/>
                </a:lnTo>
                <a:lnTo>
                  <a:pt x="110" y="606"/>
                </a:lnTo>
                <a:lnTo>
                  <a:pt x="110" y="607"/>
                </a:lnTo>
                <a:lnTo>
                  <a:pt x="108" y="609"/>
                </a:lnTo>
                <a:lnTo>
                  <a:pt x="107" y="611"/>
                </a:lnTo>
                <a:lnTo>
                  <a:pt x="107" y="612"/>
                </a:lnTo>
                <a:lnTo>
                  <a:pt x="107" y="614"/>
                </a:lnTo>
                <a:lnTo>
                  <a:pt x="106" y="614"/>
                </a:lnTo>
                <a:lnTo>
                  <a:pt x="108" y="616"/>
                </a:lnTo>
                <a:lnTo>
                  <a:pt x="113" y="617"/>
                </a:lnTo>
                <a:lnTo>
                  <a:pt x="110" y="631"/>
                </a:lnTo>
                <a:lnTo>
                  <a:pt x="112" y="631"/>
                </a:lnTo>
                <a:lnTo>
                  <a:pt x="114" y="630"/>
                </a:lnTo>
                <a:lnTo>
                  <a:pt x="118" y="629"/>
                </a:lnTo>
                <a:lnTo>
                  <a:pt x="122" y="626"/>
                </a:lnTo>
                <a:lnTo>
                  <a:pt x="125" y="623"/>
                </a:lnTo>
                <a:lnTo>
                  <a:pt x="130" y="617"/>
                </a:lnTo>
                <a:lnTo>
                  <a:pt x="134" y="615"/>
                </a:lnTo>
                <a:lnTo>
                  <a:pt x="138" y="614"/>
                </a:lnTo>
                <a:lnTo>
                  <a:pt x="139" y="614"/>
                </a:lnTo>
                <a:lnTo>
                  <a:pt x="140" y="615"/>
                </a:lnTo>
                <a:lnTo>
                  <a:pt x="141" y="618"/>
                </a:lnTo>
                <a:lnTo>
                  <a:pt x="142" y="621"/>
                </a:lnTo>
                <a:lnTo>
                  <a:pt x="143" y="622"/>
                </a:lnTo>
                <a:lnTo>
                  <a:pt x="144" y="622"/>
                </a:lnTo>
                <a:lnTo>
                  <a:pt x="146" y="623"/>
                </a:lnTo>
                <a:lnTo>
                  <a:pt x="147" y="623"/>
                </a:lnTo>
                <a:lnTo>
                  <a:pt x="148" y="622"/>
                </a:lnTo>
                <a:lnTo>
                  <a:pt x="149" y="621"/>
                </a:lnTo>
                <a:lnTo>
                  <a:pt x="150" y="620"/>
                </a:lnTo>
                <a:lnTo>
                  <a:pt x="151" y="619"/>
                </a:lnTo>
                <a:lnTo>
                  <a:pt x="153" y="619"/>
                </a:lnTo>
                <a:lnTo>
                  <a:pt x="155" y="620"/>
                </a:lnTo>
                <a:lnTo>
                  <a:pt x="163" y="634"/>
                </a:lnTo>
                <a:lnTo>
                  <a:pt x="165" y="632"/>
                </a:lnTo>
                <a:lnTo>
                  <a:pt x="166" y="631"/>
                </a:lnTo>
                <a:lnTo>
                  <a:pt x="166" y="629"/>
                </a:lnTo>
                <a:lnTo>
                  <a:pt x="166" y="625"/>
                </a:lnTo>
                <a:lnTo>
                  <a:pt x="176" y="628"/>
                </a:lnTo>
                <a:lnTo>
                  <a:pt x="180" y="628"/>
                </a:lnTo>
                <a:lnTo>
                  <a:pt x="183" y="628"/>
                </a:lnTo>
                <a:lnTo>
                  <a:pt x="187" y="627"/>
                </a:lnTo>
                <a:lnTo>
                  <a:pt x="192" y="626"/>
                </a:lnTo>
                <a:lnTo>
                  <a:pt x="203" y="620"/>
                </a:lnTo>
                <a:lnTo>
                  <a:pt x="201" y="624"/>
                </a:lnTo>
                <a:lnTo>
                  <a:pt x="200" y="628"/>
                </a:lnTo>
                <a:lnTo>
                  <a:pt x="199" y="632"/>
                </a:lnTo>
                <a:lnTo>
                  <a:pt x="197" y="636"/>
                </a:lnTo>
                <a:lnTo>
                  <a:pt x="190" y="642"/>
                </a:lnTo>
                <a:lnTo>
                  <a:pt x="186" y="647"/>
                </a:lnTo>
                <a:lnTo>
                  <a:pt x="183" y="651"/>
                </a:lnTo>
                <a:lnTo>
                  <a:pt x="182" y="655"/>
                </a:lnTo>
                <a:lnTo>
                  <a:pt x="183" y="659"/>
                </a:lnTo>
                <a:lnTo>
                  <a:pt x="183" y="663"/>
                </a:lnTo>
                <a:lnTo>
                  <a:pt x="183" y="667"/>
                </a:lnTo>
                <a:lnTo>
                  <a:pt x="172" y="684"/>
                </a:lnTo>
                <a:lnTo>
                  <a:pt x="169" y="687"/>
                </a:lnTo>
                <a:lnTo>
                  <a:pt x="165" y="690"/>
                </a:lnTo>
                <a:lnTo>
                  <a:pt x="160" y="693"/>
                </a:lnTo>
                <a:lnTo>
                  <a:pt x="156" y="695"/>
                </a:lnTo>
                <a:lnTo>
                  <a:pt x="138" y="704"/>
                </a:lnTo>
                <a:lnTo>
                  <a:pt x="138" y="710"/>
                </a:lnTo>
                <a:lnTo>
                  <a:pt x="138" y="713"/>
                </a:lnTo>
                <a:lnTo>
                  <a:pt x="138" y="715"/>
                </a:lnTo>
                <a:lnTo>
                  <a:pt x="134" y="715"/>
                </a:lnTo>
                <a:lnTo>
                  <a:pt x="131" y="716"/>
                </a:lnTo>
                <a:lnTo>
                  <a:pt x="129" y="717"/>
                </a:lnTo>
                <a:lnTo>
                  <a:pt x="127" y="718"/>
                </a:lnTo>
                <a:lnTo>
                  <a:pt x="128" y="718"/>
                </a:lnTo>
                <a:lnTo>
                  <a:pt x="128" y="717"/>
                </a:lnTo>
                <a:lnTo>
                  <a:pt x="127" y="716"/>
                </a:lnTo>
                <a:lnTo>
                  <a:pt x="124" y="715"/>
                </a:lnTo>
                <a:lnTo>
                  <a:pt x="121" y="714"/>
                </a:lnTo>
                <a:lnTo>
                  <a:pt x="117" y="714"/>
                </a:lnTo>
                <a:lnTo>
                  <a:pt x="114" y="714"/>
                </a:lnTo>
                <a:lnTo>
                  <a:pt x="112" y="715"/>
                </a:lnTo>
                <a:lnTo>
                  <a:pt x="110" y="715"/>
                </a:lnTo>
                <a:lnTo>
                  <a:pt x="108" y="717"/>
                </a:lnTo>
                <a:lnTo>
                  <a:pt x="106" y="719"/>
                </a:lnTo>
                <a:lnTo>
                  <a:pt x="102" y="727"/>
                </a:lnTo>
                <a:lnTo>
                  <a:pt x="96" y="738"/>
                </a:lnTo>
                <a:lnTo>
                  <a:pt x="94" y="738"/>
                </a:lnTo>
                <a:lnTo>
                  <a:pt x="92" y="738"/>
                </a:lnTo>
                <a:lnTo>
                  <a:pt x="90" y="737"/>
                </a:lnTo>
                <a:lnTo>
                  <a:pt x="87" y="738"/>
                </a:lnTo>
                <a:lnTo>
                  <a:pt x="85" y="741"/>
                </a:lnTo>
                <a:lnTo>
                  <a:pt x="85" y="746"/>
                </a:lnTo>
                <a:lnTo>
                  <a:pt x="94" y="743"/>
                </a:lnTo>
                <a:lnTo>
                  <a:pt x="96" y="742"/>
                </a:lnTo>
                <a:lnTo>
                  <a:pt x="98" y="742"/>
                </a:lnTo>
                <a:lnTo>
                  <a:pt x="101" y="740"/>
                </a:lnTo>
                <a:lnTo>
                  <a:pt x="103" y="737"/>
                </a:lnTo>
                <a:lnTo>
                  <a:pt x="106" y="734"/>
                </a:lnTo>
                <a:lnTo>
                  <a:pt x="109" y="728"/>
                </a:lnTo>
                <a:lnTo>
                  <a:pt x="113" y="721"/>
                </a:lnTo>
                <a:lnTo>
                  <a:pt x="114" y="721"/>
                </a:lnTo>
                <a:lnTo>
                  <a:pt x="117" y="721"/>
                </a:lnTo>
                <a:lnTo>
                  <a:pt x="121" y="721"/>
                </a:lnTo>
                <a:lnTo>
                  <a:pt x="119" y="725"/>
                </a:lnTo>
                <a:lnTo>
                  <a:pt x="118" y="728"/>
                </a:lnTo>
                <a:lnTo>
                  <a:pt x="118" y="729"/>
                </a:lnTo>
                <a:lnTo>
                  <a:pt x="121" y="730"/>
                </a:lnTo>
                <a:lnTo>
                  <a:pt x="123" y="730"/>
                </a:lnTo>
                <a:lnTo>
                  <a:pt x="126" y="729"/>
                </a:lnTo>
                <a:lnTo>
                  <a:pt x="128" y="728"/>
                </a:lnTo>
                <a:lnTo>
                  <a:pt x="132" y="726"/>
                </a:lnTo>
                <a:lnTo>
                  <a:pt x="137" y="724"/>
                </a:lnTo>
                <a:lnTo>
                  <a:pt x="145" y="718"/>
                </a:lnTo>
                <a:lnTo>
                  <a:pt x="148" y="716"/>
                </a:lnTo>
                <a:lnTo>
                  <a:pt x="152" y="715"/>
                </a:lnTo>
                <a:lnTo>
                  <a:pt x="154" y="716"/>
                </a:lnTo>
                <a:lnTo>
                  <a:pt x="155" y="717"/>
                </a:lnTo>
                <a:lnTo>
                  <a:pt x="155" y="718"/>
                </a:lnTo>
                <a:lnTo>
                  <a:pt x="156" y="718"/>
                </a:lnTo>
                <a:lnTo>
                  <a:pt x="156" y="719"/>
                </a:lnTo>
                <a:lnTo>
                  <a:pt x="158" y="718"/>
                </a:lnTo>
                <a:lnTo>
                  <a:pt x="160" y="710"/>
                </a:lnTo>
                <a:lnTo>
                  <a:pt x="162" y="709"/>
                </a:lnTo>
                <a:lnTo>
                  <a:pt x="163" y="710"/>
                </a:lnTo>
                <a:lnTo>
                  <a:pt x="163" y="711"/>
                </a:lnTo>
                <a:lnTo>
                  <a:pt x="164" y="712"/>
                </a:lnTo>
                <a:lnTo>
                  <a:pt x="164" y="713"/>
                </a:lnTo>
                <a:lnTo>
                  <a:pt x="165" y="713"/>
                </a:lnTo>
                <a:lnTo>
                  <a:pt x="166" y="712"/>
                </a:lnTo>
                <a:lnTo>
                  <a:pt x="166" y="710"/>
                </a:lnTo>
                <a:lnTo>
                  <a:pt x="166" y="707"/>
                </a:lnTo>
                <a:lnTo>
                  <a:pt x="166" y="701"/>
                </a:lnTo>
                <a:lnTo>
                  <a:pt x="171" y="700"/>
                </a:lnTo>
                <a:lnTo>
                  <a:pt x="175" y="699"/>
                </a:lnTo>
                <a:lnTo>
                  <a:pt x="177" y="698"/>
                </a:lnTo>
                <a:lnTo>
                  <a:pt x="175" y="695"/>
                </a:lnTo>
                <a:lnTo>
                  <a:pt x="174" y="694"/>
                </a:lnTo>
                <a:lnTo>
                  <a:pt x="175" y="693"/>
                </a:lnTo>
                <a:lnTo>
                  <a:pt x="176" y="692"/>
                </a:lnTo>
                <a:lnTo>
                  <a:pt x="177" y="692"/>
                </a:lnTo>
                <a:lnTo>
                  <a:pt x="179" y="692"/>
                </a:lnTo>
                <a:lnTo>
                  <a:pt x="181" y="693"/>
                </a:lnTo>
                <a:lnTo>
                  <a:pt x="183" y="693"/>
                </a:lnTo>
                <a:lnTo>
                  <a:pt x="187" y="690"/>
                </a:lnTo>
                <a:lnTo>
                  <a:pt x="193" y="686"/>
                </a:lnTo>
                <a:lnTo>
                  <a:pt x="203" y="679"/>
                </a:lnTo>
                <a:lnTo>
                  <a:pt x="200" y="670"/>
                </a:lnTo>
                <a:lnTo>
                  <a:pt x="201" y="669"/>
                </a:lnTo>
                <a:lnTo>
                  <a:pt x="203" y="668"/>
                </a:lnTo>
                <a:lnTo>
                  <a:pt x="206" y="667"/>
                </a:lnTo>
                <a:lnTo>
                  <a:pt x="210" y="666"/>
                </a:lnTo>
                <a:lnTo>
                  <a:pt x="214" y="665"/>
                </a:lnTo>
                <a:lnTo>
                  <a:pt x="216" y="663"/>
                </a:lnTo>
                <a:lnTo>
                  <a:pt x="218" y="660"/>
                </a:lnTo>
                <a:lnTo>
                  <a:pt x="222" y="655"/>
                </a:lnTo>
                <a:lnTo>
                  <a:pt x="226" y="649"/>
                </a:lnTo>
                <a:lnTo>
                  <a:pt x="229" y="647"/>
                </a:lnTo>
                <a:lnTo>
                  <a:pt x="231" y="645"/>
                </a:lnTo>
                <a:lnTo>
                  <a:pt x="232" y="644"/>
                </a:lnTo>
                <a:lnTo>
                  <a:pt x="234" y="644"/>
                </a:lnTo>
                <a:lnTo>
                  <a:pt x="238" y="643"/>
                </a:lnTo>
                <a:lnTo>
                  <a:pt x="242" y="643"/>
                </a:lnTo>
                <a:lnTo>
                  <a:pt x="243" y="643"/>
                </a:lnTo>
                <a:lnTo>
                  <a:pt x="245" y="642"/>
                </a:lnTo>
                <a:lnTo>
                  <a:pt x="245" y="641"/>
                </a:lnTo>
                <a:lnTo>
                  <a:pt x="245" y="638"/>
                </a:lnTo>
                <a:lnTo>
                  <a:pt x="245" y="636"/>
                </a:lnTo>
                <a:lnTo>
                  <a:pt x="245" y="634"/>
                </a:lnTo>
                <a:lnTo>
                  <a:pt x="246" y="632"/>
                </a:lnTo>
                <a:lnTo>
                  <a:pt x="247" y="631"/>
                </a:lnTo>
                <a:lnTo>
                  <a:pt x="251" y="629"/>
                </a:lnTo>
                <a:lnTo>
                  <a:pt x="255" y="627"/>
                </a:lnTo>
                <a:lnTo>
                  <a:pt x="259" y="625"/>
                </a:lnTo>
                <a:lnTo>
                  <a:pt x="259" y="620"/>
                </a:lnTo>
                <a:lnTo>
                  <a:pt x="256" y="619"/>
                </a:lnTo>
                <a:lnTo>
                  <a:pt x="252" y="619"/>
                </a:lnTo>
                <a:lnTo>
                  <a:pt x="245" y="620"/>
                </a:lnTo>
                <a:lnTo>
                  <a:pt x="249" y="607"/>
                </a:lnTo>
                <a:lnTo>
                  <a:pt x="251" y="603"/>
                </a:lnTo>
                <a:lnTo>
                  <a:pt x="253" y="600"/>
                </a:lnTo>
                <a:lnTo>
                  <a:pt x="256" y="597"/>
                </a:lnTo>
                <a:lnTo>
                  <a:pt x="259" y="594"/>
                </a:lnTo>
                <a:lnTo>
                  <a:pt x="264" y="592"/>
                </a:lnTo>
                <a:lnTo>
                  <a:pt x="270" y="589"/>
                </a:lnTo>
                <a:lnTo>
                  <a:pt x="269" y="587"/>
                </a:lnTo>
                <a:lnTo>
                  <a:pt x="268" y="585"/>
                </a:lnTo>
                <a:lnTo>
                  <a:pt x="267" y="584"/>
                </a:lnTo>
                <a:lnTo>
                  <a:pt x="267" y="583"/>
                </a:lnTo>
                <a:lnTo>
                  <a:pt x="267" y="582"/>
                </a:lnTo>
                <a:lnTo>
                  <a:pt x="267" y="580"/>
                </a:lnTo>
                <a:lnTo>
                  <a:pt x="271" y="580"/>
                </a:lnTo>
                <a:lnTo>
                  <a:pt x="273" y="581"/>
                </a:lnTo>
                <a:lnTo>
                  <a:pt x="275" y="581"/>
                </a:lnTo>
                <a:lnTo>
                  <a:pt x="279" y="580"/>
                </a:lnTo>
                <a:lnTo>
                  <a:pt x="279" y="576"/>
                </a:lnTo>
                <a:lnTo>
                  <a:pt x="279" y="573"/>
                </a:lnTo>
                <a:lnTo>
                  <a:pt x="280" y="571"/>
                </a:lnTo>
                <a:lnTo>
                  <a:pt x="281" y="569"/>
                </a:lnTo>
                <a:lnTo>
                  <a:pt x="284" y="568"/>
                </a:lnTo>
                <a:lnTo>
                  <a:pt x="287" y="568"/>
                </a:lnTo>
                <a:lnTo>
                  <a:pt x="290" y="567"/>
                </a:lnTo>
                <a:lnTo>
                  <a:pt x="293" y="566"/>
                </a:lnTo>
                <a:lnTo>
                  <a:pt x="293" y="565"/>
                </a:lnTo>
                <a:lnTo>
                  <a:pt x="294" y="564"/>
                </a:lnTo>
                <a:lnTo>
                  <a:pt x="294" y="561"/>
                </a:lnTo>
                <a:lnTo>
                  <a:pt x="294" y="558"/>
                </a:lnTo>
                <a:lnTo>
                  <a:pt x="295" y="555"/>
                </a:lnTo>
                <a:lnTo>
                  <a:pt x="310" y="544"/>
                </a:lnTo>
                <a:lnTo>
                  <a:pt x="312" y="543"/>
                </a:lnTo>
                <a:lnTo>
                  <a:pt x="314" y="543"/>
                </a:lnTo>
                <a:lnTo>
                  <a:pt x="314" y="544"/>
                </a:lnTo>
                <a:lnTo>
                  <a:pt x="315" y="545"/>
                </a:lnTo>
                <a:lnTo>
                  <a:pt x="316" y="548"/>
                </a:lnTo>
                <a:lnTo>
                  <a:pt x="316" y="549"/>
                </a:lnTo>
                <a:lnTo>
                  <a:pt x="318" y="549"/>
                </a:lnTo>
                <a:lnTo>
                  <a:pt x="326" y="544"/>
                </a:lnTo>
                <a:lnTo>
                  <a:pt x="329" y="543"/>
                </a:lnTo>
                <a:lnTo>
                  <a:pt x="331" y="544"/>
                </a:lnTo>
                <a:lnTo>
                  <a:pt x="332" y="545"/>
                </a:lnTo>
                <a:lnTo>
                  <a:pt x="331" y="546"/>
                </a:lnTo>
                <a:lnTo>
                  <a:pt x="331" y="547"/>
                </a:lnTo>
                <a:lnTo>
                  <a:pt x="329" y="548"/>
                </a:lnTo>
                <a:lnTo>
                  <a:pt x="328" y="549"/>
                </a:lnTo>
                <a:lnTo>
                  <a:pt x="326" y="549"/>
                </a:lnTo>
                <a:lnTo>
                  <a:pt x="326" y="555"/>
                </a:lnTo>
                <a:lnTo>
                  <a:pt x="329" y="555"/>
                </a:lnTo>
                <a:lnTo>
                  <a:pt x="330" y="555"/>
                </a:lnTo>
                <a:lnTo>
                  <a:pt x="331" y="556"/>
                </a:lnTo>
                <a:lnTo>
                  <a:pt x="331" y="557"/>
                </a:lnTo>
                <a:lnTo>
                  <a:pt x="331" y="559"/>
                </a:lnTo>
                <a:lnTo>
                  <a:pt x="331" y="560"/>
                </a:lnTo>
                <a:lnTo>
                  <a:pt x="332" y="561"/>
                </a:lnTo>
                <a:lnTo>
                  <a:pt x="326" y="560"/>
                </a:lnTo>
                <a:lnTo>
                  <a:pt x="322" y="558"/>
                </a:lnTo>
                <a:lnTo>
                  <a:pt x="317" y="557"/>
                </a:lnTo>
                <a:lnTo>
                  <a:pt x="315" y="557"/>
                </a:lnTo>
                <a:lnTo>
                  <a:pt x="312" y="558"/>
                </a:lnTo>
                <a:lnTo>
                  <a:pt x="308" y="562"/>
                </a:lnTo>
                <a:lnTo>
                  <a:pt x="304" y="566"/>
                </a:lnTo>
                <a:lnTo>
                  <a:pt x="298" y="566"/>
                </a:lnTo>
                <a:lnTo>
                  <a:pt x="297" y="572"/>
                </a:lnTo>
                <a:lnTo>
                  <a:pt x="295" y="582"/>
                </a:lnTo>
                <a:lnTo>
                  <a:pt x="293" y="600"/>
                </a:lnTo>
                <a:lnTo>
                  <a:pt x="295" y="600"/>
                </a:lnTo>
                <a:lnTo>
                  <a:pt x="297" y="600"/>
                </a:lnTo>
                <a:lnTo>
                  <a:pt x="301" y="600"/>
                </a:lnTo>
                <a:lnTo>
                  <a:pt x="301" y="606"/>
                </a:lnTo>
                <a:lnTo>
                  <a:pt x="295" y="608"/>
                </a:lnTo>
                <a:lnTo>
                  <a:pt x="290" y="611"/>
                </a:lnTo>
                <a:lnTo>
                  <a:pt x="293" y="614"/>
                </a:lnTo>
                <a:lnTo>
                  <a:pt x="295" y="615"/>
                </a:lnTo>
                <a:lnTo>
                  <a:pt x="296" y="616"/>
                </a:lnTo>
                <a:lnTo>
                  <a:pt x="295" y="617"/>
                </a:lnTo>
                <a:lnTo>
                  <a:pt x="307" y="613"/>
                </a:lnTo>
                <a:lnTo>
                  <a:pt x="318" y="608"/>
                </a:lnTo>
                <a:lnTo>
                  <a:pt x="318" y="603"/>
                </a:lnTo>
                <a:lnTo>
                  <a:pt x="321" y="602"/>
                </a:lnTo>
                <a:lnTo>
                  <a:pt x="324" y="601"/>
                </a:lnTo>
                <a:lnTo>
                  <a:pt x="327" y="601"/>
                </a:lnTo>
                <a:lnTo>
                  <a:pt x="328" y="601"/>
                </a:lnTo>
                <a:lnTo>
                  <a:pt x="329" y="600"/>
                </a:lnTo>
                <a:lnTo>
                  <a:pt x="330" y="598"/>
                </a:lnTo>
                <a:lnTo>
                  <a:pt x="331" y="597"/>
                </a:lnTo>
                <a:lnTo>
                  <a:pt x="332" y="592"/>
                </a:lnTo>
                <a:lnTo>
                  <a:pt x="333" y="590"/>
                </a:lnTo>
                <a:lnTo>
                  <a:pt x="334" y="588"/>
                </a:lnTo>
                <a:lnTo>
                  <a:pt x="336" y="587"/>
                </a:lnTo>
                <a:lnTo>
                  <a:pt x="338" y="586"/>
                </a:lnTo>
                <a:lnTo>
                  <a:pt x="340" y="586"/>
                </a:lnTo>
                <a:lnTo>
                  <a:pt x="343" y="586"/>
                </a:lnTo>
                <a:lnTo>
                  <a:pt x="348" y="588"/>
                </a:lnTo>
                <a:lnTo>
                  <a:pt x="353" y="591"/>
                </a:lnTo>
                <a:lnTo>
                  <a:pt x="355" y="591"/>
                </a:lnTo>
                <a:lnTo>
                  <a:pt x="357" y="591"/>
                </a:lnTo>
                <a:lnTo>
                  <a:pt x="361" y="588"/>
                </a:lnTo>
                <a:lnTo>
                  <a:pt x="363" y="585"/>
                </a:lnTo>
                <a:lnTo>
                  <a:pt x="366" y="583"/>
                </a:lnTo>
                <a:lnTo>
                  <a:pt x="365" y="580"/>
                </a:lnTo>
                <a:lnTo>
                  <a:pt x="364" y="574"/>
                </a:lnTo>
                <a:lnTo>
                  <a:pt x="363" y="570"/>
                </a:lnTo>
                <a:lnTo>
                  <a:pt x="363" y="572"/>
                </a:lnTo>
                <a:lnTo>
                  <a:pt x="355" y="569"/>
                </a:lnTo>
                <a:lnTo>
                  <a:pt x="355" y="562"/>
                </a:lnTo>
                <a:lnTo>
                  <a:pt x="355" y="558"/>
                </a:lnTo>
                <a:lnTo>
                  <a:pt x="355" y="556"/>
                </a:lnTo>
                <a:lnTo>
                  <a:pt x="355" y="555"/>
                </a:lnTo>
                <a:lnTo>
                  <a:pt x="364" y="557"/>
                </a:lnTo>
                <a:lnTo>
                  <a:pt x="372" y="558"/>
                </a:lnTo>
                <a:lnTo>
                  <a:pt x="376" y="558"/>
                </a:lnTo>
                <a:lnTo>
                  <a:pt x="379" y="558"/>
                </a:lnTo>
                <a:lnTo>
                  <a:pt x="382" y="557"/>
                </a:lnTo>
                <a:lnTo>
                  <a:pt x="385" y="555"/>
                </a:lnTo>
                <a:lnTo>
                  <a:pt x="386" y="554"/>
                </a:lnTo>
                <a:lnTo>
                  <a:pt x="386" y="553"/>
                </a:lnTo>
                <a:lnTo>
                  <a:pt x="385" y="552"/>
                </a:lnTo>
                <a:lnTo>
                  <a:pt x="385" y="551"/>
                </a:lnTo>
                <a:lnTo>
                  <a:pt x="388" y="552"/>
                </a:lnTo>
                <a:lnTo>
                  <a:pt x="388" y="561"/>
                </a:lnTo>
                <a:lnTo>
                  <a:pt x="393" y="563"/>
                </a:lnTo>
                <a:lnTo>
                  <a:pt x="388" y="563"/>
                </a:lnTo>
                <a:lnTo>
                  <a:pt x="395" y="566"/>
                </a:lnTo>
                <a:lnTo>
                  <a:pt x="402" y="569"/>
                </a:lnTo>
                <a:lnTo>
                  <a:pt x="401" y="570"/>
                </a:lnTo>
                <a:lnTo>
                  <a:pt x="401" y="571"/>
                </a:lnTo>
                <a:lnTo>
                  <a:pt x="400" y="573"/>
                </a:lnTo>
                <a:lnTo>
                  <a:pt x="400" y="575"/>
                </a:lnTo>
                <a:lnTo>
                  <a:pt x="401" y="576"/>
                </a:lnTo>
                <a:lnTo>
                  <a:pt x="401" y="578"/>
                </a:lnTo>
                <a:lnTo>
                  <a:pt x="402" y="579"/>
                </a:lnTo>
                <a:lnTo>
                  <a:pt x="402" y="580"/>
                </a:lnTo>
                <a:lnTo>
                  <a:pt x="405" y="581"/>
                </a:lnTo>
                <a:lnTo>
                  <a:pt x="406" y="581"/>
                </a:lnTo>
                <a:lnTo>
                  <a:pt x="408" y="580"/>
                </a:lnTo>
                <a:lnTo>
                  <a:pt x="410" y="579"/>
                </a:lnTo>
                <a:lnTo>
                  <a:pt x="413" y="578"/>
                </a:lnTo>
                <a:lnTo>
                  <a:pt x="414" y="577"/>
                </a:lnTo>
                <a:lnTo>
                  <a:pt x="416" y="577"/>
                </a:lnTo>
                <a:lnTo>
                  <a:pt x="418" y="581"/>
                </a:lnTo>
                <a:lnTo>
                  <a:pt x="419" y="586"/>
                </a:lnTo>
                <a:lnTo>
                  <a:pt x="423" y="587"/>
                </a:lnTo>
                <a:lnTo>
                  <a:pt x="426" y="587"/>
                </a:lnTo>
                <a:lnTo>
                  <a:pt x="430" y="588"/>
                </a:lnTo>
                <a:lnTo>
                  <a:pt x="433" y="589"/>
                </a:lnTo>
                <a:lnTo>
                  <a:pt x="433" y="591"/>
                </a:lnTo>
                <a:lnTo>
                  <a:pt x="438" y="592"/>
                </a:lnTo>
                <a:lnTo>
                  <a:pt x="443" y="592"/>
                </a:lnTo>
                <a:lnTo>
                  <a:pt x="446" y="591"/>
                </a:lnTo>
                <a:lnTo>
                  <a:pt x="450" y="590"/>
                </a:lnTo>
                <a:lnTo>
                  <a:pt x="458" y="589"/>
                </a:lnTo>
                <a:lnTo>
                  <a:pt x="462" y="588"/>
                </a:lnTo>
                <a:lnTo>
                  <a:pt x="467" y="589"/>
                </a:lnTo>
                <a:lnTo>
                  <a:pt x="472" y="590"/>
                </a:lnTo>
                <a:lnTo>
                  <a:pt x="479" y="593"/>
                </a:lnTo>
                <a:lnTo>
                  <a:pt x="493" y="600"/>
                </a:lnTo>
                <a:lnTo>
                  <a:pt x="500" y="603"/>
                </a:lnTo>
                <a:lnTo>
                  <a:pt x="508" y="605"/>
                </a:lnTo>
                <a:lnTo>
                  <a:pt x="511" y="606"/>
                </a:lnTo>
                <a:lnTo>
                  <a:pt x="514" y="606"/>
                </a:lnTo>
                <a:lnTo>
                  <a:pt x="520" y="606"/>
                </a:lnTo>
                <a:lnTo>
                  <a:pt x="523" y="603"/>
                </a:lnTo>
                <a:lnTo>
                  <a:pt x="524" y="601"/>
                </a:lnTo>
                <a:lnTo>
                  <a:pt x="525" y="600"/>
                </a:lnTo>
                <a:lnTo>
                  <a:pt x="526" y="600"/>
                </a:lnTo>
                <a:lnTo>
                  <a:pt x="523" y="614"/>
                </a:lnTo>
                <a:lnTo>
                  <a:pt x="527" y="616"/>
                </a:lnTo>
                <a:lnTo>
                  <a:pt x="533" y="619"/>
                </a:lnTo>
                <a:lnTo>
                  <a:pt x="539" y="622"/>
                </a:lnTo>
                <a:lnTo>
                  <a:pt x="541" y="622"/>
                </a:lnTo>
                <a:lnTo>
                  <a:pt x="543" y="622"/>
                </a:lnTo>
                <a:lnTo>
                  <a:pt x="543" y="614"/>
                </a:lnTo>
                <a:lnTo>
                  <a:pt x="547" y="614"/>
                </a:lnTo>
                <a:lnTo>
                  <a:pt x="551" y="614"/>
                </a:lnTo>
                <a:lnTo>
                  <a:pt x="552" y="615"/>
                </a:lnTo>
                <a:lnTo>
                  <a:pt x="552" y="616"/>
                </a:lnTo>
                <a:lnTo>
                  <a:pt x="550" y="621"/>
                </a:lnTo>
                <a:lnTo>
                  <a:pt x="549" y="626"/>
                </a:lnTo>
                <a:lnTo>
                  <a:pt x="548" y="629"/>
                </a:lnTo>
                <a:lnTo>
                  <a:pt x="549" y="631"/>
                </a:lnTo>
                <a:lnTo>
                  <a:pt x="554" y="631"/>
                </a:lnTo>
                <a:lnTo>
                  <a:pt x="565" y="648"/>
                </a:lnTo>
                <a:lnTo>
                  <a:pt x="567" y="647"/>
                </a:lnTo>
                <a:lnTo>
                  <a:pt x="569" y="645"/>
                </a:lnTo>
                <a:lnTo>
                  <a:pt x="571" y="644"/>
                </a:lnTo>
                <a:lnTo>
                  <a:pt x="574" y="645"/>
                </a:lnTo>
                <a:lnTo>
                  <a:pt x="574" y="649"/>
                </a:lnTo>
                <a:lnTo>
                  <a:pt x="574" y="653"/>
                </a:lnTo>
                <a:lnTo>
                  <a:pt x="579" y="654"/>
                </a:lnTo>
                <a:lnTo>
                  <a:pt x="580" y="655"/>
                </a:lnTo>
                <a:lnTo>
                  <a:pt x="582" y="656"/>
                </a:lnTo>
                <a:lnTo>
                  <a:pt x="580" y="659"/>
                </a:lnTo>
                <a:lnTo>
                  <a:pt x="579" y="660"/>
                </a:lnTo>
                <a:lnTo>
                  <a:pt x="579" y="661"/>
                </a:lnTo>
                <a:lnTo>
                  <a:pt x="580" y="662"/>
                </a:lnTo>
                <a:lnTo>
                  <a:pt x="581" y="662"/>
                </a:lnTo>
                <a:lnTo>
                  <a:pt x="582" y="661"/>
                </a:lnTo>
                <a:lnTo>
                  <a:pt x="585" y="659"/>
                </a:lnTo>
                <a:lnTo>
                  <a:pt x="586" y="660"/>
                </a:lnTo>
                <a:lnTo>
                  <a:pt x="586" y="661"/>
                </a:lnTo>
                <a:lnTo>
                  <a:pt x="585" y="665"/>
                </a:lnTo>
                <a:lnTo>
                  <a:pt x="585" y="668"/>
                </a:lnTo>
                <a:lnTo>
                  <a:pt x="585" y="669"/>
                </a:lnTo>
                <a:lnTo>
                  <a:pt x="585" y="670"/>
                </a:lnTo>
                <a:lnTo>
                  <a:pt x="592" y="674"/>
                </a:lnTo>
                <a:lnTo>
                  <a:pt x="599" y="679"/>
                </a:lnTo>
                <a:lnTo>
                  <a:pt x="600" y="680"/>
                </a:lnTo>
                <a:lnTo>
                  <a:pt x="600" y="681"/>
                </a:lnTo>
                <a:lnTo>
                  <a:pt x="599" y="683"/>
                </a:lnTo>
                <a:lnTo>
                  <a:pt x="599" y="685"/>
                </a:lnTo>
                <a:lnTo>
                  <a:pt x="599" y="687"/>
                </a:lnTo>
                <a:lnTo>
                  <a:pt x="600" y="689"/>
                </a:lnTo>
                <a:lnTo>
                  <a:pt x="602" y="691"/>
                </a:lnTo>
                <a:lnTo>
                  <a:pt x="605" y="697"/>
                </a:lnTo>
                <a:lnTo>
                  <a:pt x="613" y="707"/>
                </a:lnTo>
                <a:lnTo>
                  <a:pt x="615" y="707"/>
                </a:lnTo>
                <a:lnTo>
                  <a:pt x="616" y="707"/>
                </a:lnTo>
                <a:lnTo>
                  <a:pt x="617" y="709"/>
                </a:lnTo>
                <a:lnTo>
                  <a:pt x="618" y="711"/>
                </a:lnTo>
                <a:lnTo>
                  <a:pt x="618" y="712"/>
                </a:lnTo>
                <a:lnTo>
                  <a:pt x="619" y="712"/>
                </a:lnTo>
                <a:lnTo>
                  <a:pt x="621" y="712"/>
                </a:lnTo>
                <a:lnTo>
                  <a:pt x="622" y="712"/>
                </a:lnTo>
                <a:lnTo>
                  <a:pt x="622" y="711"/>
                </a:lnTo>
                <a:lnTo>
                  <a:pt x="622" y="710"/>
                </a:lnTo>
                <a:lnTo>
                  <a:pt x="622" y="707"/>
                </a:lnTo>
                <a:lnTo>
                  <a:pt x="622" y="704"/>
                </a:lnTo>
                <a:lnTo>
                  <a:pt x="624" y="706"/>
                </a:lnTo>
                <a:lnTo>
                  <a:pt x="626" y="707"/>
                </a:lnTo>
                <a:lnTo>
                  <a:pt x="630" y="710"/>
                </a:lnTo>
                <a:lnTo>
                  <a:pt x="628" y="712"/>
                </a:lnTo>
                <a:lnTo>
                  <a:pt x="627" y="714"/>
                </a:lnTo>
                <a:lnTo>
                  <a:pt x="627" y="715"/>
                </a:lnTo>
                <a:lnTo>
                  <a:pt x="632" y="717"/>
                </a:lnTo>
                <a:lnTo>
                  <a:pt x="634" y="717"/>
                </a:lnTo>
                <a:lnTo>
                  <a:pt x="636" y="718"/>
                </a:lnTo>
                <a:lnTo>
                  <a:pt x="633" y="707"/>
                </a:lnTo>
                <a:lnTo>
                  <a:pt x="635" y="706"/>
                </a:lnTo>
                <a:lnTo>
                  <a:pt x="636" y="706"/>
                </a:lnTo>
                <a:lnTo>
                  <a:pt x="635" y="708"/>
                </a:lnTo>
                <a:lnTo>
                  <a:pt x="636" y="710"/>
                </a:lnTo>
                <a:lnTo>
                  <a:pt x="641" y="710"/>
                </a:lnTo>
                <a:lnTo>
                  <a:pt x="642" y="706"/>
                </a:lnTo>
                <a:lnTo>
                  <a:pt x="642" y="701"/>
                </a:lnTo>
                <a:lnTo>
                  <a:pt x="643" y="697"/>
                </a:lnTo>
                <a:lnTo>
                  <a:pt x="644" y="693"/>
                </a:lnTo>
                <a:lnTo>
                  <a:pt x="639" y="693"/>
                </a:lnTo>
                <a:lnTo>
                  <a:pt x="640" y="692"/>
                </a:lnTo>
                <a:lnTo>
                  <a:pt x="639" y="691"/>
                </a:lnTo>
                <a:lnTo>
                  <a:pt x="638" y="691"/>
                </a:lnTo>
                <a:lnTo>
                  <a:pt x="636" y="690"/>
                </a:lnTo>
                <a:lnTo>
                  <a:pt x="630" y="690"/>
                </a:lnTo>
                <a:lnTo>
                  <a:pt x="630" y="701"/>
                </a:lnTo>
                <a:lnTo>
                  <a:pt x="625" y="700"/>
                </a:lnTo>
                <a:lnTo>
                  <a:pt x="619" y="698"/>
                </a:lnTo>
                <a:lnTo>
                  <a:pt x="618" y="697"/>
                </a:lnTo>
                <a:lnTo>
                  <a:pt x="618" y="696"/>
                </a:lnTo>
                <a:lnTo>
                  <a:pt x="617" y="691"/>
                </a:lnTo>
                <a:lnTo>
                  <a:pt x="617" y="687"/>
                </a:lnTo>
                <a:lnTo>
                  <a:pt x="617" y="685"/>
                </a:lnTo>
                <a:lnTo>
                  <a:pt x="616" y="684"/>
                </a:lnTo>
                <a:lnTo>
                  <a:pt x="612" y="683"/>
                </a:lnTo>
                <a:lnTo>
                  <a:pt x="608" y="681"/>
                </a:lnTo>
                <a:lnTo>
                  <a:pt x="616" y="676"/>
                </a:lnTo>
                <a:lnTo>
                  <a:pt x="613" y="667"/>
                </a:lnTo>
                <a:lnTo>
                  <a:pt x="608" y="667"/>
                </a:lnTo>
                <a:lnTo>
                  <a:pt x="607" y="666"/>
                </a:lnTo>
                <a:lnTo>
                  <a:pt x="608" y="665"/>
                </a:lnTo>
                <a:lnTo>
                  <a:pt x="608" y="663"/>
                </a:lnTo>
                <a:lnTo>
                  <a:pt x="608" y="661"/>
                </a:lnTo>
                <a:lnTo>
                  <a:pt x="607" y="660"/>
                </a:lnTo>
                <a:lnTo>
                  <a:pt x="605" y="658"/>
                </a:lnTo>
                <a:lnTo>
                  <a:pt x="602" y="656"/>
                </a:lnTo>
                <a:lnTo>
                  <a:pt x="599" y="655"/>
                </a:lnTo>
                <a:lnTo>
                  <a:pt x="596" y="655"/>
                </a:lnTo>
                <a:lnTo>
                  <a:pt x="589" y="654"/>
                </a:lnTo>
                <a:lnTo>
                  <a:pt x="585" y="654"/>
                </a:lnTo>
                <a:lnTo>
                  <a:pt x="588" y="653"/>
                </a:lnTo>
                <a:lnTo>
                  <a:pt x="593" y="652"/>
                </a:lnTo>
                <a:lnTo>
                  <a:pt x="597" y="651"/>
                </a:lnTo>
                <a:lnTo>
                  <a:pt x="605" y="648"/>
                </a:lnTo>
                <a:lnTo>
                  <a:pt x="605" y="650"/>
                </a:lnTo>
                <a:lnTo>
                  <a:pt x="605" y="652"/>
                </a:lnTo>
                <a:lnTo>
                  <a:pt x="605" y="653"/>
                </a:lnTo>
                <a:lnTo>
                  <a:pt x="608" y="653"/>
                </a:lnTo>
                <a:lnTo>
                  <a:pt x="607" y="652"/>
                </a:lnTo>
                <a:lnTo>
                  <a:pt x="606" y="650"/>
                </a:lnTo>
                <a:lnTo>
                  <a:pt x="605" y="643"/>
                </a:lnTo>
                <a:lnTo>
                  <a:pt x="606" y="637"/>
                </a:lnTo>
                <a:lnTo>
                  <a:pt x="607" y="635"/>
                </a:lnTo>
                <a:lnTo>
                  <a:pt x="607" y="634"/>
                </a:lnTo>
                <a:lnTo>
                  <a:pt x="608" y="634"/>
                </a:lnTo>
                <a:lnTo>
                  <a:pt x="610" y="638"/>
                </a:lnTo>
                <a:lnTo>
                  <a:pt x="613" y="642"/>
                </a:lnTo>
                <a:lnTo>
                  <a:pt x="619" y="651"/>
                </a:lnTo>
                <a:lnTo>
                  <a:pt x="623" y="650"/>
                </a:lnTo>
                <a:lnTo>
                  <a:pt x="627" y="651"/>
                </a:lnTo>
                <a:lnTo>
                  <a:pt x="627" y="656"/>
                </a:lnTo>
                <a:lnTo>
                  <a:pt x="629" y="656"/>
                </a:lnTo>
                <a:lnTo>
                  <a:pt x="632" y="656"/>
                </a:lnTo>
                <a:lnTo>
                  <a:pt x="634" y="656"/>
                </a:lnTo>
                <a:lnTo>
                  <a:pt x="635" y="656"/>
                </a:lnTo>
                <a:lnTo>
                  <a:pt x="636" y="656"/>
                </a:lnTo>
                <a:lnTo>
                  <a:pt x="637" y="657"/>
                </a:lnTo>
                <a:lnTo>
                  <a:pt x="637" y="658"/>
                </a:lnTo>
                <a:lnTo>
                  <a:pt x="637" y="659"/>
                </a:lnTo>
                <a:lnTo>
                  <a:pt x="636" y="660"/>
                </a:lnTo>
                <a:lnTo>
                  <a:pt x="634" y="661"/>
                </a:lnTo>
                <a:lnTo>
                  <a:pt x="633" y="662"/>
                </a:lnTo>
                <a:lnTo>
                  <a:pt x="633" y="663"/>
                </a:lnTo>
                <a:lnTo>
                  <a:pt x="634" y="665"/>
                </a:lnTo>
                <a:lnTo>
                  <a:pt x="636" y="667"/>
                </a:lnTo>
                <a:lnTo>
                  <a:pt x="638" y="670"/>
                </a:lnTo>
                <a:lnTo>
                  <a:pt x="639" y="672"/>
                </a:lnTo>
                <a:lnTo>
                  <a:pt x="640" y="673"/>
                </a:lnTo>
                <a:lnTo>
                  <a:pt x="639" y="675"/>
                </a:lnTo>
                <a:lnTo>
                  <a:pt x="639" y="677"/>
                </a:lnTo>
                <a:lnTo>
                  <a:pt x="639" y="679"/>
                </a:lnTo>
                <a:lnTo>
                  <a:pt x="640" y="683"/>
                </a:lnTo>
                <a:lnTo>
                  <a:pt x="641" y="687"/>
                </a:lnTo>
                <a:lnTo>
                  <a:pt x="650" y="687"/>
                </a:lnTo>
                <a:lnTo>
                  <a:pt x="650" y="691"/>
                </a:lnTo>
                <a:lnTo>
                  <a:pt x="651" y="694"/>
                </a:lnTo>
                <a:lnTo>
                  <a:pt x="651" y="696"/>
                </a:lnTo>
                <a:lnTo>
                  <a:pt x="653" y="698"/>
                </a:lnTo>
                <a:lnTo>
                  <a:pt x="650" y="700"/>
                </a:lnTo>
                <a:lnTo>
                  <a:pt x="649" y="701"/>
                </a:lnTo>
                <a:lnTo>
                  <a:pt x="648" y="703"/>
                </a:lnTo>
                <a:lnTo>
                  <a:pt x="647" y="707"/>
                </a:lnTo>
                <a:lnTo>
                  <a:pt x="648" y="707"/>
                </a:lnTo>
                <a:lnTo>
                  <a:pt x="650" y="708"/>
                </a:lnTo>
                <a:lnTo>
                  <a:pt x="653" y="710"/>
                </a:lnTo>
                <a:lnTo>
                  <a:pt x="653" y="701"/>
                </a:lnTo>
                <a:lnTo>
                  <a:pt x="658" y="705"/>
                </a:lnTo>
                <a:lnTo>
                  <a:pt x="660" y="706"/>
                </a:lnTo>
                <a:lnTo>
                  <a:pt x="664" y="707"/>
                </a:lnTo>
                <a:lnTo>
                  <a:pt x="662" y="709"/>
                </a:lnTo>
                <a:lnTo>
                  <a:pt x="661" y="711"/>
                </a:lnTo>
                <a:lnTo>
                  <a:pt x="661" y="712"/>
                </a:lnTo>
                <a:lnTo>
                  <a:pt x="662" y="712"/>
                </a:lnTo>
                <a:lnTo>
                  <a:pt x="664" y="711"/>
                </a:lnTo>
                <a:lnTo>
                  <a:pt x="667" y="710"/>
                </a:lnTo>
                <a:lnTo>
                  <a:pt x="667" y="719"/>
                </a:lnTo>
                <a:lnTo>
                  <a:pt x="667" y="732"/>
                </a:lnTo>
                <a:lnTo>
                  <a:pt x="670" y="731"/>
                </a:lnTo>
                <a:lnTo>
                  <a:pt x="671" y="729"/>
                </a:lnTo>
                <a:lnTo>
                  <a:pt x="671" y="727"/>
                </a:lnTo>
                <a:lnTo>
                  <a:pt x="672" y="724"/>
                </a:lnTo>
                <a:lnTo>
                  <a:pt x="678" y="743"/>
                </a:lnTo>
                <a:lnTo>
                  <a:pt x="680" y="743"/>
                </a:lnTo>
                <a:lnTo>
                  <a:pt x="681" y="743"/>
                </a:lnTo>
                <a:lnTo>
                  <a:pt x="682" y="742"/>
                </a:lnTo>
                <a:lnTo>
                  <a:pt x="683" y="741"/>
                </a:lnTo>
                <a:lnTo>
                  <a:pt x="684" y="741"/>
                </a:lnTo>
                <a:lnTo>
                  <a:pt x="686" y="743"/>
                </a:lnTo>
                <a:lnTo>
                  <a:pt x="687" y="736"/>
                </a:lnTo>
                <a:lnTo>
                  <a:pt x="688" y="734"/>
                </a:lnTo>
                <a:lnTo>
                  <a:pt x="688" y="733"/>
                </a:lnTo>
                <a:lnTo>
                  <a:pt x="689" y="732"/>
                </a:lnTo>
                <a:lnTo>
                  <a:pt x="689" y="735"/>
                </a:lnTo>
                <a:lnTo>
                  <a:pt x="689" y="741"/>
                </a:lnTo>
                <a:lnTo>
                  <a:pt x="689" y="743"/>
                </a:lnTo>
                <a:lnTo>
                  <a:pt x="688" y="745"/>
                </a:lnTo>
                <a:lnTo>
                  <a:pt x="684" y="749"/>
                </a:lnTo>
                <a:lnTo>
                  <a:pt x="685" y="751"/>
                </a:lnTo>
                <a:lnTo>
                  <a:pt x="686" y="754"/>
                </a:lnTo>
                <a:lnTo>
                  <a:pt x="686" y="757"/>
                </a:lnTo>
                <a:lnTo>
                  <a:pt x="689" y="759"/>
                </a:lnTo>
                <a:lnTo>
                  <a:pt x="692" y="759"/>
                </a:lnTo>
                <a:lnTo>
                  <a:pt x="695" y="760"/>
                </a:lnTo>
                <a:lnTo>
                  <a:pt x="698" y="760"/>
                </a:lnTo>
                <a:lnTo>
                  <a:pt x="698" y="762"/>
                </a:lnTo>
                <a:lnTo>
                  <a:pt x="698" y="765"/>
                </a:lnTo>
                <a:lnTo>
                  <a:pt x="698" y="766"/>
                </a:lnTo>
                <a:lnTo>
                  <a:pt x="697" y="766"/>
                </a:lnTo>
                <a:lnTo>
                  <a:pt x="696" y="767"/>
                </a:lnTo>
                <a:lnTo>
                  <a:pt x="695" y="766"/>
                </a:lnTo>
                <a:lnTo>
                  <a:pt x="694" y="771"/>
                </a:lnTo>
                <a:lnTo>
                  <a:pt x="693" y="773"/>
                </a:lnTo>
                <a:lnTo>
                  <a:pt x="692" y="774"/>
                </a:lnTo>
                <a:lnTo>
                  <a:pt x="700" y="777"/>
                </a:lnTo>
                <a:lnTo>
                  <a:pt x="700" y="800"/>
                </a:lnTo>
                <a:lnTo>
                  <a:pt x="705" y="802"/>
                </a:lnTo>
                <a:lnTo>
                  <a:pt x="709" y="805"/>
                </a:lnTo>
                <a:lnTo>
                  <a:pt x="706" y="807"/>
                </a:lnTo>
                <a:lnTo>
                  <a:pt x="705" y="808"/>
                </a:lnTo>
                <a:lnTo>
                  <a:pt x="705" y="809"/>
                </a:lnTo>
                <a:lnTo>
                  <a:pt x="706" y="809"/>
                </a:lnTo>
                <a:lnTo>
                  <a:pt x="712" y="808"/>
                </a:lnTo>
                <a:lnTo>
                  <a:pt x="713" y="807"/>
                </a:lnTo>
                <a:lnTo>
                  <a:pt x="714" y="804"/>
                </a:lnTo>
                <a:lnTo>
                  <a:pt x="715" y="803"/>
                </a:lnTo>
                <a:lnTo>
                  <a:pt x="714" y="802"/>
                </a:lnTo>
                <a:lnTo>
                  <a:pt x="712" y="802"/>
                </a:lnTo>
                <a:lnTo>
                  <a:pt x="712" y="800"/>
                </a:lnTo>
                <a:lnTo>
                  <a:pt x="715" y="799"/>
                </a:lnTo>
                <a:lnTo>
                  <a:pt x="718" y="799"/>
                </a:lnTo>
                <a:lnTo>
                  <a:pt x="720" y="798"/>
                </a:lnTo>
                <a:lnTo>
                  <a:pt x="723" y="797"/>
                </a:lnTo>
                <a:lnTo>
                  <a:pt x="722" y="800"/>
                </a:lnTo>
                <a:lnTo>
                  <a:pt x="721" y="803"/>
                </a:lnTo>
                <a:lnTo>
                  <a:pt x="720" y="811"/>
                </a:lnTo>
                <a:lnTo>
                  <a:pt x="715" y="811"/>
                </a:lnTo>
                <a:lnTo>
                  <a:pt x="714" y="813"/>
                </a:lnTo>
                <a:lnTo>
                  <a:pt x="714" y="815"/>
                </a:lnTo>
                <a:lnTo>
                  <a:pt x="715" y="815"/>
                </a:lnTo>
                <a:lnTo>
                  <a:pt x="716" y="816"/>
                </a:lnTo>
                <a:lnTo>
                  <a:pt x="717" y="817"/>
                </a:lnTo>
                <a:lnTo>
                  <a:pt x="718" y="818"/>
                </a:lnTo>
                <a:lnTo>
                  <a:pt x="717" y="819"/>
                </a:lnTo>
                <a:lnTo>
                  <a:pt x="720" y="820"/>
                </a:lnTo>
                <a:lnTo>
                  <a:pt x="720" y="821"/>
                </a:lnTo>
                <a:lnTo>
                  <a:pt x="720" y="822"/>
                </a:lnTo>
                <a:lnTo>
                  <a:pt x="720" y="825"/>
                </a:lnTo>
                <a:lnTo>
                  <a:pt x="720" y="828"/>
                </a:lnTo>
                <a:lnTo>
                  <a:pt x="723" y="828"/>
                </a:lnTo>
                <a:lnTo>
                  <a:pt x="723" y="827"/>
                </a:lnTo>
                <a:lnTo>
                  <a:pt x="723" y="824"/>
                </a:lnTo>
                <a:lnTo>
                  <a:pt x="723" y="822"/>
                </a:lnTo>
                <a:lnTo>
                  <a:pt x="733" y="828"/>
                </a:lnTo>
                <a:lnTo>
                  <a:pt x="743" y="833"/>
                </a:lnTo>
                <a:lnTo>
                  <a:pt x="743" y="838"/>
                </a:lnTo>
                <a:lnTo>
                  <a:pt x="743" y="848"/>
                </a:lnTo>
                <a:lnTo>
                  <a:pt x="743" y="868"/>
                </a:lnTo>
                <a:lnTo>
                  <a:pt x="737" y="868"/>
                </a:lnTo>
                <a:lnTo>
                  <a:pt x="733" y="868"/>
                </a:lnTo>
                <a:lnTo>
                  <a:pt x="731" y="868"/>
                </a:lnTo>
                <a:lnTo>
                  <a:pt x="734" y="875"/>
                </a:lnTo>
                <a:lnTo>
                  <a:pt x="735" y="879"/>
                </a:lnTo>
                <a:lnTo>
                  <a:pt x="735" y="883"/>
                </a:lnTo>
                <a:lnTo>
                  <a:pt x="737" y="891"/>
                </a:lnTo>
                <a:lnTo>
                  <a:pt x="744" y="890"/>
                </a:lnTo>
                <a:lnTo>
                  <a:pt x="750" y="889"/>
                </a:lnTo>
                <a:lnTo>
                  <a:pt x="754" y="889"/>
                </a:lnTo>
                <a:lnTo>
                  <a:pt x="757" y="889"/>
                </a:lnTo>
                <a:lnTo>
                  <a:pt x="761" y="889"/>
                </a:lnTo>
                <a:lnTo>
                  <a:pt x="765" y="891"/>
                </a:lnTo>
                <a:lnTo>
                  <a:pt x="765" y="899"/>
                </a:lnTo>
                <a:lnTo>
                  <a:pt x="762" y="902"/>
                </a:lnTo>
                <a:lnTo>
                  <a:pt x="765" y="902"/>
                </a:lnTo>
                <a:lnTo>
                  <a:pt x="766" y="902"/>
                </a:lnTo>
                <a:lnTo>
                  <a:pt x="769" y="901"/>
                </a:lnTo>
                <a:lnTo>
                  <a:pt x="771" y="899"/>
                </a:lnTo>
                <a:lnTo>
                  <a:pt x="772" y="899"/>
                </a:lnTo>
                <a:lnTo>
                  <a:pt x="774" y="899"/>
                </a:lnTo>
                <a:lnTo>
                  <a:pt x="775" y="900"/>
                </a:lnTo>
                <a:lnTo>
                  <a:pt x="777" y="901"/>
                </a:lnTo>
                <a:lnTo>
                  <a:pt x="780" y="903"/>
                </a:lnTo>
                <a:lnTo>
                  <a:pt x="782" y="905"/>
                </a:lnTo>
                <a:lnTo>
                  <a:pt x="790" y="913"/>
                </a:lnTo>
                <a:lnTo>
                  <a:pt x="790" y="912"/>
                </a:lnTo>
                <a:lnTo>
                  <a:pt x="791" y="910"/>
                </a:lnTo>
                <a:lnTo>
                  <a:pt x="791" y="909"/>
                </a:lnTo>
                <a:lnTo>
                  <a:pt x="792" y="909"/>
                </a:lnTo>
                <a:lnTo>
                  <a:pt x="793" y="910"/>
                </a:lnTo>
                <a:lnTo>
                  <a:pt x="795" y="913"/>
                </a:lnTo>
                <a:lnTo>
                  <a:pt x="795" y="915"/>
                </a:lnTo>
                <a:lnTo>
                  <a:pt x="795" y="920"/>
                </a:lnTo>
                <a:lnTo>
                  <a:pt x="795" y="922"/>
                </a:lnTo>
                <a:lnTo>
                  <a:pt x="796" y="924"/>
                </a:lnTo>
                <a:lnTo>
                  <a:pt x="796" y="925"/>
                </a:lnTo>
                <a:lnTo>
                  <a:pt x="797" y="926"/>
                </a:lnTo>
                <a:lnTo>
                  <a:pt x="799" y="927"/>
                </a:lnTo>
                <a:lnTo>
                  <a:pt x="803" y="929"/>
                </a:lnTo>
                <a:lnTo>
                  <a:pt x="808" y="930"/>
                </a:lnTo>
                <a:lnTo>
                  <a:pt x="812" y="931"/>
                </a:lnTo>
                <a:lnTo>
                  <a:pt x="817" y="931"/>
                </a:lnTo>
                <a:lnTo>
                  <a:pt x="825" y="930"/>
                </a:lnTo>
                <a:lnTo>
                  <a:pt x="828" y="930"/>
                </a:lnTo>
                <a:lnTo>
                  <a:pt x="831" y="930"/>
                </a:lnTo>
                <a:lnTo>
                  <a:pt x="834" y="930"/>
                </a:lnTo>
                <a:lnTo>
                  <a:pt x="826" y="917"/>
                </a:lnTo>
                <a:lnTo>
                  <a:pt x="820" y="909"/>
                </a:lnTo>
                <a:lnTo>
                  <a:pt x="817" y="905"/>
                </a:lnTo>
                <a:lnTo>
                  <a:pt x="813" y="903"/>
                </a:lnTo>
                <a:lnTo>
                  <a:pt x="810" y="902"/>
                </a:lnTo>
                <a:lnTo>
                  <a:pt x="804" y="901"/>
                </a:lnTo>
                <a:lnTo>
                  <a:pt x="798" y="899"/>
                </a:lnTo>
                <a:lnTo>
                  <a:pt x="796" y="898"/>
                </a:lnTo>
                <a:lnTo>
                  <a:pt x="793" y="896"/>
                </a:lnTo>
                <a:lnTo>
                  <a:pt x="785" y="885"/>
                </a:lnTo>
                <a:lnTo>
                  <a:pt x="787" y="882"/>
                </a:lnTo>
                <a:lnTo>
                  <a:pt x="788" y="881"/>
                </a:lnTo>
                <a:lnTo>
                  <a:pt x="788" y="880"/>
                </a:lnTo>
                <a:lnTo>
                  <a:pt x="788" y="879"/>
                </a:lnTo>
                <a:lnTo>
                  <a:pt x="768" y="877"/>
                </a:lnTo>
                <a:lnTo>
                  <a:pt x="779" y="875"/>
                </a:lnTo>
                <a:lnTo>
                  <a:pt x="786" y="874"/>
                </a:lnTo>
                <a:lnTo>
                  <a:pt x="788" y="874"/>
                </a:lnTo>
                <a:lnTo>
                  <a:pt x="786" y="874"/>
                </a:lnTo>
                <a:lnTo>
                  <a:pt x="785" y="874"/>
                </a:lnTo>
                <a:lnTo>
                  <a:pt x="787" y="872"/>
                </a:lnTo>
                <a:lnTo>
                  <a:pt x="793" y="868"/>
                </a:lnTo>
                <a:lnTo>
                  <a:pt x="796" y="874"/>
                </a:lnTo>
                <a:lnTo>
                  <a:pt x="797" y="878"/>
                </a:lnTo>
                <a:lnTo>
                  <a:pt x="798" y="881"/>
                </a:lnTo>
                <a:lnTo>
                  <a:pt x="800" y="881"/>
                </a:lnTo>
                <a:lnTo>
                  <a:pt x="802" y="882"/>
                </a:lnTo>
                <a:lnTo>
                  <a:pt x="813" y="885"/>
                </a:lnTo>
                <a:lnTo>
                  <a:pt x="817" y="891"/>
                </a:lnTo>
                <a:lnTo>
                  <a:pt x="815" y="891"/>
                </a:lnTo>
                <a:lnTo>
                  <a:pt x="813" y="893"/>
                </a:lnTo>
                <a:lnTo>
                  <a:pt x="812" y="894"/>
                </a:lnTo>
                <a:lnTo>
                  <a:pt x="812" y="895"/>
                </a:lnTo>
                <a:lnTo>
                  <a:pt x="813" y="896"/>
                </a:lnTo>
                <a:lnTo>
                  <a:pt x="815" y="897"/>
                </a:lnTo>
                <a:lnTo>
                  <a:pt x="817" y="897"/>
                </a:lnTo>
                <a:lnTo>
                  <a:pt x="820" y="895"/>
                </a:lnTo>
                <a:lnTo>
                  <a:pt x="825" y="891"/>
                </a:lnTo>
                <a:lnTo>
                  <a:pt x="826" y="892"/>
                </a:lnTo>
                <a:lnTo>
                  <a:pt x="826" y="893"/>
                </a:lnTo>
                <a:lnTo>
                  <a:pt x="825" y="895"/>
                </a:lnTo>
                <a:lnTo>
                  <a:pt x="822" y="899"/>
                </a:lnTo>
                <a:lnTo>
                  <a:pt x="827" y="902"/>
                </a:lnTo>
                <a:lnTo>
                  <a:pt x="832" y="905"/>
                </a:lnTo>
                <a:lnTo>
                  <a:pt x="836" y="908"/>
                </a:lnTo>
                <a:lnTo>
                  <a:pt x="838" y="910"/>
                </a:lnTo>
                <a:lnTo>
                  <a:pt x="839" y="913"/>
                </a:lnTo>
                <a:lnTo>
                  <a:pt x="840" y="915"/>
                </a:lnTo>
                <a:lnTo>
                  <a:pt x="840" y="918"/>
                </a:lnTo>
                <a:lnTo>
                  <a:pt x="839" y="922"/>
                </a:lnTo>
                <a:lnTo>
                  <a:pt x="838" y="925"/>
                </a:lnTo>
                <a:lnTo>
                  <a:pt x="837" y="927"/>
                </a:lnTo>
                <a:lnTo>
                  <a:pt x="837" y="929"/>
                </a:lnTo>
                <a:lnTo>
                  <a:pt x="836" y="933"/>
                </a:lnTo>
                <a:lnTo>
                  <a:pt x="834" y="939"/>
                </a:lnTo>
                <a:lnTo>
                  <a:pt x="826" y="938"/>
                </a:lnTo>
                <a:lnTo>
                  <a:pt x="817" y="936"/>
                </a:lnTo>
                <a:lnTo>
                  <a:pt x="796" y="933"/>
                </a:lnTo>
                <a:lnTo>
                  <a:pt x="797" y="936"/>
                </a:lnTo>
                <a:lnTo>
                  <a:pt x="797" y="939"/>
                </a:lnTo>
                <a:lnTo>
                  <a:pt x="798" y="943"/>
                </a:lnTo>
                <a:lnTo>
                  <a:pt x="799" y="947"/>
                </a:lnTo>
                <a:lnTo>
                  <a:pt x="802" y="952"/>
                </a:lnTo>
                <a:lnTo>
                  <a:pt x="808" y="959"/>
                </a:lnTo>
                <a:lnTo>
                  <a:pt x="813" y="967"/>
                </a:lnTo>
                <a:lnTo>
                  <a:pt x="815" y="971"/>
                </a:lnTo>
                <a:lnTo>
                  <a:pt x="817" y="975"/>
                </a:lnTo>
                <a:lnTo>
                  <a:pt x="817" y="978"/>
                </a:lnTo>
                <a:lnTo>
                  <a:pt x="815" y="981"/>
                </a:lnTo>
                <a:lnTo>
                  <a:pt x="813" y="987"/>
                </a:lnTo>
                <a:lnTo>
                  <a:pt x="811" y="993"/>
                </a:lnTo>
                <a:lnTo>
                  <a:pt x="810" y="998"/>
                </a:lnTo>
                <a:lnTo>
                  <a:pt x="810" y="1001"/>
                </a:lnTo>
                <a:lnTo>
                  <a:pt x="811" y="1005"/>
                </a:lnTo>
                <a:lnTo>
                  <a:pt x="812" y="1014"/>
                </a:lnTo>
                <a:lnTo>
                  <a:pt x="813" y="1024"/>
                </a:lnTo>
                <a:lnTo>
                  <a:pt x="813" y="1034"/>
                </a:lnTo>
                <a:lnTo>
                  <a:pt x="812" y="1041"/>
                </a:lnTo>
                <a:lnTo>
                  <a:pt x="810" y="1049"/>
                </a:lnTo>
                <a:lnTo>
                  <a:pt x="807" y="1066"/>
                </a:lnTo>
                <a:lnTo>
                  <a:pt x="805" y="1074"/>
                </a:lnTo>
                <a:lnTo>
                  <a:pt x="805" y="1083"/>
                </a:lnTo>
                <a:lnTo>
                  <a:pt x="805" y="1091"/>
                </a:lnTo>
                <a:lnTo>
                  <a:pt x="806" y="1095"/>
                </a:lnTo>
                <a:lnTo>
                  <a:pt x="807" y="1099"/>
                </a:lnTo>
                <a:lnTo>
                  <a:pt x="809" y="1100"/>
                </a:lnTo>
                <a:lnTo>
                  <a:pt x="812" y="1102"/>
                </a:lnTo>
                <a:lnTo>
                  <a:pt x="814" y="1103"/>
                </a:lnTo>
                <a:lnTo>
                  <a:pt x="817" y="1104"/>
                </a:lnTo>
                <a:lnTo>
                  <a:pt x="815" y="1114"/>
                </a:lnTo>
                <a:lnTo>
                  <a:pt x="814" y="1120"/>
                </a:lnTo>
                <a:lnTo>
                  <a:pt x="815" y="1123"/>
                </a:lnTo>
                <a:lnTo>
                  <a:pt x="815" y="1124"/>
                </a:lnTo>
                <a:lnTo>
                  <a:pt x="817" y="1124"/>
                </a:lnTo>
                <a:lnTo>
                  <a:pt x="811" y="1138"/>
                </a:lnTo>
                <a:lnTo>
                  <a:pt x="807" y="1150"/>
                </a:lnTo>
                <a:lnTo>
                  <a:pt x="809" y="1151"/>
                </a:lnTo>
                <a:lnTo>
                  <a:pt x="811" y="1154"/>
                </a:lnTo>
                <a:lnTo>
                  <a:pt x="817" y="1158"/>
                </a:lnTo>
                <a:lnTo>
                  <a:pt x="819" y="1163"/>
                </a:lnTo>
                <a:lnTo>
                  <a:pt x="820" y="1166"/>
                </a:lnTo>
                <a:lnTo>
                  <a:pt x="820" y="1170"/>
                </a:lnTo>
                <a:lnTo>
                  <a:pt x="820" y="1172"/>
                </a:lnTo>
                <a:lnTo>
                  <a:pt x="820" y="1178"/>
                </a:lnTo>
                <a:lnTo>
                  <a:pt x="821" y="1182"/>
                </a:lnTo>
                <a:lnTo>
                  <a:pt x="822" y="1186"/>
                </a:lnTo>
                <a:lnTo>
                  <a:pt x="825" y="1190"/>
                </a:lnTo>
                <a:lnTo>
                  <a:pt x="829" y="1196"/>
                </a:lnTo>
                <a:lnTo>
                  <a:pt x="833" y="1203"/>
                </a:lnTo>
                <a:lnTo>
                  <a:pt x="836" y="1209"/>
                </a:lnTo>
                <a:lnTo>
                  <a:pt x="839" y="1207"/>
                </a:lnTo>
                <a:lnTo>
                  <a:pt x="840" y="1206"/>
                </a:lnTo>
                <a:lnTo>
                  <a:pt x="840" y="1203"/>
                </a:lnTo>
                <a:lnTo>
                  <a:pt x="840" y="1201"/>
                </a:lnTo>
                <a:lnTo>
                  <a:pt x="839" y="1200"/>
                </a:lnTo>
                <a:lnTo>
                  <a:pt x="841" y="1200"/>
                </a:lnTo>
                <a:lnTo>
                  <a:pt x="842" y="1201"/>
                </a:lnTo>
                <a:lnTo>
                  <a:pt x="844" y="1202"/>
                </a:lnTo>
                <a:lnTo>
                  <a:pt x="846" y="1203"/>
                </a:lnTo>
                <a:lnTo>
                  <a:pt x="848" y="1203"/>
                </a:lnTo>
                <a:lnTo>
                  <a:pt x="847" y="1204"/>
                </a:lnTo>
                <a:lnTo>
                  <a:pt x="846" y="1204"/>
                </a:lnTo>
                <a:lnTo>
                  <a:pt x="845" y="1207"/>
                </a:lnTo>
                <a:lnTo>
                  <a:pt x="845" y="1212"/>
                </a:lnTo>
                <a:lnTo>
                  <a:pt x="845" y="1215"/>
                </a:lnTo>
                <a:lnTo>
                  <a:pt x="845" y="1218"/>
                </a:lnTo>
                <a:lnTo>
                  <a:pt x="844" y="1220"/>
                </a:lnTo>
                <a:lnTo>
                  <a:pt x="842" y="1223"/>
                </a:lnTo>
                <a:lnTo>
                  <a:pt x="856" y="1228"/>
                </a:lnTo>
                <a:lnTo>
                  <a:pt x="852" y="1236"/>
                </a:lnTo>
                <a:lnTo>
                  <a:pt x="851" y="1238"/>
                </a:lnTo>
                <a:lnTo>
                  <a:pt x="850" y="1240"/>
                </a:lnTo>
                <a:lnTo>
                  <a:pt x="850" y="1242"/>
                </a:lnTo>
                <a:lnTo>
                  <a:pt x="851" y="1245"/>
                </a:lnTo>
                <a:lnTo>
                  <a:pt x="852" y="1248"/>
                </a:lnTo>
                <a:lnTo>
                  <a:pt x="854" y="1251"/>
                </a:lnTo>
                <a:lnTo>
                  <a:pt x="858" y="1255"/>
                </a:lnTo>
                <a:lnTo>
                  <a:pt x="862" y="1258"/>
                </a:lnTo>
                <a:lnTo>
                  <a:pt x="869" y="1264"/>
                </a:lnTo>
                <a:lnTo>
                  <a:pt x="873" y="1268"/>
                </a:lnTo>
                <a:lnTo>
                  <a:pt x="872" y="1269"/>
                </a:lnTo>
                <a:lnTo>
                  <a:pt x="870" y="1271"/>
                </a:lnTo>
                <a:lnTo>
                  <a:pt x="867" y="1273"/>
                </a:lnTo>
                <a:lnTo>
                  <a:pt x="873" y="1276"/>
                </a:lnTo>
                <a:lnTo>
                  <a:pt x="874" y="1279"/>
                </a:lnTo>
                <a:lnTo>
                  <a:pt x="875" y="1281"/>
                </a:lnTo>
                <a:lnTo>
                  <a:pt x="876" y="1286"/>
                </a:lnTo>
                <a:lnTo>
                  <a:pt x="875" y="1292"/>
                </a:lnTo>
                <a:lnTo>
                  <a:pt x="876" y="1295"/>
                </a:lnTo>
                <a:lnTo>
                  <a:pt x="876" y="1299"/>
                </a:lnTo>
                <a:lnTo>
                  <a:pt x="878" y="1299"/>
                </a:lnTo>
                <a:lnTo>
                  <a:pt x="879" y="1299"/>
                </a:lnTo>
                <a:lnTo>
                  <a:pt x="879" y="1298"/>
                </a:lnTo>
                <a:lnTo>
                  <a:pt x="879" y="1296"/>
                </a:lnTo>
                <a:lnTo>
                  <a:pt x="881" y="1296"/>
                </a:lnTo>
                <a:lnTo>
                  <a:pt x="885" y="1297"/>
                </a:lnTo>
                <a:lnTo>
                  <a:pt x="892" y="1299"/>
                </a:lnTo>
                <a:lnTo>
                  <a:pt x="898" y="1302"/>
                </a:lnTo>
                <a:lnTo>
                  <a:pt x="904" y="1304"/>
                </a:lnTo>
                <a:lnTo>
                  <a:pt x="904" y="1313"/>
                </a:lnTo>
                <a:lnTo>
                  <a:pt x="906" y="1313"/>
                </a:lnTo>
                <a:lnTo>
                  <a:pt x="907" y="1313"/>
                </a:lnTo>
                <a:lnTo>
                  <a:pt x="909" y="1311"/>
                </a:lnTo>
                <a:lnTo>
                  <a:pt x="911" y="1310"/>
                </a:lnTo>
                <a:lnTo>
                  <a:pt x="911" y="1309"/>
                </a:lnTo>
                <a:lnTo>
                  <a:pt x="912" y="1310"/>
                </a:lnTo>
                <a:lnTo>
                  <a:pt x="915" y="1313"/>
                </a:lnTo>
                <a:lnTo>
                  <a:pt x="917" y="1317"/>
                </a:lnTo>
                <a:lnTo>
                  <a:pt x="919" y="1321"/>
                </a:lnTo>
                <a:lnTo>
                  <a:pt x="921" y="1324"/>
                </a:lnTo>
                <a:lnTo>
                  <a:pt x="929" y="1327"/>
                </a:lnTo>
                <a:lnTo>
                  <a:pt x="930" y="1330"/>
                </a:lnTo>
                <a:lnTo>
                  <a:pt x="931" y="1332"/>
                </a:lnTo>
                <a:lnTo>
                  <a:pt x="931" y="1338"/>
                </a:lnTo>
                <a:lnTo>
                  <a:pt x="931" y="1344"/>
                </a:lnTo>
                <a:lnTo>
                  <a:pt x="931" y="1346"/>
                </a:lnTo>
                <a:lnTo>
                  <a:pt x="932" y="1349"/>
                </a:lnTo>
                <a:lnTo>
                  <a:pt x="933" y="1352"/>
                </a:lnTo>
                <a:lnTo>
                  <a:pt x="934" y="1355"/>
                </a:lnTo>
                <a:lnTo>
                  <a:pt x="935" y="1358"/>
                </a:lnTo>
                <a:lnTo>
                  <a:pt x="941" y="1358"/>
                </a:lnTo>
                <a:lnTo>
                  <a:pt x="942" y="1361"/>
                </a:lnTo>
                <a:lnTo>
                  <a:pt x="943" y="1364"/>
                </a:lnTo>
                <a:lnTo>
                  <a:pt x="943" y="1370"/>
                </a:lnTo>
                <a:lnTo>
                  <a:pt x="944" y="1376"/>
                </a:lnTo>
                <a:lnTo>
                  <a:pt x="945" y="1379"/>
                </a:lnTo>
                <a:lnTo>
                  <a:pt x="946" y="1383"/>
                </a:lnTo>
                <a:lnTo>
                  <a:pt x="948" y="1386"/>
                </a:lnTo>
                <a:lnTo>
                  <a:pt x="950" y="1389"/>
                </a:lnTo>
                <a:lnTo>
                  <a:pt x="956" y="1395"/>
                </a:lnTo>
                <a:lnTo>
                  <a:pt x="969" y="1406"/>
                </a:lnTo>
                <a:lnTo>
                  <a:pt x="970" y="1406"/>
                </a:lnTo>
                <a:lnTo>
                  <a:pt x="973" y="1407"/>
                </a:lnTo>
                <a:lnTo>
                  <a:pt x="975" y="1407"/>
                </a:lnTo>
                <a:lnTo>
                  <a:pt x="977" y="1408"/>
                </a:lnTo>
                <a:lnTo>
                  <a:pt x="980" y="1412"/>
                </a:lnTo>
                <a:lnTo>
                  <a:pt x="982" y="1416"/>
                </a:lnTo>
                <a:lnTo>
                  <a:pt x="983" y="1422"/>
                </a:lnTo>
                <a:lnTo>
                  <a:pt x="984" y="1428"/>
                </a:lnTo>
                <a:lnTo>
                  <a:pt x="985" y="1441"/>
                </a:lnTo>
                <a:lnTo>
                  <a:pt x="986" y="1453"/>
                </a:lnTo>
                <a:lnTo>
                  <a:pt x="976" y="1456"/>
                </a:lnTo>
                <a:lnTo>
                  <a:pt x="969" y="1459"/>
                </a:lnTo>
                <a:lnTo>
                  <a:pt x="980" y="1466"/>
                </a:lnTo>
                <a:lnTo>
                  <a:pt x="991" y="1473"/>
                </a:lnTo>
                <a:lnTo>
                  <a:pt x="991" y="1479"/>
                </a:lnTo>
                <a:lnTo>
                  <a:pt x="993" y="1480"/>
                </a:lnTo>
                <a:lnTo>
                  <a:pt x="996" y="1481"/>
                </a:lnTo>
                <a:lnTo>
                  <a:pt x="1000" y="1481"/>
                </a:lnTo>
                <a:lnTo>
                  <a:pt x="1004" y="1482"/>
                </a:lnTo>
                <a:lnTo>
                  <a:pt x="1006" y="1483"/>
                </a:lnTo>
                <a:lnTo>
                  <a:pt x="1008" y="1484"/>
                </a:lnTo>
                <a:lnTo>
                  <a:pt x="1009" y="1487"/>
                </a:lnTo>
                <a:lnTo>
                  <a:pt x="1011" y="1490"/>
                </a:lnTo>
                <a:lnTo>
                  <a:pt x="1013" y="1494"/>
                </a:lnTo>
                <a:lnTo>
                  <a:pt x="1013" y="1495"/>
                </a:lnTo>
                <a:lnTo>
                  <a:pt x="1014" y="1496"/>
                </a:lnTo>
                <a:lnTo>
                  <a:pt x="1019" y="1496"/>
                </a:lnTo>
                <a:lnTo>
                  <a:pt x="1021" y="1499"/>
                </a:lnTo>
                <a:lnTo>
                  <a:pt x="1021" y="1503"/>
                </a:lnTo>
                <a:lnTo>
                  <a:pt x="1021" y="1508"/>
                </a:lnTo>
                <a:lnTo>
                  <a:pt x="1021" y="1512"/>
                </a:lnTo>
                <a:lnTo>
                  <a:pt x="1020" y="1521"/>
                </a:lnTo>
                <a:lnTo>
                  <a:pt x="1021" y="1525"/>
                </a:lnTo>
                <a:lnTo>
                  <a:pt x="1022" y="1529"/>
                </a:lnTo>
                <a:lnTo>
                  <a:pt x="1024" y="1531"/>
                </a:lnTo>
                <a:lnTo>
                  <a:pt x="1027" y="1532"/>
                </a:lnTo>
                <a:lnTo>
                  <a:pt x="1031" y="1534"/>
                </a:lnTo>
                <a:lnTo>
                  <a:pt x="1033" y="1535"/>
                </a:lnTo>
                <a:lnTo>
                  <a:pt x="1033" y="1541"/>
                </a:lnTo>
                <a:lnTo>
                  <a:pt x="1035" y="1543"/>
                </a:lnTo>
                <a:lnTo>
                  <a:pt x="1038" y="1546"/>
                </a:lnTo>
                <a:lnTo>
                  <a:pt x="1046" y="1555"/>
                </a:lnTo>
                <a:lnTo>
                  <a:pt x="1051" y="1560"/>
                </a:lnTo>
                <a:lnTo>
                  <a:pt x="1055" y="1566"/>
                </a:lnTo>
                <a:lnTo>
                  <a:pt x="1059" y="1570"/>
                </a:lnTo>
                <a:lnTo>
                  <a:pt x="1061" y="1574"/>
                </a:lnTo>
                <a:lnTo>
                  <a:pt x="1062" y="1571"/>
                </a:lnTo>
                <a:lnTo>
                  <a:pt x="1063" y="1570"/>
                </a:lnTo>
                <a:lnTo>
                  <a:pt x="1064" y="1570"/>
                </a:lnTo>
                <a:lnTo>
                  <a:pt x="1067" y="1569"/>
                </a:lnTo>
                <a:lnTo>
                  <a:pt x="1067" y="1566"/>
                </a:lnTo>
                <a:lnTo>
                  <a:pt x="1067" y="1563"/>
                </a:lnTo>
                <a:lnTo>
                  <a:pt x="1067" y="1560"/>
                </a:lnTo>
                <a:lnTo>
                  <a:pt x="1067" y="1557"/>
                </a:lnTo>
                <a:lnTo>
                  <a:pt x="1066" y="1556"/>
                </a:lnTo>
                <a:lnTo>
                  <a:pt x="1065" y="1555"/>
                </a:lnTo>
                <a:lnTo>
                  <a:pt x="1062" y="1553"/>
                </a:lnTo>
                <a:lnTo>
                  <a:pt x="1058" y="1551"/>
                </a:lnTo>
                <a:lnTo>
                  <a:pt x="1056" y="1549"/>
                </a:lnTo>
                <a:lnTo>
                  <a:pt x="1055" y="1547"/>
                </a:lnTo>
                <a:lnTo>
                  <a:pt x="1055" y="1544"/>
                </a:lnTo>
                <a:lnTo>
                  <a:pt x="1054" y="1542"/>
                </a:lnTo>
                <a:lnTo>
                  <a:pt x="1054" y="1541"/>
                </a:lnTo>
                <a:lnTo>
                  <a:pt x="1053" y="1541"/>
                </a:lnTo>
                <a:lnTo>
                  <a:pt x="1052" y="1540"/>
                </a:lnTo>
                <a:lnTo>
                  <a:pt x="1051" y="1540"/>
                </a:lnTo>
                <a:lnTo>
                  <a:pt x="1048" y="1539"/>
                </a:lnTo>
                <a:lnTo>
                  <a:pt x="1046" y="1539"/>
                </a:lnTo>
                <a:lnTo>
                  <a:pt x="1045" y="1539"/>
                </a:lnTo>
                <a:lnTo>
                  <a:pt x="1045" y="1538"/>
                </a:lnTo>
                <a:lnTo>
                  <a:pt x="1045" y="1537"/>
                </a:lnTo>
                <a:lnTo>
                  <a:pt x="1045" y="1536"/>
                </a:lnTo>
                <a:lnTo>
                  <a:pt x="1046" y="1533"/>
                </a:lnTo>
                <a:lnTo>
                  <a:pt x="1047" y="1530"/>
                </a:lnTo>
                <a:lnTo>
                  <a:pt x="1047" y="1527"/>
                </a:lnTo>
                <a:lnTo>
                  <a:pt x="1042" y="1527"/>
                </a:lnTo>
                <a:lnTo>
                  <a:pt x="1039" y="1514"/>
                </a:lnTo>
                <a:lnTo>
                  <a:pt x="1037" y="1503"/>
                </a:lnTo>
                <a:lnTo>
                  <a:pt x="1035" y="1493"/>
                </a:lnTo>
                <a:lnTo>
                  <a:pt x="1031" y="1481"/>
                </a:lnTo>
                <a:lnTo>
                  <a:pt x="1026" y="1480"/>
                </a:lnTo>
                <a:lnTo>
                  <a:pt x="1024" y="1480"/>
                </a:lnTo>
                <a:lnTo>
                  <a:pt x="1023" y="1479"/>
                </a:lnTo>
                <a:lnTo>
                  <a:pt x="1022" y="1479"/>
                </a:lnTo>
                <a:lnTo>
                  <a:pt x="1022" y="1477"/>
                </a:lnTo>
                <a:lnTo>
                  <a:pt x="1022" y="1475"/>
                </a:lnTo>
                <a:lnTo>
                  <a:pt x="1022" y="1472"/>
                </a:lnTo>
                <a:lnTo>
                  <a:pt x="1023" y="1468"/>
                </a:lnTo>
                <a:lnTo>
                  <a:pt x="1023" y="1466"/>
                </a:lnTo>
                <a:lnTo>
                  <a:pt x="1022" y="1465"/>
                </a:lnTo>
                <a:lnTo>
                  <a:pt x="1016" y="1465"/>
                </a:lnTo>
                <a:lnTo>
                  <a:pt x="1013" y="1457"/>
                </a:lnTo>
                <a:lnTo>
                  <a:pt x="1010" y="1449"/>
                </a:lnTo>
                <a:lnTo>
                  <a:pt x="1007" y="1440"/>
                </a:lnTo>
                <a:lnTo>
                  <a:pt x="1005" y="1431"/>
                </a:lnTo>
                <a:lnTo>
                  <a:pt x="997" y="1431"/>
                </a:lnTo>
                <a:lnTo>
                  <a:pt x="996" y="1428"/>
                </a:lnTo>
                <a:lnTo>
                  <a:pt x="995" y="1425"/>
                </a:lnTo>
                <a:lnTo>
                  <a:pt x="995" y="1419"/>
                </a:lnTo>
                <a:lnTo>
                  <a:pt x="995" y="1413"/>
                </a:lnTo>
                <a:lnTo>
                  <a:pt x="995" y="1411"/>
                </a:lnTo>
                <a:lnTo>
                  <a:pt x="994" y="1408"/>
                </a:lnTo>
                <a:lnTo>
                  <a:pt x="990" y="1408"/>
                </a:lnTo>
                <a:lnTo>
                  <a:pt x="986" y="1408"/>
                </a:lnTo>
                <a:lnTo>
                  <a:pt x="983" y="1402"/>
                </a:lnTo>
                <a:lnTo>
                  <a:pt x="981" y="1396"/>
                </a:lnTo>
                <a:lnTo>
                  <a:pt x="980" y="1390"/>
                </a:lnTo>
                <a:lnTo>
                  <a:pt x="977" y="1383"/>
                </a:lnTo>
                <a:lnTo>
                  <a:pt x="976" y="1381"/>
                </a:lnTo>
                <a:lnTo>
                  <a:pt x="973" y="1379"/>
                </a:lnTo>
                <a:lnTo>
                  <a:pt x="970" y="1377"/>
                </a:lnTo>
                <a:lnTo>
                  <a:pt x="969" y="1375"/>
                </a:lnTo>
                <a:lnTo>
                  <a:pt x="970" y="1373"/>
                </a:lnTo>
                <a:lnTo>
                  <a:pt x="970" y="1372"/>
                </a:lnTo>
                <a:lnTo>
                  <a:pt x="971" y="1368"/>
                </a:lnTo>
                <a:lnTo>
                  <a:pt x="971" y="1364"/>
                </a:lnTo>
                <a:lnTo>
                  <a:pt x="971" y="1361"/>
                </a:lnTo>
                <a:lnTo>
                  <a:pt x="975" y="1363"/>
                </a:lnTo>
                <a:lnTo>
                  <a:pt x="979" y="1365"/>
                </a:lnTo>
                <a:lnTo>
                  <a:pt x="986" y="1369"/>
                </a:lnTo>
                <a:lnTo>
                  <a:pt x="989" y="1366"/>
                </a:lnTo>
                <a:lnTo>
                  <a:pt x="991" y="1365"/>
                </a:lnTo>
                <a:lnTo>
                  <a:pt x="992" y="1364"/>
                </a:lnTo>
                <a:lnTo>
                  <a:pt x="991" y="1363"/>
                </a:lnTo>
                <a:lnTo>
                  <a:pt x="995" y="1364"/>
                </a:lnTo>
                <a:lnTo>
                  <a:pt x="1000" y="1363"/>
                </a:lnTo>
                <a:lnTo>
                  <a:pt x="1000" y="1368"/>
                </a:lnTo>
                <a:lnTo>
                  <a:pt x="1000" y="1372"/>
                </a:lnTo>
                <a:lnTo>
                  <a:pt x="1005" y="1372"/>
                </a:lnTo>
                <a:lnTo>
                  <a:pt x="1006" y="1374"/>
                </a:lnTo>
                <a:lnTo>
                  <a:pt x="1005" y="1376"/>
                </a:lnTo>
                <a:lnTo>
                  <a:pt x="1004" y="1380"/>
                </a:lnTo>
                <a:lnTo>
                  <a:pt x="1003" y="1384"/>
                </a:lnTo>
                <a:lnTo>
                  <a:pt x="1002" y="1385"/>
                </a:lnTo>
                <a:lnTo>
                  <a:pt x="1002" y="1386"/>
                </a:lnTo>
                <a:lnTo>
                  <a:pt x="1004" y="1388"/>
                </a:lnTo>
                <a:lnTo>
                  <a:pt x="1008" y="1391"/>
                </a:lnTo>
                <a:lnTo>
                  <a:pt x="1012" y="1395"/>
                </a:lnTo>
                <a:lnTo>
                  <a:pt x="1014" y="1397"/>
                </a:lnTo>
                <a:lnTo>
                  <a:pt x="1014" y="1399"/>
                </a:lnTo>
                <a:lnTo>
                  <a:pt x="1015" y="1402"/>
                </a:lnTo>
                <a:lnTo>
                  <a:pt x="1015" y="1406"/>
                </a:lnTo>
                <a:lnTo>
                  <a:pt x="1015" y="1410"/>
                </a:lnTo>
                <a:lnTo>
                  <a:pt x="1016" y="1414"/>
                </a:lnTo>
                <a:lnTo>
                  <a:pt x="1019" y="1416"/>
                </a:lnTo>
                <a:lnTo>
                  <a:pt x="1024" y="1420"/>
                </a:lnTo>
                <a:lnTo>
                  <a:pt x="1031" y="1425"/>
                </a:lnTo>
                <a:lnTo>
                  <a:pt x="1031" y="1426"/>
                </a:lnTo>
                <a:lnTo>
                  <a:pt x="1031" y="1428"/>
                </a:lnTo>
                <a:lnTo>
                  <a:pt x="1031" y="1431"/>
                </a:lnTo>
                <a:lnTo>
                  <a:pt x="1030" y="1434"/>
                </a:lnTo>
                <a:lnTo>
                  <a:pt x="1031" y="1436"/>
                </a:lnTo>
                <a:lnTo>
                  <a:pt x="1033" y="1436"/>
                </a:lnTo>
                <a:lnTo>
                  <a:pt x="1036" y="1438"/>
                </a:lnTo>
                <a:lnTo>
                  <a:pt x="1038" y="1440"/>
                </a:lnTo>
                <a:lnTo>
                  <a:pt x="1042" y="1445"/>
                </a:lnTo>
                <a:lnTo>
                  <a:pt x="1047" y="1456"/>
                </a:lnTo>
                <a:lnTo>
                  <a:pt x="1052" y="1456"/>
                </a:lnTo>
                <a:lnTo>
                  <a:pt x="1056" y="1456"/>
                </a:lnTo>
                <a:lnTo>
                  <a:pt x="1056" y="1457"/>
                </a:lnTo>
                <a:lnTo>
                  <a:pt x="1056" y="1458"/>
                </a:lnTo>
                <a:lnTo>
                  <a:pt x="1056" y="1462"/>
                </a:lnTo>
                <a:lnTo>
                  <a:pt x="1056" y="1465"/>
                </a:lnTo>
                <a:lnTo>
                  <a:pt x="1056" y="1467"/>
                </a:lnTo>
                <a:lnTo>
                  <a:pt x="1057" y="1468"/>
                </a:lnTo>
                <a:lnTo>
                  <a:pt x="1057" y="1469"/>
                </a:lnTo>
                <a:lnTo>
                  <a:pt x="1060" y="1469"/>
                </a:lnTo>
                <a:lnTo>
                  <a:pt x="1062" y="1469"/>
                </a:lnTo>
                <a:lnTo>
                  <a:pt x="1063" y="1470"/>
                </a:lnTo>
                <a:lnTo>
                  <a:pt x="1064" y="1470"/>
                </a:lnTo>
                <a:lnTo>
                  <a:pt x="1065" y="1471"/>
                </a:lnTo>
                <a:lnTo>
                  <a:pt x="1065" y="1472"/>
                </a:lnTo>
                <a:lnTo>
                  <a:pt x="1066" y="1476"/>
                </a:lnTo>
                <a:lnTo>
                  <a:pt x="1066" y="1479"/>
                </a:lnTo>
                <a:lnTo>
                  <a:pt x="1067" y="1481"/>
                </a:lnTo>
                <a:lnTo>
                  <a:pt x="1074" y="1484"/>
                </a:lnTo>
                <a:lnTo>
                  <a:pt x="1081" y="1487"/>
                </a:lnTo>
                <a:lnTo>
                  <a:pt x="1079" y="1489"/>
                </a:lnTo>
                <a:lnTo>
                  <a:pt x="1078" y="1492"/>
                </a:lnTo>
                <a:lnTo>
                  <a:pt x="1076" y="1494"/>
                </a:lnTo>
                <a:lnTo>
                  <a:pt x="1073" y="1496"/>
                </a:lnTo>
                <a:lnTo>
                  <a:pt x="1073" y="1500"/>
                </a:lnTo>
                <a:lnTo>
                  <a:pt x="1073" y="1504"/>
                </a:lnTo>
                <a:lnTo>
                  <a:pt x="1080" y="1509"/>
                </a:lnTo>
                <a:lnTo>
                  <a:pt x="1088" y="1514"/>
                </a:lnTo>
                <a:lnTo>
                  <a:pt x="1095" y="1520"/>
                </a:lnTo>
                <a:lnTo>
                  <a:pt x="1098" y="1523"/>
                </a:lnTo>
                <a:lnTo>
                  <a:pt x="1101" y="1527"/>
                </a:lnTo>
                <a:lnTo>
                  <a:pt x="1102" y="1528"/>
                </a:lnTo>
                <a:lnTo>
                  <a:pt x="1102" y="1530"/>
                </a:lnTo>
                <a:lnTo>
                  <a:pt x="1103" y="1534"/>
                </a:lnTo>
                <a:lnTo>
                  <a:pt x="1104" y="1538"/>
                </a:lnTo>
                <a:lnTo>
                  <a:pt x="1105" y="1539"/>
                </a:lnTo>
                <a:lnTo>
                  <a:pt x="1106" y="1541"/>
                </a:lnTo>
                <a:lnTo>
                  <a:pt x="1109" y="1541"/>
                </a:lnTo>
                <a:lnTo>
                  <a:pt x="1111" y="1541"/>
                </a:lnTo>
                <a:lnTo>
                  <a:pt x="1113" y="1542"/>
                </a:lnTo>
                <a:lnTo>
                  <a:pt x="1114" y="1542"/>
                </a:lnTo>
                <a:lnTo>
                  <a:pt x="1115" y="1543"/>
                </a:lnTo>
                <a:lnTo>
                  <a:pt x="1115" y="1546"/>
                </a:lnTo>
                <a:lnTo>
                  <a:pt x="1115" y="1548"/>
                </a:lnTo>
                <a:lnTo>
                  <a:pt x="1114" y="1550"/>
                </a:lnTo>
                <a:lnTo>
                  <a:pt x="1115" y="1552"/>
                </a:lnTo>
                <a:lnTo>
                  <a:pt x="1121" y="1552"/>
                </a:lnTo>
                <a:lnTo>
                  <a:pt x="1125" y="1559"/>
                </a:lnTo>
                <a:lnTo>
                  <a:pt x="1129" y="1566"/>
                </a:lnTo>
                <a:lnTo>
                  <a:pt x="1129" y="1568"/>
                </a:lnTo>
                <a:lnTo>
                  <a:pt x="1129" y="1570"/>
                </a:lnTo>
                <a:lnTo>
                  <a:pt x="1128" y="1572"/>
                </a:lnTo>
                <a:lnTo>
                  <a:pt x="1129" y="1574"/>
                </a:lnTo>
                <a:lnTo>
                  <a:pt x="1133" y="1580"/>
                </a:lnTo>
                <a:lnTo>
                  <a:pt x="1138" y="1585"/>
                </a:lnTo>
                <a:lnTo>
                  <a:pt x="1143" y="1591"/>
                </a:lnTo>
                <a:lnTo>
                  <a:pt x="1144" y="1594"/>
                </a:lnTo>
                <a:lnTo>
                  <a:pt x="1146" y="1597"/>
                </a:lnTo>
                <a:lnTo>
                  <a:pt x="1147" y="1602"/>
                </a:lnTo>
                <a:lnTo>
                  <a:pt x="1148" y="1607"/>
                </a:lnTo>
                <a:lnTo>
                  <a:pt x="1148" y="1611"/>
                </a:lnTo>
                <a:lnTo>
                  <a:pt x="1148" y="1615"/>
                </a:lnTo>
                <a:lnTo>
                  <a:pt x="1146" y="1623"/>
                </a:lnTo>
                <a:lnTo>
                  <a:pt x="1143" y="1630"/>
                </a:lnTo>
                <a:lnTo>
                  <a:pt x="1141" y="1637"/>
                </a:lnTo>
                <a:lnTo>
                  <a:pt x="1141" y="1640"/>
                </a:lnTo>
                <a:lnTo>
                  <a:pt x="1140" y="1644"/>
                </a:lnTo>
                <a:lnTo>
                  <a:pt x="1141" y="1647"/>
                </a:lnTo>
                <a:lnTo>
                  <a:pt x="1142" y="1651"/>
                </a:lnTo>
                <a:lnTo>
                  <a:pt x="1143" y="1655"/>
                </a:lnTo>
                <a:lnTo>
                  <a:pt x="1146" y="1659"/>
                </a:lnTo>
                <a:lnTo>
                  <a:pt x="1148" y="1661"/>
                </a:lnTo>
                <a:lnTo>
                  <a:pt x="1150" y="1662"/>
                </a:lnTo>
                <a:lnTo>
                  <a:pt x="1152" y="1663"/>
                </a:lnTo>
                <a:lnTo>
                  <a:pt x="1155" y="1663"/>
                </a:lnTo>
                <a:lnTo>
                  <a:pt x="1160" y="1665"/>
                </a:lnTo>
                <a:lnTo>
                  <a:pt x="1163" y="1666"/>
                </a:lnTo>
                <a:lnTo>
                  <a:pt x="1166" y="1667"/>
                </a:lnTo>
                <a:lnTo>
                  <a:pt x="1174" y="1680"/>
                </a:lnTo>
                <a:lnTo>
                  <a:pt x="1182" y="1692"/>
                </a:lnTo>
                <a:lnTo>
                  <a:pt x="1185" y="1694"/>
                </a:lnTo>
                <a:lnTo>
                  <a:pt x="1189" y="1695"/>
                </a:lnTo>
                <a:lnTo>
                  <a:pt x="1195" y="1696"/>
                </a:lnTo>
                <a:lnTo>
                  <a:pt x="1202" y="1696"/>
                </a:lnTo>
                <a:lnTo>
                  <a:pt x="1205" y="1697"/>
                </a:lnTo>
                <a:lnTo>
                  <a:pt x="1208" y="1698"/>
                </a:lnTo>
                <a:lnTo>
                  <a:pt x="1210" y="1700"/>
                </a:lnTo>
                <a:lnTo>
                  <a:pt x="1213" y="1702"/>
                </a:lnTo>
                <a:lnTo>
                  <a:pt x="1219" y="1708"/>
                </a:lnTo>
                <a:lnTo>
                  <a:pt x="1225" y="1714"/>
                </a:lnTo>
                <a:lnTo>
                  <a:pt x="1227" y="1716"/>
                </a:lnTo>
                <a:lnTo>
                  <a:pt x="1230" y="1718"/>
                </a:lnTo>
                <a:lnTo>
                  <a:pt x="1234" y="1719"/>
                </a:lnTo>
                <a:lnTo>
                  <a:pt x="1237" y="1720"/>
                </a:lnTo>
                <a:lnTo>
                  <a:pt x="1244" y="1721"/>
                </a:lnTo>
                <a:lnTo>
                  <a:pt x="1251" y="1721"/>
                </a:lnTo>
                <a:lnTo>
                  <a:pt x="1255" y="1722"/>
                </a:lnTo>
                <a:lnTo>
                  <a:pt x="1258" y="1723"/>
                </a:lnTo>
                <a:lnTo>
                  <a:pt x="1261" y="1726"/>
                </a:lnTo>
                <a:lnTo>
                  <a:pt x="1264" y="1729"/>
                </a:lnTo>
                <a:lnTo>
                  <a:pt x="1267" y="1733"/>
                </a:lnTo>
                <a:lnTo>
                  <a:pt x="1270" y="1735"/>
                </a:lnTo>
                <a:lnTo>
                  <a:pt x="1283" y="1738"/>
                </a:lnTo>
                <a:lnTo>
                  <a:pt x="1295" y="1740"/>
                </a:lnTo>
                <a:lnTo>
                  <a:pt x="1299" y="1740"/>
                </a:lnTo>
                <a:lnTo>
                  <a:pt x="1302" y="1740"/>
                </a:lnTo>
                <a:lnTo>
                  <a:pt x="1307" y="1738"/>
                </a:lnTo>
                <a:lnTo>
                  <a:pt x="1311" y="1736"/>
                </a:lnTo>
                <a:lnTo>
                  <a:pt x="1315" y="1735"/>
                </a:lnTo>
                <a:lnTo>
                  <a:pt x="1321" y="1734"/>
                </a:lnTo>
                <a:lnTo>
                  <a:pt x="1326" y="1733"/>
                </a:lnTo>
                <a:lnTo>
                  <a:pt x="1332" y="1733"/>
                </a:lnTo>
                <a:lnTo>
                  <a:pt x="1337" y="1733"/>
                </a:lnTo>
                <a:lnTo>
                  <a:pt x="1346" y="1735"/>
                </a:lnTo>
                <a:lnTo>
                  <a:pt x="1357" y="1738"/>
                </a:lnTo>
                <a:lnTo>
                  <a:pt x="1357" y="1735"/>
                </a:lnTo>
                <a:lnTo>
                  <a:pt x="1357" y="1733"/>
                </a:lnTo>
                <a:lnTo>
                  <a:pt x="1357" y="1732"/>
                </a:lnTo>
                <a:lnTo>
                  <a:pt x="1360" y="1732"/>
                </a:lnTo>
                <a:lnTo>
                  <a:pt x="1362" y="1733"/>
                </a:lnTo>
                <a:lnTo>
                  <a:pt x="1364" y="1735"/>
                </a:lnTo>
                <a:lnTo>
                  <a:pt x="1368" y="1739"/>
                </a:lnTo>
                <a:lnTo>
                  <a:pt x="1371" y="1744"/>
                </a:lnTo>
                <a:lnTo>
                  <a:pt x="1374" y="1749"/>
                </a:lnTo>
                <a:lnTo>
                  <a:pt x="1389" y="1766"/>
                </a:lnTo>
                <a:lnTo>
                  <a:pt x="1394" y="1770"/>
                </a:lnTo>
                <a:lnTo>
                  <a:pt x="1399" y="1775"/>
                </a:lnTo>
                <a:lnTo>
                  <a:pt x="1403" y="1778"/>
                </a:lnTo>
                <a:lnTo>
                  <a:pt x="1407" y="1780"/>
                </a:lnTo>
                <a:lnTo>
                  <a:pt x="1410" y="1780"/>
                </a:lnTo>
                <a:lnTo>
                  <a:pt x="1412" y="1779"/>
                </a:lnTo>
                <a:lnTo>
                  <a:pt x="1415" y="1778"/>
                </a:lnTo>
                <a:lnTo>
                  <a:pt x="1416" y="1779"/>
                </a:lnTo>
                <a:lnTo>
                  <a:pt x="1419" y="1780"/>
                </a:lnTo>
                <a:lnTo>
                  <a:pt x="1427" y="1791"/>
                </a:lnTo>
                <a:lnTo>
                  <a:pt x="1432" y="1792"/>
                </a:lnTo>
                <a:lnTo>
                  <a:pt x="1438" y="1791"/>
                </a:lnTo>
                <a:lnTo>
                  <a:pt x="1444" y="1791"/>
                </a:lnTo>
                <a:lnTo>
                  <a:pt x="1450" y="1791"/>
                </a:lnTo>
                <a:lnTo>
                  <a:pt x="1452" y="1792"/>
                </a:lnTo>
                <a:lnTo>
                  <a:pt x="1456" y="1794"/>
                </a:lnTo>
                <a:lnTo>
                  <a:pt x="1458" y="1795"/>
                </a:lnTo>
                <a:lnTo>
                  <a:pt x="1460" y="1796"/>
                </a:lnTo>
                <a:lnTo>
                  <a:pt x="1462" y="1797"/>
                </a:lnTo>
                <a:lnTo>
                  <a:pt x="1464" y="1797"/>
                </a:lnTo>
                <a:lnTo>
                  <a:pt x="1465" y="1796"/>
                </a:lnTo>
                <a:lnTo>
                  <a:pt x="1465" y="1795"/>
                </a:lnTo>
                <a:lnTo>
                  <a:pt x="1466" y="1794"/>
                </a:lnTo>
                <a:lnTo>
                  <a:pt x="1467" y="1793"/>
                </a:lnTo>
                <a:lnTo>
                  <a:pt x="1469" y="1793"/>
                </a:lnTo>
                <a:lnTo>
                  <a:pt x="1473" y="1790"/>
                </a:lnTo>
                <a:lnTo>
                  <a:pt x="1473" y="1797"/>
                </a:lnTo>
                <a:lnTo>
                  <a:pt x="1474" y="1799"/>
                </a:lnTo>
                <a:lnTo>
                  <a:pt x="1474" y="1800"/>
                </a:lnTo>
                <a:lnTo>
                  <a:pt x="1473" y="1801"/>
                </a:lnTo>
                <a:lnTo>
                  <a:pt x="1472" y="1802"/>
                </a:lnTo>
                <a:lnTo>
                  <a:pt x="1472" y="1803"/>
                </a:lnTo>
                <a:lnTo>
                  <a:pt x="1472" y="1805"/>
                </a:lnTo>
                <a:lnTo>
                  <a:pt x="1474" y="1807"/>
                </a:lnTo>
                <a:lnTo>
                  <a:pt x="1478" y="1809"/>
                </a:lnTo>
                <a:lnTo>
                  <a:pt x="1481" y="1812"/>
                </a:lnTo>
                <a:lnTo>
                  <a:pt x="1483" y="1813"/>
                </a:lnTo>
                <a:lnTo>
                  <a:pt x="1485" y="1816"/>
                </a:lnTo>
                <a:lnTo>
                  <a:pt x="1485" y="1818"/>
                </a:lnTo>
                <a:lnTo>
                  <a:pt x="1486" y="1822"/>
                </a:lnTo>
                <a:lnTo>
                  <a:pt x="1487" y="1826"/>
                </a:lnTo>
                <a:lnTo>
                  <a:pt x="1489" y="1830"/>
                </a:lnTo>
                <a:lnTo>
                  <a:pt x="1491" y="1832"/>
                </a:lnTo>
                <a:lnTo>
                  <a:pt x="1493" y="1833"/>
                </a:lnTo>
                <a:lnTo>
                  <a:pt x="1496" y="1835"/>
                </a:lnTo>
                <a:lnTo>
                  <a:pt x="1497" y="1836"/>
                </a:lnTo>
                <a:lnTo>
                  <a:pt x="1500" y="1840"/>
                </a:lnTo>
                <a:lnTo>
                  <a:pt x="1501" y="1845"/>
                </a:lnTo>
                <a:lnTo>
                  <a:pt x="1502" y="1849"/>
                </a:lnTo>
                <a:lnTo>
                  <a:pt x="1502" y="1853"/>
                </a:lnTo>
                <a:lnTo>
                  <a:pt x="1501" y="1857"/>
                </a:lnTo>
                <a:lnTo>
                  <a:pt x="1500" y="1861"/>
                </a:lnTo>
                <a:lnTo>
                  <a:pt x="1497" y="1870"/>
                </a:lnTo>
                <a:lnTo>
                  <a:pt x="1499" y="1871"/>
                </a:lnTo>
                <a:lnTo>
                  <a:pt x="1501" y="1872"/>
                </a:lnTo>
                <a:lnTo>
                  <a:pt x="1503" y="1874"/>
                </a:lnTo>
                <a:lnTo>
                  <a:pt x="1505" y="1877"/>
                </a:lnTo>
                <a:lnTo>
                  <a:pt x="1506" y="1878"/>
                </a:lnTo>
                <a:lnTo>
                  <a:pt x="1514" y="1875"/>
                </a:lnTo>
                <a:lnTo>
                  <a:pt x="1515" y="1872"/>
                </a:lnTo>
                <a:lnTo>
                  <a:pt x="1514" y="1870"/>
                </a:lnTo>
                <a:lnTo>
                  <a:pt x="1515" y="1869"/>
                </a:lnTo>
                <a:lnTo>
                  <a:pt x="1517" y="1867"/>
                </a:lnTo>
                <a:lnTo>
                  <a:pt x="1522" y="1873"/>
                </a:lnTo>
                <a:lnTo>
                  <a:pt x="1527" y="1878"/>
                </a:lnTo>
                <a:lnTo>
                  <a:pt x="1533" y="1882"/>
                </a:lnTo>
                <a:lnTo>
                  <a:pt x="1540" y="1887"/>
                </a:lnTo>
                <a:lnTo>
                  <a:pt x="1539" y="1895"/>
                </a:lnTo>
                <a:lnTo>
                  <a:pt x="1539" y="1898"/>
                </a:lnTo>
                <a:lnTo>
                  <a:pt x="1540" y="1901"/>
                </a:lnTo>
                <a:lnTo>
                  <a:pt x="1540" y="1906"/>
                </a:lnTo>
                <a:lnTo>
                  <a:pt x="1541" y="1907"/>
                </a:lnTo>
                <a:lnTo>
                  <a:pt x="1542" y="1907"/>
                </a:lnTo>
                <a:lnTo>
                  <a:pt x="1542" y="1905"/>
                </a:lnTo>
                <a:lnTo>
                  <a:pt x="1543" y="1904"/>
                </a:lnTo>
                <a:lnTo>
                  <a:pt x="1542" y="1898"/>
                </a:lnTo>
                <a:lnTo>
                  <a:pt x="1548" y="1898"/>
                </a:lnTo>
                <a:lnTo>
                  <a:pt x="1551" y="1909"/>
                </a:lnTo>
                <a:lnTo>
                  <a:pt x="1557" y="1909"/>
                </a:lnTo>
                <a:lnTo>
                  <a:pt x="1563" y="1909"/>
                </a:lnTo>
                <a:lnTo>
                  <a:pt x="1569" y="1909"/>
                </a:lnTo>
                <a:lnTo>
                  <a:pt x="1572" y="1910"/>
                </a:lnTo>
                <a:lnTo>
                  <a:pt x="1576" y="1912"/>
                </a:lnTo>
                <a:lnTo>
                  <a:pt x="1576" y="1916"/>
                </a:lnTo>
                <a:lnTo>
                  <a:pt x="1576" y="1920"/>
                </a:lnTo>
                <a:lnTo>
                  <a:pt x="1579" y="1921"/>
                </a:lnTo>
                <a:lnTo>
                  <a:pt x="1582" y="1920"/>
                </a:lnTo>
                <a:lnTo>
                  <a:pt x="1585" y="1920"/>
                </a:lnTo>
                <a:lnTo>
                  <a:pt x="1586" y="1920"/>
                </a:lnTo>
                <a:lnTo>
                  <a:pt x="1587" y="1920"/>
                </a:lnTo>
                <a:lnTo>
                  <a:pt x="1587" y="1926"/>
                </a:lnTo>
                <a:lnTo>
                  <a:pt x="1597" y="1928"/>
                </a:lnTo>
                <a:lnTo>
                  <a:pt x="1602" y="1929"/>
                </a:lnTo>
                <a:lnTo>
                  <a:pt x="1607" y="1929"/>
                </a:lnTo>
                <a:lnTo>
                  <a:pt x="1608" y="1929"/>
                </a:lnTo>
                <a:lnTo>
                  <a:pt x="1608" y="1928"/>
                </a:lnTo>
                <a:lnTo>
                  <a:pt x="1606" y="1927"/>
                </a:lnTo>
                <a:lnTo>
                  <a:pt x="1602" y="1926"/>
                </a:lnTo>
                <a:lnTo>
                  <a:pt x="1601" y="1927"/>
                </a:lnTo>
                <a:lnTo>
                  <a:pt x="1600" y="1928"/>
                </a:lnTo>
                <a:lnTo>
                  <a:pt x="1599" y="1927"/>
                </a:lnTo>
                <a:lnTo>
                  <a:pt x="1599" y="1926"/>
                </a:lnTo>
                <a:lnTo>
                  <a:pt x="1600" y="1925"/>
                </a:lnTo>
                <a:lnTo>
                  <a:pt x="1602" y="1924"/>
                </a:lnTo>
                <a:lnTo>
                  <a:pt x="1604" y="1923"/>
                </a:lnTo>
                <a:lnTo>
                  <a:pt x="1602" y="1918"/>
                </a:lnTo>
                <a:lnTo>
                  <a:pt x="1602" y="1915"/>
                </a:lnTo>
                <a:lnTo>
                  <a:pt x="1596" y="1915"/>
                </a:lnTo>
                <a:lnTo>
                  <a:pt x="1596" y="1909"/>
                </a:lnTo>
                <a:lnTo>
                  <a:pt x="1604" y="1905"/>
                </a:lnTo>
                <a:lnTo>
                  <a:pt x="1610" y="1901"/>
                </a:lnTo>
                <a:lnTo>
                  <a:pt x="1608" y="1901"/>
                </a:lnTo>
                <a:lnTo>
                  <a:pt x="1609" y="1899"/>
                </a:lnTo>
                <a:lnTo>
                  <a:pt x="1613" y="1895"/>
                </a:lnTo>
                <a:lnTo>
                  <a:pt x="1614" y="1895"/>
                </a:lnTo>
                <a:lnTo>
                  <a:pt x="1616" y="1894"/>
                </a:lnTo>
                <a:lnTo>
                  <a:pt x="1618" y="1892"/>
                </a:lnTo>
                <a:lnTo>
                  <a:pt x="1621" y="1897"/>
                </a:lnTo>
                <a:lnTo>
                  <a:pt x="1624" y="1902"/>
                </a:lnTo>
                <a:lnTo>
                  <a:pt x="1630" y="1912"/>
                </a:lnTo>
                <a:lnTo>
                  <a:pt x="1636" y="1910"/>
                </a:lnTo>
                <a:lnTo>
                  <a:pt x="1641" y="1909"/>
                </a:lnTo>
                <a:lnTo>
                  <a:pt x="1639" y="1913"/>
                </a:lnTo>
                <a:lnTo>
                  <a:pt x="1638" y="1915"/>
                </a:lnTo>
                <a:lnTo>
                  <a:pt x="1635" y="1932"/>
                </a:lnTo>
                <a:lnTo>
                  <a:pt x="1637" y="1933"/>
                </a:lnTo>
                <a:lnTo>
                  <a:pt x="1639" y="1936"/>
                </a:lnTo>
                <a:lnTo>
                  <a:pt x="1641" y="1939"/>
                </a:lnTo>
                <a:lnTo>
                  <a:pt x="1644" y="1940"/>
                </a:lnTo>
                <a:lnTo>
                  <a:pt x="1646" y="1940"/>
                </a:lnTo>
                <a:lnTo>
                  <a:pt x="1648" y="1940"/>
                </a:lnTo>
                <a:lnTo>
                  <a:pt x="1650" y="1940"/>
                </a:lnTo>
                <a:lnTo>
                  <a:pt x="1651" y="1940"/>
                </a:lnTo>
                <a:lnTo>
                  <a:pt x="1652" y="1940"/>
                </a:lnTo>
                <a:lnTo>
                  <a:pt x="1652" y="1955"/>
                </a:lnTo>
                <a:lnTo>
                  <a:pt x="1653" y="1959"/>
                </a:lnTo>
                <a:lnTo>
                  <a:pt x="1653" y="1962"/>
                </a:lnTo>
                <a:lnTo>
                  <a:pt x="1654" y="1964"/>
                </a:lnTo>
                <a:lnTo>
                  <a:pt x="1655" y="1965"/>
                </a:lnTo>
                <a:lnTo>
                  <a:pt x="1652" y="1976"/>
                </a:lnTo>
                <a:lnTo>
                  <a:pt x="1650" y="1988"/>
                </a:lnTo>
                <a:lnTo>
                  <a:pt x="1647" y="2000"/>
                </a:lnTo>
                <a:lnTo>
                  <a:pt x="1644" y="2013"/>
                </a:lnTo>
                <a:lnTo>
                  <a:pt x="1650" y="2016"/>
                </a:lnTo>
                <a:lnTo>
                  <a:pt x="1653" y="2017"/>
                </a:lnTo>
                <a:lnTo>
                  <a:pt x="1655" y="2019"/>
                </a:lnTo>
                <a:lnTo>
                  <a:pt x="1649" y="2026"/>
                </a:lnTo>
                <a:lnTo>
                  <a:pt x="1646" y="2029"/>
                </a:lnTo>
                <a:lnTo>
                  <a:pt x="1643" y="2032"/>
                </a:lnTo>
                <a:lnTo>
                  <a:pt x="1635" y="2037"/>
                </a:lnTo>
                <a:lnTo>
                  <a:pt x="1627" y="2041"/>
                </a:lnTo>
                <a:lnTo>
                  <a:pt x="1629" y="2043"/>
                </a:lnTo>
                <a:lnTo>
                  <a:pt x="1629" y="2045"/>
                </a:lnTo>
                <a:lnTo>
                  <a:pt x="1627" y="2047"/>
                </a:lnTo>
                <a:lnTo>
                  <a:pt x="1626" y="2049"/>
                </a:lnTo>
                <a:lnTo>
                  <a:pt x="1625" y="2051"/>
                </a:lnTo>
                <a:lnTo>
                  <a:pt x="1624" y="2052"/>
                </a:lnTo>
                <a:lnTo>
                  <a:pt x="1624" y="2053"/>
                </a:lnTo>
                <a:lnTo>
                  <a:pt x="1625" y="2054"/>
                </a:lnTo>
                <a:lnTo>
                  <a:pt x="1626" y="2056"/>
                </a:lnTo>
                <a:lnTo>
                  <a:pt x="1627" y="2057"/>
                </a:lnTo>
                <a:lnTo>
                  <a:pt x="1630" y="2058"/>
                </a:lnTo>
                <a:lnTo>
                  <a:pt x="1627" y="2059"/>
                </a:lnTo>
                <a:lnTo>
                  <a:pt x="1624" y="2059"/>
                </a:lnTo>
                <a:lnTo>
                  <a:pt x="1618" y="2058"/>
                </a:lnTo>
                <a:lnTo>
                  <a:pt x="1619" y="2060"/>
                </a:lnTo>
                <a:lnTo>
                  <a:pt x="1619" y="2062"/>
                </a:lnTo>
                <a:lnTo>
                  <a:pt x="1621" y="2067"/>
                </a:lnTo>
                <a:lnTo>
                  <a:pt x="1611" y="2074"/>
                </a:lnTo>
                <a:lnTo>
                  <a:pt x="1602" y="2081"/>
                </a:lnTo>
                <a:lnTo>
                  <a:pt x="1603" y="2083"/>
                </a:lnTo>
                <a:lnTo>
                  <a:pt x="1605" y="2085"/>
                </a:lnTo>
                <a:lnTo>
                  <a:pt x="1605" y="2087"/>
                </a:lnTo>
                <a:lnTo>
                  <a:pt x="1606" y="2089"/>
                </a:lnTo>
                <a:lnTo>
                  <a:pt x="1605" y="2093"/>
                </a:lnTo>
                <a:lnTo>
                  <a:pt x="1603" y="2097"/>
                </a:lnTo>
                <a:lnTo>
                  <a:pt x="1599" y="2103"/>
                </a:lnTo>
                <a:lnTo>
                  <a:pt x="1597" y="2105"/>
                </a:lnTo>
                <a:lnTo>
                  <a:pt x="1596" y="2106"/>
                </a:lnTo>
                <a:lnTo>
                  <a:pt x="1595" y="2109"/>
                </a:lnTo>
                <a:lnTo>
                  <a:pt x="1596" y="2111"/>
                </a:lnTo>
                <a:lnTo>
                  <a:pt x="1596" y="2112"/>
                </a:lnTo>
                <a:lnTo>
                  <a:pt x="1596" y="2113"/>
                </a:lnTo>
                <a:lnTo>
                  <a:pt x="1597" y="2115"/>
                </a:lnTo>
                <a:lnTo>
                  <a:pt x="1599" y="2119"/>
                </a:lnTo>
                <a:lnTo>
                  <a:pt x="1599" y="2121"/>
                </a:lnTo>
                <a:lnTo>
                  <a:pt x="1599" y="2123"/>
                </a:lnTo>
                <a:lnTo>
                  <a:pt x="1597" y="2125"/>
                </a:lnTo>
                <a:lnTo>
                  <a:pt x="1594" y="2127"/>
                </a:lnTo>
                <a:lnTo>
                  <a:pt x="1587" y="2131"/>
                </a:lnTo>
                <a:lnTo>
                  <a:pt x="1589" y="2134"/>
                </a:lnTo>
                <a:lnTo>
                  <a:pt x="1590" y="2135"/>
                </a:lnTo>
                <a:lnTo>
                  <a:pt x="1591" y="2135"/>
                </a:lnTo>
                <a:lnTo>
                  <a:pt x="1592" y="2135"/>
                </a:lnTo>
                <a:lnTo>
                  <a:pt x="1593" y="2134"/>
                </a:lnTo>
                <a:lnTo>
                  <a:pt x="1590" y="2143"/>
                </a:lnTo>
                <a:lnTo>
                  <a:pt x="1590" y="2144"/>
                </a:lnTo>
                <a:lnTo>
                  <a:pt x="1589" y="2148"/>
                </a:lnTo>
                <a:lnTo>
                  <a:pt x="1589" y="2151"/>
                </a:lnTo>
                <a:lnTo>
                  <a:pt x="1589" y="2152"/>
                </a:lnTo>
                <a:lnTo>
                  <a:pt x="1590" y="2153"/>
                </a:lnTo>
                <a:lnTo>
                  <a:pt x="1591" y="2154"/>
                </a:lnTo>
                <a:lnTo>
                  <a:pt x="1593" y="2154"/>
                </a:lnTo>
                <a:lnTo>
                  <a:pt x="1592" y="2156"/>
                </a:lnTo>
                <a:lnTo>
                  <a:pt x="1590" y="2160"/>
                </a:lnTo>
                <a:lnTo>
                  <a:pt x="1589" y="2163"/>
                </a:lnTo>
                <a:lnTo>
                  <a:pt x="1587" y="2165"/>
                </a:lnTo>
                <a:lnTo>
                  <a:pt x="1589" y="2166"/>
                </a:lnTo>
                <a:lnTo>
                  <a:pt x="1591" y="2166"/>
                </a:lnTo>
                <a:lnTo>
                  <a:pt x="1595" y="2168"/>
                </a:lnTo>
                <a:lnTo>
                  <a:pt x="1599" y="2169"/>
                </a:lnTo>
                <a:lnTo>
                  <a:pt x="1601" y="2170"/>
                </a:lnTo>
                <a:lnTo>
                  <a:pt x="1602" y="2171"/>
                </a:lnTo>
                <a:lnTo>
                  <a:pt x="1602" y="2172"/>
                </a:lnTo>
                <a:lnTo>
                  <a:pt x="1601" y="2174"/>
                </a:lnTo>
                <a:lnTo>
                  <a:pt x="1600" y="2176"/>
                </a:lnTo>
                <a:lnTo>
                  <a:pt x="1601" y="2178"/>
                </a:lnTo>
                <a:lnTo>
                  <a:pt x="1602" y="2179"/>
                </a:lnTo>
                <a:lnTo>
                  <a:pt x="1591" y="2189"/>
                </a:lnTo>
                <a:lnTo>
                  <a:pt x="1587" y="2193"/>
                </a:lnTo>
                <a:lnTo>
                  <a:pt x="1583" y="2197"/>
                </a:lnTo>
                <a:lnTo>
                  <a:pt x="1580" y="2201"/>
                </a:lnTo>
                <a:lnTo>
                  <a:pt x="1580" y="2203"/>
                </a:lnTo>
                <a:lnTo>
                  <a:pt x="1579" y="2205"/>
                </a:lnTo>
                <a:lnTo>
                  <a:pt x="1579" y="2207"/>
                </a:lnTo>
                <a:lnTo>
                  <a:pt x="1580" y="2209"/>
                </a:lnTo>
                <a:lnTo>
                  <a:pt x="1582" y="2213"/>
                </a:lnTo>
                <a:lnTo>
                  <a:pt x="1585" y="2219"/>
                </a:lnTo>
                <a:lnTo>
                  <a:pt x="1583" y="2219"/>
                </a:lnTo>
                <a:lnTo>
                  <a:pt x="1581" y="2220"/>
                </a:lnTo>
                <a:lnTo>
                  <a:pt x="1581" y="2221"/>
                </a:lnTo>
                <a:lnTo>
                  <a:pt x="1581" y="2222"/>
                </a:lnTo>
                <a:lnTo>
                  <a:pt x="1581" y="2223"/>
                </a:lnTo>
                <a:lnTo>
                  <a:pt x="1582" y="2224"/>
                </a:lnTo>
                <a:lnTo>
                  <a:pt x="1587" y="2227"/>
                </a:lnTo>
                <a:lnTo>
                  <a:pt x="1588" y="2229"/>
                </a:lnTo>
                <a:lnTo>
                  <a:pt x="1587" y="2231"/>
                </a:lnTo>
                <a:lnTo>
                  <a:pt x="1586" y="2235"/>
                </a:lnTo>
                <a:lnTo>
                  <a:pt x="1584" y="2238"/>
                </a:lnTo>
                <a:lnTo>
                  <a:pt x="1584" y="2239"/>
                </a:lnTo>
                <a:lnTo>
                  <a:pt x="1585" y="2241"/>
                </a:lnTo>
                <a:lnTo>
                  <a:pt x="1586" y="2243"/>
                </a:lnTo>
                <a:lnTo>
                  <a:pt x="1588" y="2244"/>
                </a:lnTo>
                <a:lnTo>
                  <a:pt x="1594" y="2248"/>
                </a:lnTo>
                <a:lnTo>
                  <a:pt x="1600" y="2252"/>
                </a:lnTo>
                <a:lnTo>
                  <a:pt x="1604" y="2255"/>
                </a:lnTo>
                <a:lnTo>
                  <a:pt x="1606" y="2258"/>
                </a:lnTo>
                <a:lnTo>
                  <a:pt x="1607" y="2262"/>
                </a:lnTo>
                <a:lnTo>
                  <a:pt x="1608" y="2266"/>
                </a:lnTo>
                <a:lnTo>
                  <a:pt x="1610" y="2269"/>
                </a:lnTo>
                <a:lnTo>
                  <a:pt x="1611" y="2270"/>
                </a:lnTo>
                <a:lnTo>
                  <a:pt x="1612" y="2271"/>
                </a:lnTo>
                <a:lnTo>
                  <a:pt x="1615" y="2272"/>
                </a:lnTo>
                <a:lnTo>
                  <a:pt x="1619" y="2273"/>
                </a:lnTo>
                <a:lnTo>
                  <a:pt x="1621" y="2275"/>
                </a:lnTo>
                <a:lnTo>
                  <a:pt x="1623" y="2278"/>
                </a:lnTo>
                <a:lnTo>
                  <a:pt x="1624" y="2282"/>
                </a:lnTo>
                <a:lnTo>
                  <a:pt x="1625" y="2286"/>
                </a:lnTo>
                <a:lnTo>
                  <a:pt x="1627" y="2289"/>
                </a:lnTo>
                <a:lnTo>
                  <a:pt x="1629" y="2291"/>
                </a:lnTo>
                <a:lnTo>
                  <a:pt x="1632" y="2293"/>
                </a:lnTo>
                <a:lnTo>
                  <a:pt x="1636" y="2295"/>
                </a:lnTo>
                <a:lnTo>
                  <a:pt x="1638" y="2297"/>
                </a:lnTo>
                <a:lnTo>
                  <a:pt x="1641" y="2303"/>
                </a:lnTo>
                <a:lnTo>
                  <a:pt x="1644" y="2308"/>
                </a:lnTo>
                <a:lnTo>
                  <a:pt x="1645" y="2314"/>
                </a:lnTo>
                <a:lnTo>
                  <a:pt x="1647" y="2319"/>
                </a:lnTo>
                <a:lnTo>
                  <a:pt x="1649" y="2332"/>
                </a:lnTo>
                <a:lnTo>
                  <a:pt x="1652" y="2345"/>
                </a:lnTo>
                <a:lnTo>
                  <a:pt x="1655" y="2352"/>
                </a:lnTo>
                <a:lnTo>
                  <a:pt x="1659" y="2361"/>
                </a:lnTo>
                <a:lnTo>
                  <a:pt x="1669" y="2382"/>
                </a:lnTo>
                <a:lnTo>
                  <a:pt x="1674" y="2393"/>
                </a:lnTo>
                <a:lnTo>
                  <a:pt x="1678" y="2403"/>
                </a:lnTo>
                <a:lnTo>
                  <a:pt x="1679" y="2408"/>
                </a:lnTo>
                <a:lnTo>
                  <a:pt x="1680" y="2412"/>
                </a:lnTo>
                <a:lnTo>
                  <a:pt x="1681" y="2415"/>
                </a:lnTo>
                <a:lnTo>
                  <a:pt x="1680" y="2418"/>
                </a:lnTo>
                <a:lnTo>
                  <a:pt x="1677" y="2424"/>
                </a:lnTo>
                <a:lnTo>
                  <a:pt x="1680" y="2427"/>
                </a:lnTo>
                <a:lnTo>
                  <a:pt x="1683" y="2430"/>
                </a:lnTo>
                <a:lnTo>
                  <a:pt x="1687" y="2433"/>
                </a:lnTo>
                <a:lnTo>
                  <a:pt x="1689" y="2435"/>
                </a:lnTo>
                <a:lnTo>
                  <a:pt x="1690" y="2438"/>
                </a:lnTo>
                <a:lnTo>
                  <a:pt x="1691" y="2440"/>
                </a:lnTo>
                <a:lnTo>
                  <a:pt x="1691" y="2444"/>
                </a:lnTo>
                <a:lnTo>
                  <a:pt x="1692" y="2448"/>
                </a:lnTo>
                <a:lnTo>
                  <a:pt x="1694" y="2452"/>
                </a:lnTo>
                <a:lnTo>
                  <a:pt x="1698" y="2455"/>
                </a:lnTo>
                <a:lnTo>
                  <a:pt x="1704" y="2458"/>
                </a:lnTo>
                <a:lnTo>
                  <a:pt x="1710" y="2461"/>
                </a:lnTo>
                <a:lnTo>
                  <a:pt x="1714" y="2463"/>
                </a:lnTo>
                <a:lnTo>
                  <a:pt x="1715" y="2465"/>
                </a:lnTo>
                <a:lnTo>
                  <a:pt x="1717" y="2468"/>
                </a:lnTo>
                <a:lnTo>
                  <a:pt x="1718" y="2470"/>
                </a:lnTo>
                <a:lnTo>
                  <a:pt x="1720" y="2472"/>
                </a:lnTo>
                <a:lnTo>
                  <a:pt x="1734" y="2480"/>
                </a:lnTo>
                <a:lnTo>
                  <a:pt x="1748" y="2488"/>
                </a:lnTo>
                <a:lnTo>
                  <a:pt x="1754" y="2492"/>
                </a:lnTo>
                <a:lnTo>
                  <a:pt x="1761" y="2497"/>
                </a:lnTo>
                <a:lnTo>
                  <a:pt x="1764" y="2499"/>
                </a:lnTo>
                <a:lnTo>
                  <a:pt x="1766" y="2502"/>
                </a:lnTo>
                <a:lnTo>
                  <a:pt x="1772" y="2508"/>
                </a:lnTo>
                <a:lnTo>
                  <a:pt x="1775" y="2512"/>
                </a:lnTo>
                <a:lnTo>
                  <a:pt x="1777" y="2517"/>
                </a:lnTo>
                <a:lnTo>
                  <a:pt x="1780" y="2522"/>
                </a:lnTo>
                <a:lnTo>
                  <a:pt x="1782" y="2528"/>
                </a:lnTo>
                <a:lnTo>
                  <a:pt x="1784" y="2539"/>
                </a:lnTo>
                <a:lnTo>
                  <a:pt x="1785" y="2551"/>
                </a:lnTo>
                <a:lnTo>
                  <a:pt x="1785" y="2563"/>
                </a:lnTo>
                <a:lnTo>
                  <a:pt x="1784" y="2575"/>
                </a:lnTo>
                <a:lnTo>
                  <a:pt x="1783" y="2602"/>
                </a:lnTo>
                <a:lnTo>
                  <a:pt x="1782" y="2616"/>
                </a:lnTo>
                <a:lnTo>
                  <a:pt x="1782" y="2630"/>
                </a:lnTo>
                <a:lnTo>
                  <a:pt x="1776" y="2630"/>
                </a:lnTo>
                <a:lnTo>
                  <a:pt x="1776" y="2633"/>
                </a:lnTo>
                <a:lnTo>
                  <a:pt x="1776" y="2635"/>
                </a:lnTo>
                <a:lnTo>
                  <a:pt x="1778" y="2638"/>
                </a:lnTo>
                <a:lnTo>
                  <a:pt x="1780" y="2640"/>
                </a:lnTo>
                <a:lnTo>
                  <a:pt x="1782" y="2642"/>
                </a:lnTo>
                <a:lnTo>
                  <a:pt x="1779" y="2649"/>
                </a:lnTo>
                <a:lnTo>
                  <a:pt x="1776" y="2656"/>
                </a:lnTo>
                <a:lnTo>
                  <a:pt x="1775" y="2660"/>
                </a:lnTo>
                <a:lnTo>
                  <a:pt x="1776" y="2665"/>
                </a:lnTo>
                <a:lnTo>
                  <a:pt x="1777" y="2674"/>
                </a:lnTo>
                <a:lnTo>
                  <a:pt x="1778" y="2682"/>
                </a:lnTo>
                <a:lnTo>
                  <a:pt x="1779" y="2686"/>
                </a:lnTo>
                <a:lnTo>
                  <a:pt x="1779" y="2689"/>
                </a:lnTo>
                <a:lnTo>
                  <a:pt x="1773" y="2698"/>
                </a:lnTo>
                <a:lnTo>
                  <a:pt x="1772" y="2705"/>
                </a:lnTo>
                <a:lnTo>
                  <a:pt x="1772" y="2714"/>
                </a:lnTo>
                <a:lnTo>
                  <a:pt x="1771" y="2725"/>
                </a:lnTo>
                <a:lnTo>
                  <a:pt x="1770" y="2737"/>
                </a:lnTo>
                <a:lnTo>
                  <a:pt x="1768" y="2748"/>
                </a:lnTo>
                <a:lnTo>
                  <a:pt x="1767" y="2753"/>
                </a:lnTo>
                <a:lnTo>
                  <a:pt x="1766" y="2758"/>
                </a:lnTo>
                <a:lnTo>
                  <a:pt x="1765" y="2762"/>
                </a:lnTo>
                <a:lnTo>
                  <a:pt x="1763" y="2766"/>
                </a:lnTo>
                <a:lnTo>
                  <a:pt x="1761" y="2769"/>
                </a:lnTo>
                <a:lnTo>
                  <a:pt x="1759" y="2771"/>
                </a:lnTo>
                <a:lnTo>
                  <a:pt x="1765" y="2788"/>
                </a:lnTo>
                <a:lnTo>
                  <a:pt x="1766" y="2789"/>
                </a:lnTo>
                <a:lnTo>
                  <a:pt x="1767" y="2791"/>
                </a:lnTo>
                <a:lnTo>
                  <a:pt x="1767" y="2794"/>
                </a:lnTo>
                <a:lnTo>
                  <a:pt x="1767" y="2797"/>
                </a:lnTo>
                <a:lnTo>
                  <a:pt x="1766" y="2800"/>
                </a:lnTo>
                <a:lnTo>
                  <a:pt x="1763" y="2807"/>
                </a:lnTo>
                <a:lnTo>
                  <a:pt x="1761" y="2811"/>
                </a:lnTo>
                <a:lnTo>
                  <a:pt x="1760" y="2814"/>
                </a:lnTo>
                <a:lnTo>
                  <a:pt x="1759" y="2818"/>
                </a:lnTo>
                <a:lnTo>
                  <a:pt x="1759" y="2822"/>
                </a:lnTo>
                <a:lnTo>
                  <a:pt x="1760" y="2825"/>
                </a:lnTo>
                <a:lnTo>
                  <a:pt x="1761" y="2829"/>
                </a:lnTo>
                <a:lnTo>
                  <a:pt x="1764" y="2839"/>
                </a:lnTo>
                <a:lnTo>
                  <a:pt x="1765" y="2845"/>
                </a:lnTo>
                <a:lnTo>
                  <a:pt x="1766" y="2852"/>
                </a:lnTo>
                <a:lnTo>
                  <a:pt x="1766" y="2858"/>
                </a:lnTo>
                <a:lnTo>
                  <a:pt x="1765" y="2864"/>
                </a:lnTo>
                <a:lnTo>
                  <a:pt x="1764" y="2865"/>
                </a:lnTo>
                <a:lnTo>
                  <a:pt x="1763" y="2866"/>
                </a:lnTo>
                <a:lnTo>
                  <a:pt x="1759" y="2868"/>
                </a:lnTo>
                <a:lnTo>
                  <a:pt x="1756" y="2870"/>
                </a:lnTo>
                <a:lnTo>
                  <a:pt x="1754" y="2871"/>
                </a:lnTo>
                <a:lnTo>
                  <a:pt x="1753" y="2872"/>
                </a:lnTo>
                <a:lnTo>
                  <a:pt x="1753" y="2877"/>
                </a:lnTo>
                <a:lnTo>
                  <a:pt x="1753" y="2883"/>
                </a:lnTo>
                <a:lnTo>
                  <a:pt x="1753" y="2895"/>
                </a:lnTo>
                <a:lnTo>
                  <a:pt x="1750" y="2896"/>
                </a:lnTo>
                <a:lnTo>
                  <a:pt x="1748" y="2898"/>
                </a:lnTo>
                <a:lnTo>
                  <a:pt x="1741" y="2924"/>
                </a:lnTo>
                <a:lnTo>
                  <a:pt x="1739" y="2935"/>
                </a:lnTo>
                <a:lnTo>
                  <a:pt x="1739" y="2936"/>
                </a:lnTo>
                <a:lnTo>
                  <a:pt x="1739" y="2934"/>
                </a:lnTo>
                <a:lnTo>
                  <a:pt x="1741" y="2936"/>
                </a:lnTo>
                <a:lnTo>
                  <a:pt x="1741" y="2937"/>
                </a:lnTo>
                <a:lnTo>
                  <a:pt x="1741" y="2938"/>
                </a:lnTo>
                <a:lnTo>
                  <a:pt x="1740" y="2939"/>
                </a:lnTo>
                <a:lnTo>
                  <a:pt x="1739" y="2940"/>
                </a:lnTo>
                <a:lnTo>
                  <a:pt x="1736" y="2951"/>
                </a:lnTo>
                <a:lnTo>
                  <a:pt x="1732" y="2967"/>
                </a:lnTo>
                <a:lnTo>
                  <a:pt x="1729" y="2974"/>
                </a:lnTo>
                <a:lnTo>
                  <a:pt x="1726" y="2980"/>
                </a:lnTo>
                <a:lnTo>
                  <a:pt x="1725" y="2982"/>
                </a:lnTo>
                <a:lnTo>
                  <a:pt x="1723" y="2984"/>
                </a:lnTo>
                <a:lnTo>
                  <a:pt x="1721" y="2985"/>
                </a:lnTo>
                <a:lnTo>
                  <a:pt x="1720" y="2985"/>
                </a:lnTo>
                <a:lnTo>
                  <a:pt x="1723" y="2986"/>
                </a:lnTo>
                <a:lnTo>
                  <a:pt x="1728" y="2988"/>
                </a:lnTo>
                <a:lnTo>
                  <a:pt x="1729" y="2993"/>
                </a:lnTo>
                <a:lnTo>
                  <a:pt x="1729" y="2997"/>
                </a:lnTo>
                <a:lnTo>
                  <a:pt x="1730" y="3002"/>
                </a:lnTo>
                <a:lnTo>
                  <a:pt x="1731" y="3007"/>
                </a:lnTo>
                <a:lnTo>
                  <a:pt x="1733" y="3021"/>
                </a:lnTo>
                <a:lnTo>
                  <a:pt x="1734" y="3034"/>
                </a:lnTo>
                <a:lnTo>
                  <a:pt x="1734" y="3044"/>
                </a:lnTo>
                <a:lnTo>
                  <a:pt x="1728" y="3044"/>
                </a:lnTo>
                <a:lnTo>
                  <a:pt x="1724" y="3063"/>
                </a:lnTo>
                <a:lnTo>
                  <a:pt x="1722" y="3072"/>
                </a:lnTo>
                <a:lnTo>
                  <a:pt x="1722" y="3076"/>
                </a:lnTo>
                <a:lnTo>
                  <a:pt x="1722" y="3079"/>
                </a:lnTo>
                <a:lnTo>
                  <a:pt x="1722" y="3082"/>
                </a:lnTo>
                <a:lnTo>
                  <a:pt x="1723" y="3085"/>
                </a:lnTo>
                <a:lnTo>
                  <a:pt x="1724" y="3086"/>
                </a:lnTo>
                <a:lnTo>
                  <a:pt x="1725" y="3087"/>
                </a:lnTo>
                <a:lnTo>
                  <a:pt x="1727" y="3088"/>
                </a:lnTo>
                <a:lnTo>
                  <a:pt x="1729" y="3089"/>
                </a:lnTo>
                <a:lnTo>
                  <a:pt x="1733" y="3090"/>
                </a:lnTo>
                <a:lnTo>
                  <a:pt x="1737" y="3090"/>
                </a:lnTo>
                <a:lnTo>
                  <a:pt x="1742" y="3089"/>
                </a:lnTo>
                <a:lnTo>
                  <a:pt x="1740" y="3106"/>
                </a:lnTo>
                <a:lnTo>
                  <a:pt x="1740" y="3115"/>
                </a:lnTo>
                <a:lnTo>
                  <a:pt x="1739" y="3126"/>
                </a:lnTo>
                <a:lnTo>
                  <a:pt x="1734" y="3128"/>
                </a:lnTo>
                <a:lnTo>
                  <a:pt x="1734" y="3132"/>
                </a:lnTo>
                <a:lnTo>
                  <a:pt x="1734" y="3134"/>
                </a:lnTo>
                <a:lnTo>
                  <a:pt x="1735" y="3136"/>
                </a:lnTo>
                <a:lnTo>
                  <a:pt x="1737" y="3138"/>
                </a:lnTo>
                <a:lnTo>
                  <a:pt x="1738" y="3140"/>
                </a:lnTo>
                <a:lnTo>
                  <a:pt x="1739" y="3142"/>
                </a:lnTo>
                <a:lnTo>
                  <a:pt x="1739" y="3145"/>
                </a:lnTo>
                <a:lnTo>
                  <a:pt x="1739" y="3148"/>
                </a:lnTo>
                <a:lnTo>
                  <a:pt x="1737" y="3151"/>
                </a:lnTo>
                <a:lnTo>
                  <a:pt x="1734" y="3153"/>
                </a:lnTo>
                <a:lnTo>
                  <a:pt x="1732" y="3154"/>
                </a:lnTo>
                <a:lnTo>
                  <a:pt x="1732" y="3155"/>
                </a:lnTo>
                <a:lnTo>
                  <a:pt x="1731" y="3156"/>
                </a:lnTo>
                <a:lnTo>
                  <a:pt x="1731" y="3157"/>
                </a:lnTo>
                <a:lnTo>
                  <a:pt x="1732" y="3157"/>
                </a:lnTo>
                <a:lnTo>
                  <a:pt x="1734" y="3156"/>
                </a:lnTo>
                <a:lnTo>
                  <a:pt x="1734" y="3162"/>
                </a:lnTo>
                <a:lnTo>
                  <a:pt x="1732" y="3162"/>
                </a:lnTo>
                <a:lnTo>
                  <a:pt x="1730" y="3160"/>
                </a:lnTo>
                <a:lnTo>
                  <a:pt x="1729" y="3159"/>
                </a:lnTo>
                <a:lnTo>
                  <a:pt x="1728" y="3159"/>
                </a:lnTo>
                <a:lnTo>
                  <a:pt x="1726" y="3167"/>
                </a:lnTo>
                <a:lnTo>
                  <a:pt x="1726" y="3174"/>
                </a:lnTo>
                <a:lnTo>
                  <a:pt x="1726" y="3186"/>
                </a:lnTo>
                <a:lnTo>
                  <a:pt x="1726" y="3199"/>
                </a:lnTo>
                <a:lnTo>
                  <a:pt x="1726" y="3207"/>
                </a:lnTo>
                <a:lnTo>
                  <a:pt x="1725" y="3216"/>
                </a:lnTo>
                <a:lnTo>
                  <a:pt x="1720" y="3212"/>
                </a:lnTo>
                <a:lnTo>
                  <a:pt x="1717" y="3210"/>
                </a:lnTo>
                <a:lnTo>
                  <a:pt x="1716" y="3210"/>
                </a:lnTo>
                <a:lnTo>
                  <a:pt x="1714" y="3210"/>
                </a:lnTo>
                <a:lnTo>
                  <a:pt x="1716" y="3211"/>
                </a:lnTo>
                <a:lnTo>
                  <a:pt x="1716" y="3212"/>
                </a:lnTo>
                <a:lnTo>
                  <a:pt x="1715" y="3213"/>
                </a:lnTo>
                <a:lnTo>
                  <a:pt x="1714" y="3214"/>
                </a:lnTo>
                <a:lnTo>
                  <a:pt x="1710" y="3215"/>
                </a:lnTo>
                <a:lnTo>
                  <a:pt x="1708" y="3216"/>
                </a:lnTo>
                <a:lnTo>
                  <a:pt x="1708" y="3214"/>
                </a:lnTo>
                <a:lnTo>
                  <a:pt x="1709" y="3213"/>
                </a:lnTo>
                <a:lnTo>
                  <a:pt x="1711" y="3210"/>
                </a:lnTo>
                <a:lnTo>
                  <a:pt x="1705" y="3207"/>
                </a:lnTo>
                <a:lnTo>
                  <a:pt x="1703" y="3206"/>
                </a:lnTo>
                <a:lnTo>
                  <a:pt x="1700" y="3204"/>
                </a:lnTo>
                <a:lnTo>
                  <a:pt x="1699" y="3206"/>
                </a:lnTo>
                <a:lnTo>
                  <a:pt x="1699" y="3207"/>
                </a:lnTo>
                <a:lnTo>
                  <a:pt x="1698" y="3207"/>
                </a:lnTo>
                <a:lnTo>
                  <a:pt x="1697" y="3206"/>
                </a:lnTo>
                <a:lnTo>
                  <a:pt x="1696" y="3206"/>
                </a:lnTo>
                <a:lnTo>
                  <a:pt x="1694" y="3207"/>
                </a:lnTo>
                <a:lnTo>
                  <a:pt x="1694" y="3213"/>
                </a:lnTo>
                <a:lnTo>
                  <a:pt x="1693" y="3219"/>
                </a:lnTo>
                <a:lnTo>
                  <a:pt x="1689" y="3230"/>
                </a:lnTo>
                <a:lnTo>
                  <a:pt x="1697" y="3224"/>
                </a:lnTo>
                <a:lnTo>
                  <a:pt x="1697" y="3228"/>
                </a:lnTo>
                <a:lnTo>
                  <a:pt x="1697" y="3232"/>
                </a:lnTo>
                <a:lnTo>
                  <a:pt x="1702" y="3232"/>
                </a:lnTo>
                <a:lnTo>
                  <a:pt x="1706" y="3232"/>
                </a:lnTo>
                <a:lnTo>
                  <a:pt x="1705" y="3232"/>
                </a:lnTo>
                <a:lnTo>
                  <a:pt x="1706" y="3231"/>
                </a:lnTo>
                <a:lnTo>
                  <a:pt x="1709" y="3228"/>
                </a:lnTo>
                <a:lnTo>
                  <a:pt x="1711" y="3228"/>
                </a:lnTo>
                <a:lnTo>
                  <a:pt x="1714" y="3228"/>
                </a:lnTo>
                <a:lnTo>
                  <a:pt x="1715" y="3229"/>
                </a:lnTo>
                <a:lnTo>
                  <a:pt x="1717" y="3232"/>
                </a:lnTo>
                <a:lnTo>
                  <a:pt x="1717" y="3236"/>
                </a:lnTo>
                <a:lnTo>
                  <a:pt x="1716" y="3240"/>
                </a:lnTo>
                <a:lnTo>
                  <a:pt x="1714" y="3244"/>
                </a:lnTo>
                <a:lnTo>
                  <a:pt x="1716" y="3245"/>
                </a:lnTo>
                <a:lnTo>
                  <a:pt x="1719" y="3249"/>
                </a:lnTo>
                <a:lnTo>
                  <a:pt x="1719" y="3250"/>
                </a:lnTo>
                <a:lnTo>
                  <a:pt x="1719" y="3251"/>
                </a:lnTo>
                <a:lnTo>
                  <a:pt x="1718" y="3252"/>
                </a:lnTo>
                <a:lnTo>
                  <a:pt x="1716" y="3252"/>
                </a:lnTo>
                <a:lnTo>
                  <a:pt x="1711" y="3252"/>
                </a:lnTo>
                <a:lnTo>
                  <a:pt x="1712" y="3265"/>
                </a:lnTo>
                <a:lnTo>
                  <a:pt x="1712" y="3275"/>
                </a:lnTo>
                <a:lnTo>
                  <a:pt x="1712" y="3285"/>
                </a:lnTo>
                <a:lnTo>
                  <a:pt x="1711" y="3297"/>
                </a:lnTo>
                <a:lnTo>
                  <a:pt x="1714" y="3294"/>
                </a:lnTo>
                <a:lnTo>
                  <a:pt x="1715" y="3292"/>
                </a:lnTo>
                <a:lnTo>
                  <a:pt x="1717" y="3292"/>
                </a:lnTo>
                <a:lnTo>
                  <a:pt x="1718" y="3292"/>
                </a:lnTo>
                <a:lnTo>
                  <a:pt x="1718" y="3293"/>
                </a:lnTo>
                <a:lnTo>
                  <a:pt x="1716" y="3297"/>
                </a:lnTo>
                <a:lnTo>
                  <a:pt x="1713" y="3301"/>
                </a:lnTo>
                <a:lnTo>
                  <a:pt x="1711" y="3303"/>
                </a:lnTo>
                <a:lnTo>
                  <a:pt x="1710" y="3305"/>
                </a:lnTo>
                <a:lnTo>
                  <a:pt x="1710" y="3309"/>
                </a:lnTo>
                <a:lnTo>
                  <a:pt x="1710" y="3312"/>
                </a:lnTo>
                <a:lnTo>
                  <a:pt x="1709" y="3313"/>
                </a:lnTo>
                <a:lnTo>
                  <a:pt x="1708" y="3314"/>
                </a:lnTo>
                <a:lnTo>
                  <a:pt x="1706" y="3315"/>
                </a:lnTo>
                <a:lnTo>
                  <a:pt x="1706" y="3314"/>
                </a:lnTo>
                <a:lnTo>
                  <a:pt x="1706" y="3312"/>
                </a:lnTo>
                <a:lnTo>
                  <a:pt x="1706" y="3311"/>
                </a:lnTo>
                <a:lnTo>
                  <a:pt x="1707" y="3298"/>
                </a:lnTo>
                <a:lnTo>
                  <a:pt x="1707" y="3285"/>
                </a:lnTo>
                <a:lnTo>
                  <a:pt x="1705" y="3273"/>
                </a:lnTo>
                <a:lnTo>
                  <a:pt x="1703" y="3261"/>
                </a:lnTo>
                <a:lnTo>
                  <a:pt x="1700" y="3261"/>
                </a:lnTo>
                <a:lnTo>
                  <a:pt x="1697" y="3261"/>
                </a:lnTo>
                <a:lnTo>
                  <a:pt x="1692" y="3261"/>
                </a:lnTo>
                <a:lnTo>
                  <a:pt x="1691" y="3262"/>
                </a:lnTo>
                <a:lnTo>
                  <a:pt x="1692" y="3262"/>
                </a:lnTo>
                <a:lnTo>
                  <a:pt x="1693" y="3264"/>
                </a:lnTo>
                <a:lnTo>
                  <a:pt x="1695" y="3265"/>
                </a:lnTo>
                <a:lnTo>
                  <a:pt x="1695" y="3266"/>
                </a:lnTo>
                <a:lnTo>
                  <a:pt x="1694" y="3266"/>
                </a:lnTo>
                <a:lnTo>
                  <a:pt x="1689" y="3270"/>
                </a:lnTo>
                <a:lnTo>
                  <a:pt x="1687" y="3271"/>
                </a:lnTo>
                <a:lnTo>
                  <a:pt x="1686" y="3273"/>
                </a:lnTo>
                <a:lnTo>
                  <a:pt x="1685" y="3276"/>
                </a:lnTo>
                <a:lnTo>
                  <a:pt x="1686" y="3279"/>
                </a:lnTo>
                <a:lnTo>
                  <a:pt x="1689" y="3285"/>
                </a:lnTo>
                <a:lnTo>
                  <a:pt x="1690" y="3287"/>
                </a:lnTo>
                <a:lnTo>
                  <a:pt x="1691" y="3288"/>
                </a:lnTo>
                <a:lnTo>
                  <a:pt x="1692" y="3292"/>
                </a:lnTo>
                <a:lnTo>
                  <a:pt x="1692" y="3296"/>
                </a:lnTo>
                <a:lnTo>
                  <a:pt x="1691" y="3298"/>
                </a:lnTo>
                <a:lnTo>
                  <a:pt x="1689" y="3298"/>
                </a:lnTo>
                <a:lnTo>
                  <a:pt x="1686" y="3300"/>
                </a:lnTo>
                <a:lnTo>
                  <a:pt x="1687" y="3303"/>
                </a:lnTo>
                <a:lnTo>
                  <a:pt x="1688" y="3305"/>
                </a:lnTo>
                <a:lnTo>
                  <a:pt x="1689" y="3308"/>
                </a:lnTo>
                <a:lnTo>
                  <a:pt x="1689" y="3311"/>
                </a:lnTo>
                <a:lnTo>
                  <a:pt x="1693" y="3312"/>
                </a:lnTo>
                <a:lnTo>
                  <a:pt x="1697" y="3313"/>
                </a:lnTo>
                <a:lnTo>
                  <a:pt x="1701" y="3313"/>
                </a:lnTo>
                <a:lnTo>
                  <a:pt x="1706" y="3314"/>
                </a:lnTo>
                <a:lnTo>
                  <a:pt x="1705" y="3318"/>
                </a:lnTo>
                <a:lnTo>
                  <a:pt x="1706" y="3322"/>
                </a:lnTo>
                <a:lnTo>
                  <a:pt x="1707" y="3323"/>
                </a:lnTo>
                <a:lnTo>
                  <a:pt x="1708" y="3323"/>
                </a:lnTo>
                <a:lnTo>
                  <a:pt x="1710" y="3322"/>
                </a:lnTo>
                <a:lnTo>
                  <a:pt x="1712" y="3322"/>
                </a:lnTo>
                <a:lnTo>
                  <a:pt x="1713" y="3322"/>
                </a:lnTo>
                <a:lnTo>
                  <a:pt x="1714" y="3322"/>
                </a:lnTo>
                <a:lnTo>
                  <a:pt x="1714" y="3324"/>
                </a:lnTo>
                <a:lnTo>
                  <a:pt x="1714" y="3326"/>
                </a:lnTo>
                <a:lnTo>
                  <a:pt x="1714" y="3329"/>
                </a:lnTo>
                <a:lnTo>
                  <a:pt x="1714" y="3331"/>
                </a:lnTo>
                <a:lnTo>
                  <a:pt x="1710" y="3328"/>
                </a:lnTo>
                <a:lnTo>
                  <a:pt x="1708" y="3326"/>
                </a:lnTo>
                <a:lnTo>
                  <a:pt x="1706" y="3325"/>
                </a:lnTo>
                <a:lnTo>
                  <a:pt x="1706" y="3326"/>
                </a:lnTo>
                <a:lnTo>
                  <a:pt x="1707" y="3326"/>
                </a:lnTo>
                <a:lnTo>
                  <a:pt x="1707" y="3328"/>
                </a:lnTo>
                <a:lnTo>
                  <a:pt x="1707" y="3333"/>
                </a:lnTo>
                <a:lnTo>
                  <a:pt x="1707" y="3336"/>
                </a:lnTo>
                <a:lnTo>
                  <a:pt x="1706" y="3336"/>
                </a:lnTo>
                <a:lnTo>
                  <a:pt x="1706" y="3334"/>
                </a:lnTo>
                <a:lnTo>
                  <a:pt x="1702" y="3332"/>
                </a:lnTo>
                <a:lnTo>
                  <a:pt x="1697" y="3331"/>
                </a:lnTo>
                <a:lnTo>
                  <a:pt x="1697" y="3339"/>
                </a:lnTo>
                <a:lnTo>
                  <a:pt x="1694" y="3339"/>
                </a:lnTo>
                <a:lnTo>
                  <a:pt x="1695" y="3348"/>
                </a:lnTo>
                <a:lnTo>
                  <a:pt x="1694" y="3356"/>
                </a:lnTo>
                <a:lnTo>
                  <a:pt x="1698" y="3356"/>
                </a:lnTo>
                <a:lnTo>
                  <a:pt x="1703" y="3356"/>
                </a:lnTo>
                <a:lnTo>
                  <a:pt x="1705" y="3351"/>
                </a:lnTo>
                <a:lnTo>
                  <a:pt x="1707" y="3347"/>
                </a:lnTo>
                <a:lnTo>
                  <a:pt x="1708" y="3345"/>
                </a:lnTo>
                <a:lnTo>
                  <a:pt x="1710" y="3349"/>
                </a:lnTo>
                <a:lnTo>
                  <a:pt x="1711" y="3351"/>
                </a:lnTo>
                <a:lnTo>
                  <a:pt x="1711" y="3344"/>
                </a:lnTo>
                <a:lnTo>
                  <a:pt x="1710" y="3341"/>
                </a:lnTo>
                <a:lnTo>
                  <a:pt x="1710" y="3340"/>
                </a:lnTo>
                <a:lnTo>
                  <a:pt x="1710" y="3339"/>
                </a:lnTo>
                <a:lnTo>
                  <a:pt x="1714" y="3337"/>
                </a:lnTo>
                <a:lnTo>
                  <a:pt x="1714" y="3331"/>
                </a:lnTo>
                <a:lnTo>
                  <a:pt x="1716" y="3332"/>
                </a:lnTo>
                <a:lnTo>
                  <a:pt x="1717" y="3333"/>
                </a:lnTo>
                <a:lnTo>
                  <a:pt x="1719" y="3334"/>
                </a:lnTo>
                <a:lnTo>
                  <a:pt x="1721" y="3334"/>
                </a:lnTo>
                <a:lnTo>
                  <a:pt x="1722" y="3334"/>
                </a:lnTo>
                <a:lnTo>
                  <a:pt x="1719" y="3337"/>
                </a:lnTo>
                <a:lnTo>
                  <a:pt x="1716" y="3341"/>
                </a:lnTo>
                <a:lnTo>
                  <a:pt x="1715" y="3343"/>
                </a:lnTo>
                <a:lnTo>
                  <a:pt x="1715" y="3346"/>
                </a:lnTo>
                <a:lnTo>
                  <a:pt x="1715" y="3347"/>
                </a:lnTo>
                <a:lnTo>
                  <a:pt x="1715" y="3348"/>
                </a:lnTo>
                <a:lnTo>
                  <a:pt x="1716" y="3349"/>
                </a:lnTo>
                <a:lnTo>
                  <a:pt x="1717" y="3348"/>
                </a:lnTo>
                <a:lnTo>
                  <a:pt x="1720" y="3348"/>
                </a:lnTo>
                <a:lnTo>
                  <a:pt x="1719" y="3354"/>
                </a:lnTo>
                <a:lnTo>
                  <a:pt x="1718" y="3357"/>
                </a:lnTo>
                <a:lnTo>
                  <a:pt x="1717" y="3357"/>
                </a:lnTo>
                <a:lnTo>
                  <a:pt x="1717" y="3356"/>
                </a:lnTo>
                <a:lnTo>
                  <a:pt x="1717" y="3362"/>
                </a:lnTo>
                <a:lnTo>
                  <a:pt x="1715" y="3362"/>
                </a:lnTo>
                <a:lnTo>
                  <a:pt x="1713" y="3362"/>
                </a:lnTo>
                <a:lnTo>
                  <a:pt x="1712" y="3361"/>
                </a:lnTo>
                <a:lnTo>
                  <a:pt x="1711" y="3359"/>
                </a:lnTo>
                <a:lnTo>
                  <a:pt x="1710" y="3359"/>
                </a:lnTo>
                <a:lnTo>
                  <a:pt x="1708" y="3359"/>
                </a:lnTo>
                <a:lnTo>
                  <a:pt x="1708" y="3365"/>
                </a:lnTo>
                <a:lnTo>
                  <a:pt x="1707" y="3365"/>
                </a:lnTo>
                <a:lnTo>
                  <a:pt x="1704" y="3364"/>
                </a:lnTo>
                <a:lnTo>
                  <a:pt x="1703" y="3364"/>
                </a:lnTo>
                <a:lnTo>
                  <a:pt x="1703" y="3363"/>
                </a:lnTo>
                <a:lnTo>
                  <a:pt x="1706" y="3362"/>
                </a:lnTo>
                <a:lnTo>
                  <a:pt x="1702" y="3363"/>
                </a:lnTo>
                <a:lnTo>
                  <a:pt x="1699" y="3362"/>
                </a:lnTo>
                <a:lnTo>
                  <a:pt x="1692" y="3362"/>
                </a:lnTo>
                <a:lnTo>
                  <a:pt x="1694" y="3368"/>
                </a:lnTo>
                <a:lnTo>
                  <a:pt x="1696" y="3373"/>
                </a:lnTo>
                <a:lnTo>
                  <a:pt x="1699" y="3384"/>
                </a:lnTo>
                <a:lnTo>
                  <a:pt x="1701" y="3388"/>
                </a:lnTo>
                <a:lnTo>
                  <a:pt x="1703" y="3390"/>
                </a:lnTo>
                <a:lnTo>
                  <a:pt x="1704" y="3392"/>
                </a:lnTo>
                <a:lnTo>
                  <a:pt x="1709" y="3396"/>
                </a:lnTo>
                <a:lnTo>
                  <a:pt x="1711" y="3397"/>
                </a:lnTo>
                <a:lnTo>
                  <a:pt x="1714" y="3398"/>
                </a:lnTo>
                <a:lnTo>
                  <a:pt x="1720" y="3399"/>
                </a:lnTo>
                <a:lnTo>
                  <a:pt x="1723" y="3399"/>
                </a:lnTo>
                <a:lnTo>
                  <a:pt x="1722" y="3398"/>
                </a:lnTo>
                <a:lnTo>
                  <a:pt x="1715" y="3394"/>
                </a:lnTo>
                <a:lnTo>
                  <a:pt x="1709" y="3390"/>
                </a:lnTo>
                <a:lnTo>
                  <a:pt x="1707" y="3388"/>
                </a:lnTo>
                <a:lnTo>
                  <a:pt x="1707" y="3387"/>
                </a:lnTo>
                <a:lnTo>
                  <a:pt x="1708" y="3387"/>
                </a:lnTo>
                <a:lnTo>
                  <a:pt x="1709" y="3386"/>
                </a:lnTo>
                <a:lnTo>
                  <a:pt x="1711" y="3386"/>
                </a:lnTo>
                <a:lnTo>
                  <a:pt x="1717" y="3387"/>
                </a:lnTo>
                <a:lnTo>
                  <a:pt x="1717" y="3383"/>
                </a:lnTo>
                <a:lnTo>
                  <a:pt x="1717" y="3379"/>
                </a:lnTo>
                <a:lnTo>
                  <a:pt x="1717" y="3374"/>
                </a:lnTo>
                <a:lnTo>
                  <a:pt x="1717" y="3370"/>
                </a:lnTo>
                <a:lnTo>
                  <a:pt x="1714" y="3368"/>
                </a:lnTo>
                <a:lnTo>
                  <a:pt x="1712" y="3367"/>
                </a:lnTo>
                <a:lnTo>
                  <a:pt x="1712" y="3366"/>
                </a:lnTo>
                <a:lnTo>
                  <a:pt x="1711" y="3365"/>
                </a:lnTo>
                <a:lnTo>
                  <a:pt x="1713" y="3365"/>
                </a:lnTo>
                <a:lnTo>
                  <a:pt x="1715" y="3364"/>
                </a:lnTo>
                <a:lnTo>
                  <a:pt x="1718" y="3363"/>
                </a:lnTo>
                <a:lnTo>
                  <a:pt x="1720" y="3362"/>
                </a:lnTo>
                <a:lnTo>
                  <a:pt x="1721" y="3362"/>
                </a:lnTo>
                <a:lnTo>
                  <a:pt x="1722" y="3362"/>
                </a:lnTo>
                <a:lnTo>
                  <a:pt x="1723" y="3364"/>
                </a:lnTo>
                <a:lnTo>
                  <a:pt x="1724" y="3365"/>
                </a:lnTo>
                <a:lnTo>
                  <a:pt x="1725" y="3366"/>
                </a:lnTo>
                <a:lnTo>
                  <a:pt x="1728" y="3367"/>
                </a:lnTo>
                <a:lnTo>
                  <a:pt x="1731" y="3363"/>
                </a:lnTo>
                <a:lnTo>
                  <a:pt x="1734" y="3359"/>
                </a:lnTo>
                <a:lnTo>
                  <a:pt x="1736" y="3359"/>
                </a:lnTo>
                <a:lnTo>
                  <a:pt x="1738" y="3359"/>
                </a:lnTo>
                <a:lnTo>
                  <a:pt x="1741" y="3361"/>
                </a:lnTo>
                <a:lnTo>
                  <a:pt x="1742" y="3362"/>
                </a:lnTo>
                <a:lnTo>
                  <a:pt x="1742" y="3363"/>
                </a:lnTo>
                <a:lnTo>
                  <a:pt x="1741" y="3364"/>
                </a:lnTo>
                <a:lnTo>
                  <a:pt x="1739" y="3365"/>
                </a:lnTo>
                <a:lnTo>
                  <a:pt x="1737" y="3368"/>
                </a:lnTo>
                <a:lnTo>
                  <a:pt x="1737" y="3367"/>
                </a:lnTo>
                <a:lnTo>
                  <a:pt x="1737" y="3366"/>
                </a:lnTo>
                <a:lnTo>
                  <a:pt x="1736" y="3364"/>
                </a:lnTo>
                <a:lnTo>
                  <a:pt x="1735" y="3364"/>
                </a:lnTo>
                <a:lnTo>
                  <a:pt x="1734" y="3365"/>
                </a:lnTo>
                <a:lnTo>
                  <a:pt x="1733" y="3367"/>
                </a:lnTo>
                <a:lnTo>
                  <a:pt x="1733" y="3370"/>
                </a:lnTo>
                <a:lnTo>
                  <a:pt x="1734" y="3376"/>
                </a:lnTo>
                <a:lnTo>
                  <a:pt x="1732" y="3375"/>
                </a:lnTo>
                <a:lnTo>
                  <a:pt x="1730" y="3373"/>
                </a:lnTo>
                <a:lnTo>
                  <a:pt x="1729" y="3371"/>
                </a:lnTo>
                <a:lnTo>
                  <a:pt x="1728" y="3370"/>
                </a:lnTo>
                <a:lnTo>
                  <a:pt x="1723" y="3374"/>
                </a:lnTo>
                <a:lnTo>
                  <a:pt x="1721" y="3376"/>
                </a:lnTo>
                <a:lnTo>
                  <a:pt x="1722" y="3376"/>
                </a:lnTo>
                <a:lnTo>
                  <a:pt x="1724" y="3387"/>
                </a:lnTo>
                <a:lnTo>
                  <a:pt x="1725" y="3396"/>
                </a:lnTo>
                <a:lnTo>
                  <a:pt x="1730" y="3395"/>
                </a:lnTo>
                <a:lnTo>
                  <a:pt x="1732" y="3396"/>
                </a:lnTo>
                <a:lnTo>
                  <a:pt x="1733" y="3397"/>
                </a:lnTo>
                <a:lnTo>
                  <a:pt x="1732" y="3398"/>
                </a:lnTo>
                <a:lnTo>
                  <a:pt x="1729" y="3398"/>
                </a:lnTo>
                <a:lnTo>
                  <a:pt x="1725" y="3398"/>
                </a:lnTo>
                <a:lnTo>
                  <a:pt x="1725" y="3403"/>
                </a:lnTo>
                <a:lnTo>
                  <a:pt x="1724" y="3406"/>
                </a:lnTo>
                <a:lnTo>
                  <a:pt x="1724" y="3409"/>
                </a:lnTo>
                <a:lnTo>
                  <a:pt x="1722" y="3412"/>
                </a:lnTo>
                <a:lnTo>
                  <a:pt x="1725" y="3414"/>
                </a:lnTo>
                <a:lnTo>
                  <a:pt x="1728" y="3415"/>
                </a:lnTo>
                <a:lnTo>
                  <a:pt x="1731" y="3415"/>
                </a:lnTo>
                <a:lnTo>
                  <a:pt x="1731" y="3416"/>
                </a:lnTo>
                <a:lnTo>
                  <a:pt x="1731" y="3415"/>
                </a:lnTo>
                <a:lnTo>
                  <a:pt x="1734" y="3415"/>
                </a:lnTo>
                <a:lnTo>
                  <a:pt x="1734" y="3421"/>
                </a:lnTo>
                <a:lnTo>
                  <a:pt x="1732" y="3420"/>
                </a:lnTo>
                <a:lnTo>
                  <a:pt x="1731" y="3421"/>
                </a:lnTo>
                <a:lnTo>
                  <a:pt x="1732" y="3422"/>
                </a:lnTo>
                <a:lnTo>
                  <a:pt x="1735" y="3423"/>
                </a:lnTo>
                <a:lnTo>
                  <a:pt x="1742" y="3427"/>
                </a:lnTo>
                <a:lnTo>
                  <a:pt x="1744" y="3426"/>
                </a:lnTo>
                <a:lnTo>
                  <a:pt x="1745" y="3425"/>
                </a:lnTo>
                <a:lnTo>
                  <a:pt x="1745" y="3424"/>
                </a:lnTo>
                <a:lnTo>
                  <a:pt x="1745" y="3422"/>
                </a:lnTo>
                <a:lnTo>
                  <a:pt x="1745" y="3421"/>
                </a:lnTo>
                <a:lnTo>
                  <a:pt x="1744" y="3420"/>
                </a:lnTo>
                <a:lnTo>
                  <a:pt x="1743" y="3419"/>
                </a:lnTo>
                <a:lnTo>
                  <a:pt x="1742" y="3418"/>
                </a:lnTo>
                <a:lnTo>
                  <a:pt x="1745" y="3410"/>
                </a:lnTo>
                <a:lnTo>
                  <a:pt x="1739" y="3409"/>
                </a:lnTo>
                <a:lnTo>
                  <a:pt x="1737" y="3408"/>
                </a:lnTo>
                <a:lnTo>
                  <a:pt x="1737" y="3407"/>
                </a:lnTo>
                <a:lnTo>
                  <a:pt x="1738" y="3406"/>
                </a:lnTo>
                <a:lnTo>
                  <a:pt x="1742" y="3404"/>
                </a:lnTo>
                <a:lnTo>
                  <a:pt x="1743" y="3404"/>
                </a:lnTo>
                <a:lnTo>
                  <a:pt x="1742" y="3404"/>
                </a:lnTo>
                <a:lnTo>
                  <a:pt x="1743" y="3402"/>
                </a:lnTo>
                <a:lnTo>
                  <a:pt x="1745" y="3401"/>
                </a:lnTo>
                <a:lnTo>
                  <a:pt x="1746" y="3401"/>
                </a:lnTo>
                <a:lnTo>
                  <a:pt x="1748" y="3401"/>
                </a:lnTo>
                <a:lnTo>
                  <a:pt x="1748" y="3403"/>
                </a:lnTo>
                <a:lnTo>
                  <a:pt x="1749" y="3407"/>
                </a:lnTo>
                <a:lnTo>
                  <a:pt x="1750" y="3410"/>
                </a:lnTo>
                <a:lnTo>
                  <a:pt x="1750" y="3412"/>
                </a:lnTo>
                <a:lnTo>
                  <a:pt x="1751" y="3412"/>
                </a:lnTo>
                <a:lnTo>
                  <a:pt x="1754" y="3414"/>
                </a:lnTo>
                <a:lnTo>
                  <a:pt x="1758" y="3414"/>
                </a:lnTo>
                <a:lnTo>
                  <a:pt x="1765" y="3415"/>
                </a:lnTo>
                <a:lnTo>
                  <a:pt x="1764" y="3419"/>
                </a:lnTo>
                <a:lnTo>
                  <a:pt x="1765" y="3424"/>
                </a:lnTo>
                <a:lnTo>
                  <a:pt x="1757" y="3421"/>
                </a:lnTo>
                <a:lnTo>
                  <a:pt x="1748" y="3418"/>
                </a:lnTo>
                <a:lnTo>
                  <a:pt x="1751" y="3423"/>
                </a:lnTo>
                <a:lnTo>
                  <a:pt x="1753" y="3429"/>
                </a:lnTo>
                <a:lnTo>
                  <a:pt x="1756" y="3429"/>
                </a:lnTo>
                <a:lnTo>
                  <a:pt x="1760" y="3428"/>
                </a:lnTo>
                <a:lnTo>
                  <a:pt x="1765" y="3427"/>
                </a:lnTo>
                <a:lnTo>
                  <a:pt x="1772" y="3427"/>
                </a:lnTo>
                <a:lnTo>
                  <a:pt x="1773" y="3427"/>
                </a:lnTo>
                <a:lnTo>
                  <a:pt x="1773" y="3428"/>
                </a:lnTo>
                <a:lnTo>
                  <a:pt x="1771" y="3429"/>
                </a:lnTo>
                <a:lnTo>
                  <a:pt x="1766" y="3431"/>
                </a:lnTo>
                <a:lnTo>
                  <a:pt x="1754" y="3434"/>
                </a:lnTo>
                <a:lnTo>
                  <a:pt x="1748" y="3435"/>
                </a:lnTo>
                <a:lnTo>
                  <a:pt x="1748" y="3443"/>
                </a:lnTo>
                <a:lnTo>
                  <a:pt x="1750" y="3443"/>
                </a:lnTo>
                <a:lnTo>
                  <a:pt x="1751" y="3443"/>
                </a:lnTo>
                <a:lnTo>
                  <a:pt x="1751" y="3442"/>
                </a:lnTo>
                <a:lnTo>
                  <a:pt x="1750" y="3440"/>
                </a:lnTo>
                <a:lnTo>
                  <a:pt x="1750" y="3439"/>
                </a:lnTo>
                <a:lnTo>
                  <a:pt x="1751" y="3438"/>
                </a:lnTo>
                <a:lnTo>
                  <a:pt x="1755" y="3439"/>
                </a:lnTo>
                <a:lnTo>
                  <a:pt x="1758" y="3439"/>
                </a:lnTo>
                <a:lnTo>
                  <a:pt x="1762" y="3440"/>
                </a:lnTo>
                <a:lnTo>
                  <a:pt x="1767" y="3441"/>
                </a:lnTo>
                <a:lnTo>
                  <a:pt x="1767" y="3446"/>
                </a:lnTo>
                <a:lnTo>
                  <a:pt x="1771" y="3446"/>
                </a:lnTo>
                <a:lnTo>
                  <a:pt x="1775" y="3446"/>
                </a:lnTo>
                <a:lnTo>
                  <a:pt x="1778" y="3446"/>
                </a:lnTo>
                <a:lnTo>
                  <a:pt x="1782" y="3446"/>
                </a:lnTo>
                <a:lnTo>
                  <a:pt x="1782" y="3447"/>
                </a:lnTo>
                <a:lnTo>
                  <a:pt x="1782" y="3449"/>
                </a:lnTo>
                <a:lnTo>
                  <a:pt x="1782" y="3450"/>
                </a:lnTo>
                <a:lnTo>
                  <a:pt x="1784" y="3452"/>
                </a:lnTo>
                <a:lnTo>
                  <a:pt x="1790" y="3449"/>
                </a:lnTo>
                <a:lnTo>
                  <a:pt x="1790" y="3450"/>
                </a:lnTo>
                <a:lnTo>
                  <a:pt x="1790" y="3452"/>
                </a:lnTo>
                <a:lnTo>
                  <a:pt x="1790" y="3453"/>
                </a:lnTo>
                <a:lnTo>
                  <a:pt x="1788" y="3454"/>
                </a:lnTo>
                <a:lnTo>
                  <a:pt x="1786" y="3454"/>
                </a:lnTo>
                <a:lnTo>
                  <a:pt x="1782" y="3455"/>
                </a:lnTo>
                <a:lnTo>
                  <a:pt x="1785" y="3459"/>
                </a:lnTo>
                <a:lnTo>
                  <a:pt x="1787" y="3463"/>
                </a:lnTo>
                <a:lnTo>
                  <a:pt x="1790" y="3464"/>
                </a:lnTo>
                <a:lnTo>
                  <a:pt x="1793" y="3464"/>
                </a:lnTo>
                <a:lnTo>
                  <a:pt x="1796" y="3466"/>
                </a:lnTo>
                <a:lnTo>
                  <a:pt x="1799" y="3466"/>
                </a:lnTo>
                <a:lnTo>
                  <a:pt x="1800" y="3466"/>
                </a:lnTo>
                <a:lnTo>
                  <a:pt x="1801" y="3465"/>
                </a:lnTo>
                <a:lnTo>
                  <a:pt x="1800" y="3463"/>
                </a:lnTo>
                <a:lnTo>
                  <a:pt x="1799" y="3462"/>
                </a:lnTo>
                <a:lnTo>
                  <a:pt x="1799" y="3460"/>
                </a:lnTo>
                <a:lnTo>
                  <a:pt x="1799" y="3459"/>
                </a:lnTo>
                <a:lnTo>
                  <a:pt x="1800" y="3458"/>
                </a:lnTo>
                <a:lnTo>
                  <a:pt x="1801" y="3457"/>
                </a:lnTo>
                <a:lnTo>
                  <a:pt x="1803" y="3457"/>
                </a:lnTo>
                <a:lnTo>
                  <a:pt x="1806" y="3457"/>
                </a:lnTo>
                <a:lnTo>
                  <a:pt x="1812" y="3458"/>
                </a:lnTo>
                <a:lnTo>
                  <a:pt x="1814" y="3458"/>
                </a:lnTo>
                <a:lnTo>
                  <a:pt x="1815" y="3458"/>
                </a:lnTo>
                <a:lnTo>
                  <a:pt x="1815" y="3457"/>
                </a:lnTo>
                <a:lnTo>
                  <a:pt x="1812" y="3455"/>
                </a:lnTo>
                <a:lnTo>
                  <a:pt x="1812" y="3449"/>
                </a:lnTo>
                <a:lnTo>
                  <a:pt x="1807" y="3448"/>
                </a:lnTo>
                <a:lnTo>
                  <a:pt x="1804" y="3446"/>
                </a:lnTo>
                <a:lnTo>
                  <a:pt x="1807" y="3447"/>
                </a:lnTo>
                <a:lnTo>
                  <a:pt x="1810" y="3446"/>
                </a:lnTo>
                <a:lnTo>
                  <a:pt x="1813" y="3446"/>
                </a:lnTo>
                <a:lnTo>
                  <a:pt x="1814" y="3446"/>
                </a:lnTo>
                <a:lnTo>
                  <a:pt x="1815" y="3446"/>
                </a:lnTo>
                <a:lnTo>
                  <a:pt x="1824" y="3460"/>
                </a:lnTo>
                <a:lnTo>
                  <a:pt x="1829" y="3460"/>
                </a:lnTo>
                <a:lnTo>
                  <a:pt x="1831" y="3459"/>
                </a:lnTo>
                <a:lnTo>
                  <a:pt x="1831" y="3457"/>
                </a:lnTo>
                <a:lnTo>
                  <a:pt x="1833" y="3455"/>
                </a:lnTo>
                <a:lnTo>
                  <a:pt x="1835" y="3455"/>
                </a:lnTo>
                <a:lnTo>
                  <a:pt x="1836" y="3450"/>
                </a:lnTo>
                <a:lnTo>
                  <a:pt x="1836" y="3448"/>
                </a:lnTo>
                <a:lnTo>
                  <a:pt x="1838" y="3446"/>
                </a:lnTo>
                <a:lnTo>
                  <a:pt x="1840" y="3445"/>
                </a:lnTo>
                <a:lnTo>
                  <a:pt x="1842" y="3445"/>
                </a:lnTo>
                <a:lnTo>
                  <a:pt x="1846" y="3444"/>
                </a:lnTo>
                <a:lnTo>
                  <a:pt x="1851" y="3444"/>
                </a:lnTo>
                <a:lnTo>
                  <a:pt x="1855" y="3444"/>
                </a:lnTo>
                <a:lnTo>
                  <a:pt x="1862" y="3446"/>
                </a:lnTo>
                <a:lnTo>
                  <a:pt x="1866" y="3446"/>
                </a:lnTo>
                <a:lnTo>
                  <a:pt x="1869" y="3446"/>
                </a:lnTo>
                <a:lnTo>
                  <a:pt x="1868" y="3445"/>
                </a:lnTo>
                <a:lnTo>
                  <a:pt x="1867" y="3442"/>
                </a:lnTo>
                <a:lnTo>
                  <a:pt x="1867" y="3439"/>
                </a:lnTo>
                <a:lnTo>
                  <a:pt x="1866" y="3438"/>
                </a:lnTo>
                <a:lnTo>
                  <a:pt x="1863" y="3437"/>
                </a:lnTo>
                <a:lnTo>
                  <a:pt x="1861" y="3436"/>
                </a:lnTo>
                <a:lnTo>
                  <a:pt x="1855" y="3436"/>
                </a:lnTo>
                <a:lnTo>
                  <a:pt x="1849" y="3436"/>
                </a:lnTo>
                <a:lnTo>
                  <a:pt x="1846" y="3436"/>
                </a:lnTo>
                <a:lnTo>
                  <a:pt x="1843" y="3435"/>
                </a:lnTo>
                <a:lnTo>
                  <a:pt x="1815" y="3410"/>
                </a:lnTo>
                <a:lnTo>
                  <a:pt x="1815" y="3407"/>
                </a:lnTo>
                <a:lnTo>
                  <a:pt x="1814" y="3404"/>
                </a:lnTo>
                <a:lnTo>
                  <a:pt x="1815" y="3398"/>
                </a:lnTo>
                <a:lnTo>
                  <a:pt x="1815" y="3393"/>
                </a:lnTo>
                <a:lnTo>
                  <a:pt x="1816" y="3391"/>
                </a:lnTo>
                <a:lnTo>
                  <a:pt x="1815" y="3390"/>
                </a:lnTo>
                <a:lnTo>
                  <a:pt x="1810" y="3387"/>
                </a:lnTo>
                <a:lnTo>
                  <a:pt x="1793" y="3382"/>
                </a:lnTo>
                <a:lnTo>
                  <a:pt x="1794" y="3380"/>
                </a:lnTo>
                <a:lnTo>
                  <a:pt x="1796" y="3376"/>
                </a:lnTo>
                <a:lnTo>
                  <a:pt x="1797" y="3373"/>
                </a:lnTo>
                <a:lnTo>
                  <a:pt x="1798" y="3370"/>
                </a:lnTo>
                <a:lnTo>
                  <a:pt x="1803" y="3370"/>
                </a:lnTo>
                <a:lnTo>
                  <a:pt x="1804" y="3371"/>
                </a:lnTo>
                <a:lnTo>
                  <a:pt x="1805" y="3371"/>
                </a:lnTo>
                <a:lnTo>
                  <a:pt x="1805" y="3372"/>
                </a:lnTo>
                <a:lnTo>
                  <a:pt x="1804" y="3373"/>
                </a:lnTo>
                <a:lnTo>
                  <a:pt x="1812" y="3373"/>
                </a:lnTo>
                <a:lnTo>
                  <a:pt x="1811" y="3372"/>
                </a:lnTo>
                <a:lnTo>
                  <a:pt x="1811" y="3368"/>
                </a:lnTo>
                <a:lnTo>
                  <a:pt x="1810" y="3359"/>
                </a:lnTo>
                <a:lnTo>
                  <a:pt x="1798" y="3359"/>
                </a:lnTo>
                <a:lnTo>
                  <a:pt x="1800" y="3358"/>
                </a:lnTo>
                <a:lnTo>
                  <a:pt x="1802" y="3357"/>
                </a:lnTo>
                <a:lnTo>
                  <a:pt x="1802" y="3356"/>
                </a:lnTo>
                <a:lnTo>
                  <a:pt x="1803" y="3355"/>
                </a:lnTo>
                <a:lnTo>
                  <a:pt x="1803" y="3351"/>
                </a:lnTo>
                <a:lnTo>
                  <a:pt x="1803" y="3347"/>
                </a:lnTo>
                <a:lnTo>
                  <a:pt x="1802" y="3343"/>
                </a:lnTo>
                <a:lnTo>
                  <a:pt x="1802" y="3338"/>
                </a:lnTo>
                <a:lnTo>
                  <a:pt x="1802" y="3336"/>
                </a:lnTo>
                <a:lnTo>
                  <a:pt x="1802" y="3334"/>
                </a:lnTo>
                <a:lnTo>
                  <a:pt x="1803" y="3333"/>
                </a:lnTo>
                <a:lnTo>
                  <a:pt x="1804" y="3331"/>
                </a:lnTo>
                <a:lnTo>
                  <a:pt x="1805" y="3330"/>
                </a:lnTo>
                <a:lnTo>
                  <a:pt x="1806" y="3329"/>
                </a:lnTo>
                <a:lnTo>
                  <a:pt x="1810" y="3328"/>
                </a:lnTo>
                <a:lnTo>
                  <a:pt x="1813" y="3327"/>
                </a:lnTo>
                <a:lnTo>
                  <a:pt x="1815" y="3325"/>
                </a:lnTo>
                <a:lnTo>
                  <a:pt x="1813" y="3321"/>
                </a:lnTo>
                <a:lnTo>
                  <a:pt x="1812" y="3320"/>
                </a:lnTo>
                <a:lnTo>
                  <a:pt x="1810" y="3319"/>
                </a:lnTo>
                <a:lnTo>
                  <a:pt x="1807" y="3317"/>
                </a:lnTo>
                <a:lnTo>
                  <a:pt x="1808" y="3314"/>
                </a:lnTo>
                <a:lnTo>
                  <a:pt x="1809" y="3311"/>
                </a:lnTo>
                <a:lnTo>
                  <a:pt x="1810" y="3309"/>
                </a:lnTo>
                <a:lnTo>
                  <a:pt x="1810" y="3306"/>
                </a:lnTo>
                <a:lnTo>
                  <a:pt x="1813" y="3308"/>
                </a:lnTo>
                <a:lnTo>
                  <a:pt x="1814" y="3310"/>
                </a:lnTo>
                <a:lnTo>
                  <a:pt x="1815" y="3311"/>
                </a:lnTo>
                <a:lnTo>
                  <a:pt x="1815" y="3317"/>
                </a:lnTo>
                <a:lnTo>
                  <a:pt x="1823" y="3314"/>
                </a:lnTo>
                <a:lnTo>
                  <a:pt x="1826" y="3314"/>
                </a:lnTo>
                <a:lnTo>
                  <a:pt x="1829" y="3314"/>
                </a:lnTo>
                <a:lnTo>
                  <a:pt x="1829" y="3308"/>
                </a:lnTo>
                <a:lnTo>
                  <a:pt x="1829" y="3303"/>
                </a:lnTo>
                <a:lnTo>
                  <a:pt x="1829" y="3299"/>
                </a:lnTo>
                <a:lnTo>
                  <a:pt x="1830" y="3295"/>
                </a:lnTo>
                <a:lnTo>
                  <a:pt x="1831" y="3291"/>
                </a:lnTo>
                <a:lnTo>
                  <a:pt x="1833" y="3287"/>
                </a:lnTo>
                <a:lnTo>
                  <a:pt x="1835" y="3284"/>
                </a:lnTo>
                <a:lnTo>
                  <a:pt x="1838" y="3281"/>
                </a:lnTo>
                <a:lnTo>
                  <a:pt x="1843" y="3275"/>
                </a:lnTo>
                <a:lnTo>
                  <a:pt x="1850" y="3270"/>
                </a:lnTo>
                <a:lnTo>
                  <a:pt x="1866" y="3258"/>
                </a:lnTo>
                <a:lnTo>
                  <a:pt x="1864" y="3256"/>
                </a:lnTo>
                <a:lnTo>
                  <a:pt x="1862" y="3254"/>
                </a:lnTo>
                <a:lnTo>
                  <a:pt x="1861" y="3252"/>
                </a:lnTo>
                <a:lnTo>
                  <a:pt x="1860" y="3251"/>
                </a:lnTo>
                <a:lnTo>
                  <a:pt x="1860" y="3248"/>
                </a:lnTo>
                <a:lnTo>
                  <a:pt x="1861" y="3245"/>
                </a:lnTo>
                <a:lnTo>
                  <a:pt x="1862" y="3242"/>
                </a:lnTo>
                <a:lnTo>
                  <a:pt x="1862" y="3239"/>
                </a:lnTo>
                <a:lnTo>
                  <a:pt x="1861" y="3237"/>
                </a:lnTo>
                <a:lnTo>
                  <a:pt x="1861" y="3236"/>
                </a:lnTo>
                <a:lnTo>
                  <a:pt x="1859" y="3234"/>
                </a:lnTo>
                <a:lnTo>
                  <a:pt x="1857" y="3232"/>
                </a:lnTo>
                <a:lnTo>
                  <a:pt x="1856" y="3232"/>
                </a:lnTo>
                <a:lnTo>
                  <a:pt x="1855" y="3232"/>
                </a:lnTo>
                <a:lnTo>
                  <a:pt x="1852" y="3232"/>
                </a:lnTo>
                <a:lnTo>
                  <a:pt x="1849" y="3233"/>
                </a:lnTo>
                <a:lnTo>
                  <a:pt x="1846" y="3232"/>
                </a:lnTo>
                <a:lnTo>
                  <a:pt x="1845" y="3231"/>
                </a:lnTo>
                <a:lnTo>
                  <a:pt x="1843" y="3228"/>
                </a:lnTo>
                <a:lnTo>
                  <a:pt x="1841" y="3224"/>
                </a:lnTo>
                <a:lnTo>
                  <a:pt x="1835" y="3219"/>
                </a:lnTo>
                <a:lnTo>
                  <a:pt x="1831" y="3215"/>
                </a:lnTo>
                <a:lnTo>
                  <a:pt x="1830" y="3213"/>
                </a:lnTo>
                <a:lnTo>
                  <a:pt x="1830" y="3212"/>
                </a:lnTo>
                <a:lnTo>
                  <a:pt x="1829" y="3208"/>
                </a:lnTo>
                <a:lnTo>
                  <a:pt x="1830" y="3207"/>
                </a:lnTo>
                <a:lnTo>
                  <a:pt x="1831" y="3205"/>
                </a:lnTo>
                <a:lnTo>
                  <a:pt x="1832" y="3203"/>
                </a:lnTo>
                <a:lnTo>
                  <a:pt x="1833" y="3201"/>
                </a:lnTo>
                <a:lnTo>
                  <a:pt x="1841" y="3193"/>
                </a:lnTo>
                <a:lnTo>
                  <a:pt x="1855" y="3176"/>
                </a:lnTo>
                <a:lnTo>
                  <a:pt x="1857" y="3176"/>
                </a:lnTo>
                <a:lnTo>
                  <a:pt x="1859" y="3176"/>
                </a:lnTo>
                <a:lnTo>
                  <a:pt x="1863" y="3178"/>
                </a:lnTo>
                <a:lnTo>
                  <a:pt x="1866" y="3179"/>
                </a:lnTo>
                <a:lnTo>
                  <a:pt x="1867" y="3180"/>
                </a:lnTo>
                <a:lnTo>
                  <a:pt x="1869" y="3179"/>
                </a:lnTo>
                <a:lnTo>
                  <a:pt x="1869" y="3175"/>
                </a:lnTo>
                <a:lnTo>
                  <a:pt x="1869" y="3171"/>
                </a:lnTo>
                <a:lnTo>
                  <a:pt x="1868" y="3171"/>
                </a:lnTo>
                <a:lnTo>
                  <a:pt x="1867" y="3171"/>
                </a:lnTo>
                <a:lnTo>
                  <a:pt x="1866" y="3169"/>
                </a:lnTo>
                <a:lnTo>
                  <a:pt x="1865" y="3167"/>
                </a:lnTo>
                <a:lnTo>
                  <a:pt x="1865" y="3166"/>
                </a:lnTo>
                <a:lnTo>
                  <a:pt x="1866" y="3165"/>
                </a:lnTo>
                <a:lnTo>
                  <a:pt x="1868" y="3164"/>
                </a:lnTo>
                <a:lnTo>
                  <a:pt x="1869" y="3163"/>
                </a:lnTo>
                <a:lnTo>
                  <a:pt x="1874" y="3162"/>
                </a:lnTo>
                <a:lnTo>
                  <a:pt x="1875" y="3144"/>
                </a:lnTo>
                <a:lnTo>
                  <a:pt x="1875" y="3140"/>
                </a:lnTo>
                <a:lnTo>
                  <a:pt x="1875" y="3136"/>
                </a:lnTo>
                <a:lnTo>
                  <a:pt x="1876" y="3132"/>
                </a:lnTo>
                <a:lnTo>
                  <a:pt x="1877" y="3128"/>
                </a:lnTo>
                <a:lnTo>
                  <a:pt x="1883" y="3126"/>
                </a:lnTo>
                <a:lnTo>
                  <a:pt x="1885" y="3125"/>
                </a:lnTo>
                <a:lnTo>
                  <a:pt x="1888" y="3124"/>
                </a:lnTo>
                <a:lnTo>
                  <a:pt x="1889" y="3123"/>
                </a:lnTo>
                <a:lnTo>
                  <a:pt x="1890" y="3121"/>
                </a:lnTo>
                <a:lnTo>
                  <a:pt x="1890" y="3120"/>
                </a:lnTo>
                <a:lnTo>
                  <a:pt x="1889" y="3119"/>
                </a:lnTo>
                <a:lnTo>
                  <a:pt x="1888" y="3118"/>
                </a:lnTo>
                <a:lnTo>
                  <a:pt x="1885" y="3117"/>
                </a:lnTo>
                <a:lnTo>
                  <a:pt x="1880" y="3117"/>
                </a:lnTo>
                <a:lnTo>
                  <a:pt x="1882" y="3114"/>
                </a:lnTo>
                <a:lnTo>
                  <a:pt x="1883" y="3112"/>
                </a:lnTo>
                <a:lnTo>
                  <a:pt x="1883" y="3111"/>
                </a:lnTo>
                <a:lnTo>
                  <a:pt x="1885" y="3112"/>
                </a:lnTo>
                <a:lnTo>
                  <a:pt x="1888" y="3112"/>
                </a:lnTo>
                <a:lnTo>
                  <a:pt x="1891" y="3111"/>
                </a:lnTo>
                <a:lnTo>
                  <a:pt x="1894" y="3111"/>
                </a:lnTo>
                <a:lnTo>
                  <a:pt x="1896" y="3113"/>
                </a:lnTo>
                <a:lnTo>
                  <a:pt x="1897" y="3114"/>
                </a:lnTo>
                <a:lnTo>
                  <a:pt x="1898" y="3118"/>
                </a:lnTo>
                <a:lnTo>
                  <a:pt x="1899" y="3119"/>
                </a:lnTo>
                <a:lnTo>
                  <a:pt x="1900" y="3119"/>
                </a:lnTo>
                <a:lnTo>
                  <a:pt x="1902" y="3119"/>
                </a:lnTo>
                <a:lnTo>
                  <a:pt x="1905" y="3117"/>
                </a:lnTo>
                <a:lnTo>
                  <a:pt x="1907" y="3116"/>
                </a:lnTo>
                <a:lnTo>
                  <a:pt x="1907" y="3114"/>
                </a:lnTo>
                <a:lnTo>
                  <a:pt x="1907" y="3112"/>
                </a:lnTo>
                <a:lnTo>
                  <a:pt x="1907" y="3110"/>
                </a:lnTo>
                <a:lnTo>
                  <a:pt x="1906" y="3107"/>
                </a:lnTo>
                <a:lnTo>
                  <a:pt x="1905" y="3105"/>
                </a:lnTo>
                <a:lnTo>
                  <a:pt x="1905" y="3103"/>
                </a:lnTo>
                <a:lnTo>
                  <a:pt x="1901" y="3105"/>
                </a:lnTo>
                <a:lnTo>
                  <a:pt x="1897" y="3106"/>
                </a:lnTo>
                <a:lnTo>
                  <a:pt x="1894" y="3106"/>
                </a:lnTo>
                <a:lnTo>
                  <a:pt x="1888" y="3104"/>
                </a:lnTo>
                <a:lnTo>
                  <a:pt x="1883" y="3103"/>
                </a:lnTo>
                <a:lnTo>
                  <a:pt x="1883" y="3089"/>
                </a:lnTo>
                <a:lnTo>
                  <a:pt x="1882" y="3088"/>
                </a:lnTo>
                <a:lnTo>
                  <a:pt x="1879" y="3087"/>
                </a:lnTo>
                <a:lnTo>
                  <a:pt x="1877" y="3087"/>
                </a:lnTo>
                <a:lnTo>
                  <a:pt x="1874" y="3086"/>
                </a:lnTo>
                <a:lnTo>
                  <a:pt x="1880" y="3066"/>
                </a:lnTo>
                <a:lnTo>
                  <a:pt x="1881" y="3067"/>
                </a:lnTo>
                <a:lnTo>
                  <a:pt x="1883" y="3068"/>
                </a:lnTo>
                <a:lnTo>
                  <a:pt x="1886" y="3068"/>
                </a:lnTo>
                <a:lnTo>
                  <a:pt x="1888" y="3068"/>
                </a:lnTo>
                <a:lnTo>
                  <a:pt x="1890" y="3068"/>
                </a:lnTo>
                <a:lnTo>
                  <a:pt x="1891" y="3069"/>
                </a:lnTo>
                <a:lnTo>
                  <a:pt x="1893" y="3071"/>
                </a:lnTo>
                <a:lnTo>
                  <a:pt x="1893" y="3073"/>
                </a:lnTo>
                <a:lnTo>
                  <a:pt x="1893" y="3075"/>
                </a:lnTo>
                <a:lnTo>
                  <a:pt x="1894" y="3078"/>
                </a:lnTo>
                <a:lnTo>
                  <a:pt x="1903" y="3078"/>
                </a:lnTo>
                <a:lnTo>
                  <a:pt x="1909" y="3078"/>
                </a:lnTo>
                <a:lnTo>
                  <a:pt x="1911" y="3078"/>
                </a:lnTo>
                <a:lnTo>
                  <a:pt x="1913" y="3076"/>
                </a:lnTo>
                <a:lnTo>
                  <a:pt x="1919" y="3072"/>
                </a:lnTo>
                <a:lnTo>
                  <a:pt x="1924" y="3069"/>
                </a:lnTo>
                <a:lnTo>
                  <a:pt x="1926" y="3068"/>
                </a:lnTo>
                <a:lnTo>
                  <a:pt x="1928" y="3066"/>
                </a:lnTo>
                <a:lnTo>
                  <a:pt x="1929" y="3050"/>
                </a:lnTo>
                <a:lnTo>
                  <a:pt x="1930" y="3038"/>
                </a:lnTo>
                <a:lnTo>
                  <a:pt x="1931" y="3030"/>
                </a:lnTo>
                <a:lnTo>
                  <a:pt x="1926" y="3027"/>
                </a:lnTo>
                <a:lnTo>
                  <a:pt x="1922" y="3024"/>
                </a:lnTo>
                <a:lnTo>
                  <a:pt x="1922" y="3022"/>
                </a:lnTo>
                <a:lnTo>
                  <a:pt x="1922" y="3020"/>
                </a:lnTo>
                <a:lnTo>
                  <a:pt x="1923" y="3017"/>
                </a:lnTo>
                <a:lnTo>
                  <a:pt x="1925" y="3015"/>
                </a:lnTo>
                <a:lnTo>
                  <a:pt x="1925" y="3014"/>
                </a:lnTo>
                <a:lnTo>
                  <a:pt x="1925" y="3013"/>
                </a:lnTo>
                <a:lnTo>
                  <a:pt x="1927" y="3015"/>
                </a:lnTo>
                <a:lnTo>
                  <a:pt x="1929" y="3017"/>
                </a:lnTo>
                <a:lnTo>
                  <a:pt x="1931" y="3020"/>
                </a:lnTo>
                <a:lnTo>
                  <a:pt x="1933" y="3021"/>
                </a:lnTo>
                <a:lnTo>
                  <a:pt x="1935" y="3021"/>
                </a:lnTo>
                <a:lnTo>
                  <a:pt x="1938" y="3019"/>
                </a:lnTo>
                <a:lnTo>
                  <a:pt x="1942" y="3016"/>
                </a:lnTo>
                <a:lnTo>
                  <a:pt x="1951" y="3014"/>
                </a:lnTo>
                <a:lnTo>
                  <a:pt x="1959" y="3013"/>
                </a:lnTo>
                <a:lnTo>
                  <a:pt x="1974" y="3011"/>
                </a:lnTo>
                <a:lnTo>
                  <a:pt x="1981" y="3010"/>
                </a:lnTo>
                <a:lnTo>
                  <a:pt x="1987" y="3008"/>
                </a:lnTo>
                <a:lnTo>
                  <a:pt x="1994" y="3005"/>
                </a:lnTo>
                <a:lnTo>
                  <a:pt x="2001" y="3002"/>
                </a:lnTo>
                <a:lnTo>
                  <a:pt x="2004" y="3000"/>
                </a:lnTo>
                <a:lnTo>
                  <a:pt x="2007" y="2997"/>
                </a:lnTo>
                <a:lnTo>
                  <a:pt x="2009" y="2995"/>
                </a:lnTo>
                <a:lnTo>
                  <a:pt x="2011" y="2992"/>
                </a:lnTo>
                <a:lnTo>
                  <a:pt x="2015" y="2987"/>
                </a:lnTo>
                <a:lnTo>
                  <a:pt x="2018" y="2981"/>
                </a:lnTo>
                <a:lnTo>
                  <a:pt x="2020" y="2974"/>
                </a:lnTo>
                <a:lnTo>
                  <a:pt x="2022" y="2967"/>
                </a:lnTo>
                <a:lnTo>
                  <a:pt x="2026" y="2951"/>
                </a:lnTo>
                <a:lnTo>
                  <a:pt x="2024" y="2950"/>
                </a:lnTo>
                <a:lnTo>
                  <a:pt x="2022" y="2950"/>
                </a:lnTo>
                <a:lnTo>
                  <a:pt x="2018" y="2949"/>
                </a:lnTo>
                <a:lnTo>
                  <a:pt x="2014" y="2948"/>
                </a:lnTo>
                <a:lnTo>
                  <a:pt x="2013" y="2947"/>
                </a:lnTo>
                <a:lnTo>
                  <a:pt x="2012" y="2945"/>
                </a:lnTo>
                <a:lnTo>
                  <a:pt x="2011" y="2943"/>
                </a:lnTo>
                <a:lnTo>
                  <a:pt x="2011" y="2940"/>
                </a:lnTo>
                <a:lnTo>
                  <a:pt x="2012" y="2938"/>
                </a:lnTo>
                <a:lnTo>
                  <a:pt x="2013" y="2936"/>
                </a:lnTo>
                <a:lnTo>
                  <a:pt x="2015" y="2933"/>
                </a:lnTo>
                <a:lnTo>
                  <a:pt x="2015" y="2931"/>
                </a:lnTo>
                <a:lnTo>
                  <a:pt x="2015" y="2929"/>
                </a:lnTo>
                <a:lnTo>
                  <a:pt x="2014" y="2927"/>
                </a:lnTo>
                <a:lnTo>
                  <a:pt x="2012" y="2924"/>
                </a:lnTo>
                <a:lnTo>
                  <a:pt x="2007" y="2919"/>
                </a:lnTo>
                <a:lnTo>
                  <a:pt x="2002" y="2914"/>
                </a:lnTo>
                <a:lnTo>
                  <a:pt x="1998" y="2909"/>
                </a:lnTo>
                <a:lnTo>
                  <a:pt x="1993" y="2899"/>
                </a:lnTo>
                <a:lnTo>
                  <a:pt x="1990" y="2892"/>
                </a:lnTo>
                <a:lnTo>
                  <a:pt x="1990" y="2890"/>
                </a:lnTo>
                <a:lnTo>
                  <a:pt x="1990" y="2889"/>
                </a:lnTo>
                <a:lnTo>
                  <a:pt x="1991" y="2889"/>
                </a:lnTo>
                <a:lnTo>
                  <a:pt x="1992" y="2888"/>
                </a:lnTo>
                <a:lnTo>
                  <a:pt x="1993" y="2886"/>
                </a:lnTo>
                <a:lnTo>
                  <a:pt x="1993" y="2884"/>
                </a:lnTo>
                <a:lnTo>
                  <a:pt x="1993" y="2879"/>
                </a:lnTo>
                <a:lnTo>
                  <a:pt x="1992" y="2875"/>
                </a:lnTo>
                <a:lnTo>
                  <a:pt x="1995" y="2869"/>
                </a:lnTo>
                <a:lnTo>
                  <a:pt x="1994" y="2869"/>
                </a:lnTo>
                <a:lnTo>
                  <a:pt x="1994" y="2867"/>
                </a:lnTo>
                <a:lnTo>
                  <a:pt x="1995" y="2866"/>
                </a:lnTo>
                <a:lnTo>
                  <a:pt x="1995" y="2865"/>
                </a:lnTo>
                <a:lnTo>
                  <a:pt x="1998" y="2861"/>
                </a:lnTo>
                <a:lnTo>
                  <a:pt x="1999" y="2863"/>
                </a:lnTo>
                <a:lnTo>
                  <a:pt x="2001" y="2868"/>
                </a:lnTo>
                <a:lnTo>
                  <a:pt x="2001" y="2870"/>
                </a:lnTo>
                <a:lnTo>
                  <a:pt x="2001" y="2872"/>
                </a:lnTo>
                <a:lnTo>
                  <a:pt x="2000" y="2873"/>
                </a:lnTo>
                <a:lnTo>
                  <a:pt x="1998" y="2872"/>
                </a:lnTo>
                <a:lnTo>
                  <a:pt x="1999" y="2888"/>
                </a:lnTo>
                <a:lnTo>
                  <a:pt x="2001" y="2900"/>
                </a:lnTo>
                <a:lnTo>
                  <a:pt x="2004" y="2901"/>
                </a:lnTo>
                <a:lnTo>
                  <a:pt x="2008" y="2902"/>
                </a:lnTo>
                <a:lnTo>
                  <a:pt x="2011" y="2902"/>
                </a:lnTo>
                <a:lnTo>
                  <a:pt x="2013" y="2902"/>
                </a:lnTo>
                <a:lnTo>
                  <a:pt x="2015" y="2903"/>
                </a:lnTo>
                <a:lnTo>
                  <a:pt x="2016" y="2905"/>
                </a:lnTo>
                <a:lnTo>
                  <a:pt x="2018" y="2907"/>
                </a:lnTo>
                <a:lnTo>
                  <a:pt x="2019" y="2910"/>
                </a:lnTo>
                <a:lnTo>
                  <a:pt x="2021" y="2912"/>
                </a:lnTo>
                <a:lnTo>
                  <a:pt x="2025" y="2914"/>
                </a:lnTo>
                <a:lnTo>
                  <a:pt x="2029" y="2915"/>
                </a:lnTo>
                <a:lnTo>
                  <a:pt x="2032" y="2916"/>
                </a:lnTo>
                <a:lnTo>
                  <a:pt x="2035" y="2916"/>
                </a:lnTo>
                <a:lnTo>
                  <a:pt x="2041" y="2914"/>
                </a:lnTo>
                <a:lnTo>
                  <a:pt x="2049" y="2912"/>
                </a:lnTo>
                <a:lnTo>
                  <a:pt x="2055" y="2914"/>
                </a:lnTo>
                <a:lnTo>
                  <a:pt x="2061" y="2915"/>
                </a:lnTo>
                <a:lnTo>
                  <a:pt x="2063" y="2915"/>
                </a:lnTo>
                <a:lnTo>
                  <a:pt x="2066" y="2915"/>
                </a:lnTo>
                <a:lnTo>
                  <a:pt x="2068" y="2913"/>
                </a:lnTo>
                <a:lnTo>
                  <a:pt x="2071" y="2911"/>
                </a:lnTo>
                <a:lnTo>
                  <a:pt x="2078" y="2903"/>
                </a:lnTo>
                <a:lnTo>
                  <a:pt x="2086" y="2892"/>
                </a:lnTo>
                <a:lnTo>
                  <a:pt x="2093" y="2881"/>
                </a:lnTo>
                <a:close/>
                <a:moveTo>
                  <a:pt x="1759" y="1684"/>
                </a:moveTo>
                <a:lnTo>
                  <a:pt x="1760" y="1687"/>
                </a:lnTo>
                <a:lnTo>
                  <a:pt x="1761" y="1689"/>
                </a:lnTo>
                <a:lnTo>
                  <a:pt x="1761" y="1690"/>
                </a:lnTo>
                <a:lnTo>
                  <a:pt x="1762" y="1691"/>
                </a:lnTo>
                <a:lnTo>
                  <a:pt x="1765" y="1692"/>
                </a:lnTo>
                <a:lnTo>
                  <a:pt x="1765" y="1690"/>
                </a:lnTo>
                <a:lnTo>
                  <a:pt x="1767" y="1689"/>
                </a:lnTo>
                <a:lnTo>
                  <a:pt x="1770" y="1687"/>
                </a:lnTo>
                <a:lnTo>
                  <a:pt x="1768" y="1681"/>
                </a:lnTo>
                <a:lnTo>
                  <a:pt x="1767" y="1679"/>
                </a:lnTo>
                <a:lnTo>
                  <a:pt x="1767" y="1676"/>
                </a:lnTo>
                <a:lnTo>
                  <a:pt x="1779" y="1681"/>
                </a:lnTo>
                <a:lnTo>
                  <a:pt x="1782" y="1683"/>
                </a:lnTo>
                <a:lnTo>
                  <a:pt x="1784" y="1684"/>
                </a:lnTo>
                <a:lnTo>
                  <a:pt x="1787" y="1684"/>
                </a:lnTo>
                <a:lnTo>
                  <a:pt x="1788" y="1683"/>
                </a:lnTo>
                <a:lnTo>
                  <a:pt x="1790" y="1680"/>
                </a:lnTo>
                <a:lnTo>
                  <a:pt x="1793" y="1676"/>
                </a:lnTo>
                <a:lnTo>
                  <a:pt x="1810" y="1676"/>
                </a:lnTo>
                <a:lnTo>
                  <a:pt x="1809" y="1676"/>
                </a:lnTo>
                <a:lnTo>
                  <a:pt x="1812" y="1677"/>
                </a:lnTo>
                <a:lnTo>
                  <a:pt x="1818" y="1678"/>
                </a:lnTo>
                <a:lnTo>
                  <a:pt x="1816" y="1673"/>
                </a:lnTo>
                <a:lnTo>
                  <a:pt x="1815" y="1669"/>
                </a:lnTo>
                <a:lnTo>
                  <a:pt x="1813" y="1665"/>
                </a:lnTo>
                <a:lnTo>
                  <a:pt x="1812" y="1663"/>
                </a:lnTo>
                <a:lnTo>
                  <a:pt x="1810" y="1662"/>
                </a:lnTo>
                <a:lnTo>
                  <a:pt x="1808" y="1662"/>
                </a:lnTo>
                <a:lnTo>
                  <a:pt x="1804" y="1662"/>
                </a:lnTo>
                <a:lnTo>
                  <a:pt x="1800" y="1662"/>
                </a:lnTo>
                <a:lnTo>
                  <a:pt x="1798" y="1662"/>
                </a:lnTo>
                <a:lnTo>
                  <a:pt x="1796" y="1662"/>
                </a:lnTo>
                <a:lnTo>
                  <a:pt x="1793" y="1660"/>
                </a:lnTo>
                <a:lnTo>
                  <a:pt x="1791" y="1659"/>
                </a:lnTo>
                <a:lnTo>
                  <a:pt x="1786" y="1654"/>
                </a:lnTo>
                <a:lnTo>
                  <a:pt x="1781" y="1650"/>
                </a:lnTo>
                <a:lnTo>
                  <a:pt x="1778" y="1648"/>
                </a:lnTo>
                <a:lnTo>
                  <a:pt x="1776" y="1647"/>
                </a:lnTo>
                <a:lnTo>
                  <a:pt x="1770" y="1647"/>
                </a:lnTo>
                <a:lnTo>
                  <a:pt x="1764" y="1647"/>
                </a:lnTo>
                <a:lnTo>
                  <a:pt x="1758" y="1647"/>
                </a:lnTo>
                <a:lnTo>
                  <a:pt x="1752" y="1647"/>
                </a:lnTo>
                <a:lnTo>
                  <a:pt x="1742" y="1648"/>
                </a:lnTo>
                <a:lnTo>
                  <a:pt x="1736" y="1648"/>
                </a:lnTo>
                <a:lnTo>
                  <a:pt x="1731" y="1647"/>
                </a:lnTo>
                <a:lnTo>
                  <a:pt x="1734" y="1649"/>
                </a:lnTo>
                <a:lnTo>
                  <a:pt x="1739" y="1650"/>
                </a:lnTo>
                <a:lnTo>
                  <a:pt x="1737" y="1655"/>
                </a:lnTo>
                <a:lnTo>
                  <a:pt x="1737" y="1657"/>
                </a:lnTo>
                <a:lnTo>
                  <a:pt x="1737" y="1659"/>
                </a:lnTo>
                <a:lnTo>
                  <a:pt x="1738" y="1662"/>
                </a:lnTo>
                <a:lnTo>
                  <a:pt x="1739" y="1664"/>
                </a:lnTo>
                <a:lnTo>
                  <a:pt x="1739" y="1667"/>
                </a:lnTo>
                <a:lnTo>
                  <a:pt x="1742" y="1667"/>
                </a:lnTo>
                <a:lnTo>
                  <a:pt x="1743" y="1668"/>
                </a:lnTo>
                <a:lnTo>
                  <a:pt x="1744" y="1670"/>
                </a:lnTo>
                <a:lnTo>
                  <a:pt x="1744" y="1672"/>
                </a:lnTo>
                <a:lnTo>
                  <a:pt x="1743" y="1676"/>
                </a:lnTo>
                <a:lnTo>
                  <a:pt x="1742" y="1678"/>
                </a:lnTo>
                <a:lnTo>
                  <a:pt x="1722" y="1676"/>
                </a:lnTo>
                <a:lnTo>
                  <a:pt x="1718" y="1675"/>
                </a:lnTo>
                <a:lnTo>
                  <a:pt x="1715" y="1673"/>
                </a:lnTo>
                <a:lnTo>
                  <a:pt x="1708" y="1670"/>
                </a:lnTo>
                <a:lnTo>
                  <a:pt x="1706" y="1681"/>
                </a:lnTo>
                <a:lnTo>
                  <a:pt x="1710" y="1683"/>
                </a:lnTo>
                <a:lnTo>
                  <a:pt x="1712" y="1684"/>
                </a:lnTo>
                <a:lnTo>
                  <a:pt x="1711" y="1684"/>
                </a:lnTo>
                <a:lnTo>
                  <a:pt x="1759" y="1684"/>
                </a:lnTo>
                <a:close/>
                <a:moveTo>
                  <a:pt x="3045" y="1071"/>
                </a:moveTo>
                <a:lnTo>
                  <a:pt x="3037" y="1071"/>
                </a:lnTo>
                <a:lnTo>
                  <a:pt x="3030" y="1071"/>
                </a:lnTo>
                <a:lnTo>
                  <a:pt x="3022" y="1070"/>
                </a:lnTo>
                <a:lnTo>
                  <a:pt x="3014" y="1069"/>
                </a:lnTo>
                <a:lnTo>
                  <a:pt x="2997" y="1067"/>
                </a:lnTo>
                <a:lnTo>
                  <a:pt x="2981" y="1065"/>
                </a:lnTo>
                <a:lnTo>
                  <a:pt x="2971" y="1065"/>
                </a:lnTo>
                <a:lnTo>
                  <a:pt x="2961" y="1066"/>
                </a:lnTo>
                <a:lnTo>
                  <a:pt x="2956" y="1066"/>
                </a:lnTo>
                <a:lnTo>
                  <a:pt x="2951" y="1066"/>
                </a:lnTo>
                <a:lnTo>
                  <a:pt x="2946" y="1066"/>
                </a:lnTo>
                <a:lnTo>
                  <a:pt x="2941" y="1065"/>
                </a:lnTo>
                <a:lnTo>
                  <a:pt x="2938" y="1062"/>
                </a:lnTo>
                <a:lnTo>
                  <a:pt x="2935" y="1060"/>
                </a:lnTo>
                <a:lnTo>
                  <a:pt x="2933" y="1059"/>
                </a:lnTo>
                <a:lnTo>
                  <a:pt x="2930" y="1060"/>
                </a:lnTo>
                <a:lnTo>
                  <a:pt x="2928" y="1061"/>
                </a:lnTo>
                <a:lnTo>
                  <a:pt x="2925" y="1063"/>
                </a:lnTo>
                <a:lnTo>
                  <a:pt x="2923" y="1065"/>
                </a:lnTo>
                <a:lnTo>
                  <a:pt x="2920" y="1069"/>
                </a:lnTo>
                <a:lnTo>
                  <a:pt x="2919" y="1071"/>
                </a:lnTo>
                <a:lnTo>
                  <a:pt x="2917" y="1071"/>
                </a:lnTo>
                <a:lnTo>
                  <a:pt x="2915" y="1071"/>
                </a:lnTo>
                <a:lnTo>
                  <a:pt x="2912" y="1071"/>
                </a:lnTo>
                <a:lnTo>
                  <a:pt x="2908" y="1070"/>
                </a:lnTo>
                <a:lnTo>
                  <a:pt x="2905" y="1071"/>
                </a:lnTo>
                <a:lnTo>
                  <a:pt x="2903" y="1072"/>
                </a:lnTo>
                <a:lnTo>
                  <a:pt x="2900" y="1075"/>
                </a:lnTo>
                <a:lnTo>
                  <a:pt x="2898" y="1077"/>
                </a:lnTo>
                <a:lnTo>
                  <a:pt x="2897" y="1078"/>
                </a:lnTo>
                <a:lnTo>
                  <a:pt x="2896" y="1079"/>
                </a:lnTo>
                <a:lnTo>
                  <a:pt x="2900" y="1086"/>
                </a:lnTo>
                <a:lnTo>
                  <a:pt x="2902" y="1090"/>
                </a:lnTo>
                <a:lnTo>
                  <a:pt x="2904" y="1095"/>
                </a:lnTo>
                <a:lnTo>
                  <a:pt x="2904" y="1099"/>
                </a:lnTo>
                <a:lnTo>
                  <a:pt x="2905" y="1103"/>
                </a:lnTo>
                <a:lnTo>
                  <a:pt x="2905" y="1108"/>
                </a:lnTo>
                <a:lnTo>
                  <a:pt x="2907" y="1115"/>
                </a:lnTo>
                <a:lnTo>
                  <a:pt x="2909" y="1124"/>
                </a:lnTo>
                <a:lnTo>
                  <a:pt x="2910" y="1129"/>
                </a:lnTo>
                <a:lnTo>
                  <a:pt x="2911" y="1134"/>
                </a:lnTo>
                <a:lnTo>
                  <a:pt x="2911" y="1139"/>
                </a:lnTo>
                <a:lnTo>
                  <a:pt x="2910" y="1144"/>
                </a:lnTo>
                <a:lnTo>
                  <a:pt x="2905" y="1147"/>
                </a:lnTo>
                <a:lnTo>
                  <a:pt x="2903" y="1153"/>
                </a:lnTo>
                <a:lnTo>
                  <a:pt x="2901" y="1159"/>
                </a:lnTo>
                <a:lnTo>
                  <a:pt x="2899" y="1169"/>
                </a:lnTo>
                <a:lnTo>
                  <a:pt x="2896" y="1169"/>
                </a:lnTo>
                <a:lnTo>
                  <a:pt x="2896" y="1173"/>
                </a:lnTo>
                <a:lnTo>
                  <a:pt x="2896" y="1178"/>
                </a:lnTo>
                <a:lnTo>
                  <a:pt x="2896" y="1186"/>
                </a:lnTo>
                <a:lnTo>
                  <a:pt x="2899" y="1184"/>
                </a:lnTo>
                <a:lnTo>
                  <a:pt x="2901" y="1183"/>
                </a:lnTo>
                <a:lnTo>
                  <a:pt x="2902" y="1183"/>
                </a:lnTo>
                <a:lnTo>
                  <a:pt x="2902" y="1185"/>
                </a:lnTo>
                <a:lnTo>
                  <a:pt x="2902" y="1187"/>
                </a:lnTo>
                <a:lnTo>
                  <a:pt x="2901" y="1189"/>
                </a:lnTo>
                <a:lnTo>
                  <a:pt x="2899" y="1191"/>
                </a:lnTo>
                <a:lnTo>
                  <a:pt x="2899" y="1192"/>
                </a:lnTo>
                <a:lnTo>
                  <a:pt x="2899" y="1195"/>
                </a:lnTo>
                <a:lnTo>
                  <a:pt x="2905" y="1200"/>
                </a:lnTo>
                <a:lnTo>
                  <a:pt x="2905" y="1204"/>
                </a:lnTo>
                <a:lnTo>
                  <a:pt x="2906" y="1207"/>
                </a:lnTo>
                <a:lnTo>
                  <a:pt x="2905" y="1214"/>
                </a:lnTo>
                <a:lnTo>
                  <a:pt x="2903" y="1221"/>
                </a:lnTo>
                <a:lnTo>
                  <a:pt x="2902" y="1228"/>
                </a:lnTo>
                <a:lnTo>
                  <a:pt x="2911" y="1229"/>
                </a:lnTo>
                <a:lnTo>
                  <a:pt x="2921" y="1229"/>
                </a:lnTo>
                <a:lnTo>
                  <a:pt x="2931" y="1228"/>
                </a:lnTo>
                <a:lnTo>
                  <a:pt x="2936" y="1227"/>
                </a:lnTo>
                <a:lnTo>
                  <a:pt x="2941" y="1225"/>
                </a:lnTo>
                <a:lnTo>
                  <a:pt x="2950" y="1238"/>
                </a:lnTo>
                <a:lnTo>
                  <a:pt x="2958" y="1251"/>
                </a:lnTo>
                <a:lnTo>
                  <a:pt x="2965" y="1249"/>
                </a:lnTo>
                <a:lnTo>
                  <a:pt x="2971" y="1248"/>
                </a:lnTo>
                <a:lnTo>
                  <a:pt x="2977" y="1247"/>
                </a:lnTo>
                <a:lnTo>
                  <a:pt x="2980" y="1246"/>
                </a:lnTo>
                <a:lnTo>
                  <a:pt x="2984" y="1245"/>
                </a:lnTo>
                <a:lnTo>
                  <a:pt x="2986" y="1240"/>
                </a:lnTo>
                <a:lnTo>
                  <a:pt x="2989" y="1239"/>
                </a:lnTo>
                <a:lnTo>
                  <a:pt x="2991" y="1239"/>
                </a:lnTo>
                <a:lnTo>
                  <a:pt x="2995" y="1239"/>
                </a:lnTo>
                <a:lnTo>
                  <a:pt x="3004" y="1241"/>
                </a:lnTo>
                <a:lnTo>
                  <a:pt x="3008" y="1242"/>
                </a:lnTo>
                <a:lnTo>
                  <a:pt x="3013" y="1243"/>
                </a:lnTo>
                <a:lnTo>
                  <a:pt x="3017" y="1242"/>
                </a:lnTo>
                <a:lnTo>
                  <a:pt x="3023" y="1240"/>
                </a:lnTo>
                <a:lnTo>
                  <a:pt x="3023" y="1237"/>
                </a:lnTo>
                <a:lnTo>
                  <a:pt x="3025" y="1235"/>
                </a:lnTo>
                <a:lnTo>
                  <a:pt x="3026" y="1233"/>
                </a:lnTo>
                <a:lnTo>
                  <a:pt x="3029" y="1229"/>
                </a:lnTo>
                <a:lnTo>
                  <a:pt x="3031" y="1224"/>
                </a:lnTo>
                <a:lnTo>
                  <a:pt x="3033" y="1221"/>
                </a:lnTo>
                <a:lnTo>
                  <a:pt x="3034" y="1220"/>
                </a:lnTo>
                <a:lnTo>
                  <a:pt x="3039" y="1217"/>
                </a:lnTo>
                <a:lnTo>
                  <a:pt x="3044" y="1216"/>
                </a:lnTo>
                <a:lnTo>
                  <a:pt x="3050" y="1214"/>
                </a:lnTo>
                <a:lnTo>
                  <a:pt x="3052" y="1213"/>
                </a:lnTo>
                <a:lnTo>
                  <a:pt x="3054" y="1211"/>
                </a:lnTo>
                <a:lnTo>
                  <a:pt x="3054" y="1210"/>
                </a:lnTo>
                <a:lnTo>
                  <a:pt x="3054" y="1209"/>
                </a:lnTo>
                <a:lnTo>
                  <a:pt x="3054" y="1206"/>
                </a:lnTo>
                <a:lnTo>
                  <a:pt x="3054" y="1203"/>
                </a:lnTo>
                <a:lnTo>
                  <a:pt x="3054" y="1200"/>
                </a:lnTo>
                <a:lnTo>
                  <a:pt x="3056" y="1197"/>
                </a:lnTo>
                <a:lnTo>
                  <a:pt x="3060" y="1193"/>
                </a:lnTo>
                <a:lnTo>
                  <a:pt x="3068" y="1186"/>
                </a:lnTo>
                <a:lnTo>
                  <a:pt x="3071" y="1183"/>
                </a:lnTo>
                <a:lnTo>
                  <a:pt x="3071" y="1180"/>
                </a:lnTo>
                <a:lnTo>
                  <a:pt x="3070" y="1178"/>
                </a:lnTo>
                <a:lnTo>
                  <a:pt x="3067" y="1175"/>
                </a:lnTo>
                <a:lnTo>
                  <a:pt x="3066" y="1173"/>
                </a:lnTo>
                <a:lnTo>
                  <a:pt x="3065" y="1170"/>
                </a:lnTo>
                <a:lnTo>
                  <a:pt x="3065" y="1167"/>
                </a:lnTo>
                <a:lnTo>
                  <a:pt x="3065" y="1164"/>
                </a:lnTo>
                <a:lnTo>
                  <a:pt x="3066" y="1162"/>
                </a:lnTo>
                <a:lnTo>
                  <a:pt x="3069" y="1161"/>
                </a:lnTo>
                <a:lnTo>
                  <a:pt x="3072" y="1159"/>
                </a:lnTo>
                <a:lnTo>
                  <a:pt x="3074" y="1158"/>
                </a:lnTo>
                <a:lnTo>
                  <a:pt x="3079" y="1149"/>
                </a:lnTo>
                <a:lnTo>
                  <a:pt x="3085" y="1140"/>
                </a:lnTo>
                <a:lnTo>
                  <a:pt x="3088" y="1135"/>
                </a:lnTo>
                <a:lnTo>
                  <a:pt x="3091" y="1131"/>
                </a:lnTo>
                <a:lnTo>
                  <a:pt x="3095" y="1127"/>
                </a:lnTo>
                <a:lnTo>
                  <a:pt x="3099" y="1124"/>
                </a:lnTo>
                <a:lnTo>
                  <a:pt x="3105" y="1121"/>
                </a:lnTo>
                <a:lnTo>
                  <a:pt x="3114" y="1118"/>
                </a:lnTo>
                <a:lnTo>
                  <a:pt x="3122" y="1114"/>
                </a:lnTo>
                <a:lnTo>
                  <a:pt x="3125" y="1112"/>
                </a:lnTo>
                <a:lnTo>
                  <a:pt x="3127" y="1110"/>
                </a:lnTo>
                <a:lnTo>
                  <a:pt x="3128" y="1106"/>
                </a:lnTo>
                <a:lnTo>
                  <a:pt x="3128" y="1101"/>
                </a:lnTo>
                <a:lnTo>
                  <a:pt x="3127" y="1090"/>
                </a:lnTo>
                <a:lnTo>
                  <a:pt x="3126" y="1087"/>
                </a:lnTo>
                <a:lnTo>
                  <a:pt x="3126" y="1084"/>
                </a:lnTo>
                <a:lnTo>
                  <a:pt x="3126" y="1082"/>
                </a:lnTo>
                <a:lnTo>
                  <a:pt x="3127" y="1079"/>
                </a:lnTo>
                <a:lnTo>
                  <a:pt x="3128" y="1077"/>
                </a:lnTo>
                <a:lnTo>
                  <a:pt x="3131" y="1075"/>
                </a:lnTo>
                <a:lnTo>
                  <a:pt x="3134" y="1073"/>
                </a:lnTo>
                <a:lnTo>
                  <a:pt x="3135" y="1071"/>
                </a:lnTo>
                <a:lnTo>
                  <a:pt x="3139" y="1070"/>
                </a:lnTo>
                <a:lnTo>
                  <a:pt x="3142" y="1069"/>
                </a:lnTo>
                <a:lnTo>
                  <a:pt x="3145" y="1068"/>
                </a:lnTo>
                <a:lnTo>
                  <a:pt x="3149" y="1068"/>
                </a:lnTo>
                <a:lnTo>
                  <a:pt x="3152" y="1068"/>
                </a:lnTo>
                <a:lnTo>
                  <a:pt x="3154" y="1069"/>
                </a:lnTo>
                <a:lnTo>
                  <a:pt x="3158" y="1071"/>
                </a:lnTo>
                <a:lnTo>
                  <a:pt x="3166" y="1075"/>
                </a:lnTo>
                <a:lnTo>
                  <a:pt x="3171" y="1078"/>
                </a:lnTo>
                <a:lnTo>
                  <a:pt x="3173" y="1079"/>
                </a:lnTo>
                <a:lnTo>
                  <a:pt x="3175" y="1079"/>
                </a:lnTo>
                <a:lnTo>
                  <a:pt x="3178" y="1080"/>
                </a:lnTo>
                <a:lnTo>
                  <a:pt x="3180" y="1080"/>
                </a:lnTo>
                <a:lnTo>
                  <a:pt x="3186" y="1079"/>
                </a:lnTo>
                <a:lnTo>
                  <a:pt x="3188" y="1078"/>
                </a:lnTo>
                <a:lnTo>
                  <a:pt x="3189" y="1076"/>
                </a:lnTo>
                <a:lnTo>
                  <a:pt x="3193" y="1071"/>
                </a:lnTo>
                <a:lnTo>
                  <a:pt x="3195" y="1067"/>
                </a:lnTo>
                <a:lnTo>
                  <a:pt x="3196" y="1066"/>
                </a:lnTo>
                <a:lnTo>
                  <a:pt x="3197" y="1065"/>
                </a:lnTo>
                <a:lnTo>
                  <a:pt x="3199" y="1064"/>
                </a:lnTo>
                <a:lnTo>
                  <a:pt x="3201" y="1064"/>
                </a:lnTo>
                <a:lnTo>
                  <a:pt x="3206" y="1064"/>
                </a:lnTo>
                <a:lnTo>
                  <a:pt x="3210" y="1064"/>
                </a:lnTo>
                <a:lnTo>
                  <a:pt x="3214" y="1062"/>
                </a:lnTo>
                <a:lnTo>
                  <a:pt x="3216" y="1061"/>
                </a:lnTo>
                <a:lnTo>
                  <a:pt x="3217" y="1059"/>
                </a:lnTo>
                <a:lnTo>
                  <a:pt x="3218" y="1055"/>
                </a:lnTo>
                <a:lnTo>
                  <a:pt x="3219" y="1053"/>
                </a:lnTo>
                <a:lnTo>
                  <a:pt x="3220" y="1051"/>
                </a:lnTo>
                <a:lnTo>
                  <a:pt x="3221" y="1049"/>
                </a:lnTo>
                <a:lnTo>
                  <a:pt x="3223" y="1048"/>
                </a:lnTo>
                <a:lnTo>
                  <a:pt x="3223" y="1045"/>
                </a:lnTo>
                <a:lnTo>
                  <a:pt x="3225" y="1045"/>
                </a:lnTo>
                <a:lnTo>
                  <a:pt x="3228" y="1046"/>
                </a:lnTo>
                <a:lnTo>
                  <a:pt x="3231" y="1046"/>
                </a:lnTo>
                <a:lnTo>
                  <a:pt x="3233" y="1046"/>
                </a:lnTo>
                <a:lnTo>
                  <a:pt x="3234" y="1045"/>
                </a:lnTo>
                <a:lnTo>
                  <a:pt x="3239" y="1049"/>
                </a:lnTo>
                <a:lnTo>
                  <a:pt x="3243" y="1052"/>
                </a:lnTo>
                <a:lnTo>
                  <a:pt x="3247" y="1056"/>
                </a:lnTo>
                <a:lnTo>
                  <a:pt x="3250" y="1059"/>
                </a:lnTo>
                <a:lnTo>
                  <a:pt x="3253" y="1063"/>
                </a:lnTo>
                <a:lnTo>
                  <a:pt x="3255" y="1067"/>
                </a:lnTo>
                <a:lnTo>
                  <a:pt x="3259" y="1076"/>
                </a:lnTo>
                <a:lnTo>
                  <a:pt x="3263" y="1085"/>
                </a:lnTo>
                <a:lnTo>
                  <a:pt x="3267" y="1094"/>
                </a:lnTo>
                <a:lnTo>
                  <a:pt x="3272" y="1102"/>
                </a:lnTo>
                <a:lnTo>
                  <a:pt x="3275" y="1106"/>
                </a:lnTo>
                <a:lnTo>
                  <a:pt x="3279" y="1110"/>
                </a:lnTo>
                <a:lnTo>
                  <a:pt x="3284" y="1110"/>
                </a:lnTo>
                <a:lnTo>
                  <a:pt x="3294" y="1121"/>
                </a:lnTo>
                <a:lnTo>
                  <a:pt x="3302" y="1128"/>
                </a:lnTo>
                <a:lnTo>
                  <a:pt x="3305" y="1131"/>
                </a:lnTo>
                <a:lnTo>
                  <a:pt x="3307" y="1133"/>
                </a:lnTo>
                <a:lnTo>
                  <a:pt x="3313" y="1135"/>
                </a:lnTo>
                <a:lnTo>
                  <a:pt x="3319" y="1136"/>
                </a:lnTo>
                <a:lnTo>
                  <a:pt x="3324" y="1138"/>
                </a:lnTo>
                <a:lnTo>
                  <a:pt x="3327" y="1139"/>
                </a:lnTo>
                <a:lnTo>
                  <a:pt x="3329" y="1141"/>
                </a:lnTo>
                <a:lnTo>
                  <a:pt x="3329" y="1147"/>
                </a:lnTo>
                <a:lnTo>
                  <a:pt x="3335" y="1147"/>
                </a:lnTo>
                <a:lnTo>
                  <a:pt x="3337" y="1148"/>
                </a:lnTo>
                <a:lnTo>
                  <a:pt x="3337" y="1149"/>
                </a:lnTo>
                <a:lnTo>
                  <a:pt x="3338" y="1150"/>
                </a:lnTo>
                <a:lnTo>
                  <a:pt x="3338" y="1151"/>
                </a:lnTo>
                <a:lnTo>
                  <a:pt x="3338" y="1154"/>
                </a:lnTo>
                <a:lnTo>
                  <a:pt x="3337" y="1156"/>
                </a:lnTo>
                <a:lnTo>
                  <a:pt x="3338" y="1158"/>
                </a:lnTo>
                <a:lnTo>
                  <a:pt x="3340" y="1159"/>
                </a:lnTo>
                <a:lnTo>
                  <a:pt x="3342" y="1160"/>
                </a:lnTo>
                <a:lnTo>
                  <a:pt x="3347" y="1162"/>
                </a:lnTo>
                <a:lnTo>
                  <a:pt x="3351" y="1163"/>
                </a:lnTo>
                <a:lnTo>
                  <a:pt x="3353" y="1165"/>
                </a:lnTo>
                <a:lnTo>
                  <a:pt x="3355" y="1166"/>
                </a:lnTo>
                <a:lnTo>
                  <a:pt x="3356" y="1169"/>
                </a:lnTo>
                <a:lnTo>
                  <a:pt x="3357" y="1173"/>
                </a:lnTo>
                <a:lnTo>
                  <a:pt x="3358" y="1184"/>
                </a:lnTo>
                <a:lnTo>
                  <a:pt x="3358" y="1189"/>
                </a:lnTo>
                <a:lnTo>
                  <a:pt x="3358" y="1193"/>
                </a:lnTo>
                <a:lnTo>
                  <a:pt x="3357" y="1194"/>
                </a:lnTo>
                <a:lnTo>
                  <a:pt x="3357" y="1195"/>
                </a:lnTo>
                <a:lnTo>
                  <a:pt x="3356" y="1195"/>
                </a:lnTo>
                <a:lnTo>
                  <a:pt x="3355" y="1195"/>
                </a:lnTo>
                <a:lnTo>
                  <a:pt x="3354" y="1197"/>
                </a:lnTo>
                <a:lnTo>
                  <a:pt x="3353" y="1199"/>
                </a:lnTo>
                <a:lnTo>
                  <a:pt x="3353" y="1203"/>
                </a:lnTo>
                <a:lnTo>
                  <a:pt x="3352" y="1211"/>
                </a:lnTo>
                <a:lnTo>
                  <a:pt x="3345" y="1212"/>
                </a:lnTo>
                <a:lnTo>
                  <a:pt x="3338" y="1213"/>
                </a:lnTo>
                <a:lnTo>
                  <a:pt x="3330" y="1213"/>
                </a:lnTo>
                <a:lnTo>
                  <a:pt x="3322" y="1213"/>
                </a:lnTo>
                <a:lnTo>
                  <a:pt x="3307" y="1212"/>
                </a:lnTo>
                <a:lnTo>
                  <a:pt x="3296" y="1211"/>
                </a:lnTo>
                <a:lnTo>
                  <a:pt x="3296" y="1212"/>
                </a:lnTo>
                <a:lnTo>
                  <a:pt x="3297" y="1213"/>
                </a:lnTo>
                <a:lnTo>
                  <a:pt x="3297" y="1216"/>
                </a:lnTo>
                <a:lnTo>
                  <a:pt x="3298" y="1218"/>
                </a:lnTo>
                <a:lnTo>
                  <a:pt x="3298" y="1219"/>
                </a:lnTo>
                <a:lnTo>
                  <a:pt x="3299" y="1220"/>
                </a:lnTo>
                <a:lnTo>
                  <a:pt x="3303" y="1223"/>
                </a:lnTo>
                <a:lnTo>
                  <a:pt x="3308" y="1226"/>
                </a:lnTo>
                <a:lnTo>
                  <a:pt x="3319" y="1232"/>
                </a:lnTo>
                <a:lnTo>
                  <a:pt x="3341" y="1242"/>
                </a:lnTo>
                <a:lnTo>
                  <a:pt x="3342" y="1235"/>
                </a:lnTo>
                <a:lnTo>
                  <a:pt x="3344" y="1226"/>
                </a:lnTo>
                <a:lnTo>
                  <a:pt x="3344" y="1219"/>
                </a:lnTo>
                <a:lnTo>
                  <a:pt x="3344" y="1218"/>
                </a:lnTo>
                <a:lnTo>
                  <a:pt x="3344" y="1220"/>
                </a:lnTo>
                <a:lnTo>
                  <a:pt x="3344" y="1214"/>
                </a:lnTo>
                <a:lnTo>
                  <a:pt x="3345" y="1214"/>
                </a:lnTo>
                <a:lnTo>
                  <a:pt x="3347" y="1214"/>
                </a:lnTo>
                <a:lnTo>
                  <a:pt x="3352" y="1214"/>
                </a:lnTo>
                <a:lnTo>
                  <a:pt x="3360" y="1217"/>
                </a:lnTo>
                <a:lnTo>
                  <a:pt x="3371" y="1198"/>
                </a:lnTo>
                <a:lnTo>
                  <a:pt x="3374" y="1193"/>
                </a:lnTo>
                <a:lnTo>
                  <a:pt x="3376" y="1187"/>
                </a:lnTo>
                <a:lnTo>
                  <a:pt x="3378" y="1182"/>
                </a:lnTo>
                <a:lnTo>
                  <a:pt x="3378" y="1180"/>
                </a:lnTo>
                <a:lnTo>
                  <a:pt x="3377" y="1178"/>
                </a:lnTo>
                <a:lnTo>
                  <a:pt x="3376" y="1176"/>
                </a:lnTo>
                <a:lnTo>
                  <a:pt x="3373" y="1174"/>
                </a:lnTo>
                <a:lnTo>
                  <a:pt x="3370" y="1171"/>
                </a:lnTo>
                <a:lnTo>
                  <a:pt x="3369" y="1169"/>
                </a:lnTo>
                <a:lnTo>
                  <a:pt x="3368" y="1164"/>
                </a:lnTo>
                <a:lnTo>
                  <a:pt x="3369" y="1161"/>
                </a:lnTo>
                <a:lnTo>
                  <a:pt x="3370" y="1158"/>
                </a:lnTo>
                <a:lnTo>
                  <a:pt x="3371" y="1155"/>
                </a:lnTo>
                <a:lnTo>
                  <a:pt x="3373" y="1152"/>
                </a:lnTo>
                <a:lnTo>
                  <a:pt x="3374" y="1151"/>
                </a:lnTo>
                <a:lnTo>
                  <a:pt x="3376" y="1151"/>
                </a:lnTo>
                <a:lnTo>
                  <a:pt x="3379" y="1151"/>
                </a:lnTo>
                <a:lnTo>
                  <a:pt x="3382" y="1152"/>
                </a:lnTo>
                <a:lnTo>
                  <a:pt x="3386" y="1154"/>
                </a:lnTo>
                <a:lnTo>
                  <a:pt x="3394" y="1158"/>
                </a:lnTo>
                <a:lnTo>
                  <a:pt x="3394" y="1164"/>
                </a:lnTo>
                <a:lnTo>
                  <a:pt x="3396" y="1164"/>
                </a:lnTo>
                <a:lnTo>
                  <a:pt x="3398" y="1164"/>
                </a:lnTo>
                <a:lnTo>
                  <a:pt x="3398" y="1163"/>
                </a:lnTo>
                <a:lnTo>
                  <a:pt x="3399" y="1162"/>
                </a:lnTo>
                <a:lnTo>
                  <a:pt x="3399" y="1159"/>
                </a:lnTo>
                <a:lnTo>
                  <a:pt x="3398" y="1155"/>
                </a:lnTo>
                <a:lnTo>
                  <a:pt x="3394" y="1148"/>
                </a:lnTo>
                <a:lnTo>
                  <a:pt x="3391" y="1144"/>
                </a:lnTo>
                <a:lnTo>
                  <a:pt x="3388" y="1141"/>
                </a:lnTo>
                <a:lnTo>
                  <a:pt x="3385" y="1138"/>
                </a:lnTo>
                <a:lnTo>
                  <a:pt x="3377" y="1133"/>
                </a:lnTo>
                <a:lnTo>
                  <a:pt x="3376" y="1132"/>
                </a:lnTo>
                <a:lnTo>
                  <a:pt x="3373" y="1132"/>
                </a:lnTo>
                <a:lnTo>
                  <a:pt x="3369" y="1133"/>
                </a:lnTo>
                <a:lnTo>
                  <a:pt x="3367" y="1130"/>
                </a:lnTo>
                <a:lnTo>
                  <a:pt x="3365" y="1128"/>
                </a:lnTo>
                <a:lnTo>
                  <a:pt x="3360" y="1124"/>
                </a:lnTo>
                <a:lnTo>
                  <a:pt x="3362" y="1123"/>
                </a:lnTo>
                <a:lnTo>
                  <a:pt x="3362" y="1122"/>
                </a:lnTo>
                <a:lnTo>
                  <a:pt x="3362" y="1118"/>
                </a:lnTo>
                <a:lnTo>
                  <a:pt x="3360" y="1113"/>
                </a:lnTo>
                <a:lnTo>
                  <a:pt x="3347" y="1111"/>
                </a:lnTo>
                <a:lnTo>
                  <a:pt x="3342" y="1110"/>
                </a:lnTo>
                <a:lnTo>
                  <a:pt x="3338" y="1109"/>
                </a:lnTo>
                <a:lnTo>
                  <a:pt x="3334" y="1107"/>
                </a:lnTo>
                <a:lnTo>
                  <a:pt x="3330" y="1104"/>
                </a:lnTo>
                <a:lnTo>
                  <a:pt x="3327" y="1100"/>
                </a:lnTo>
                <a:lnTo>
                  <a:pt x="3324" y="1096"/>
                </a:lnTo>
                <a:lnTo>
                  <a:pt x="3323" y="1094"/>
                </a:lnTo>
                <a:lnTo>
                  <a:pt x="3322" y="1091"/>
                </a:lnTo>
                <a:lnTo>
                  <a:pt x="3321" y="1087"/>
                </a:lnTo>
                <a:lnTo>
                  <a:pt x="3320" y="1082"/>
                </a:lnTo>
                <a:lnTo>
                  <a:pt x="3319" y="1079"/>
                </a:lnTo>
                <a:lnTo>
                  <a:pt x="3318" y="1076"/>
                </a:lnTo>
                <a:lnTo>
                  <a:pt x="3316" y="1073"/>
                </a:lnTo>
                <a:lnTo>
                  <a:pt x="3313" y="1070"/>
                </a:lnTo>
                <a:lnTo>
                  <a:pt x="3309" y="1067"/>
                </a:lnTo>
                <a:lnTo>
                  <a:pt x="3304" y="1064"/>
                </a:lnTo>
                <a:lnTo>
                  <a:pt x="3295" y="1058"/>
                </a:lnTo>
                <a:lnTo>
                  <a:pt x="3287" y="1054"/>
                </a:lnTo>
                <a:lnTo>
                  <a:pt x="3288" y="1051"/>
                </a:lnTo>
                <a:lnTo>
                  <a:pt x="3287" y="1048"/>
                </a:lnTo>
                <a:lnTo>
                  <a:pt x="3287" y="1045"/>
                </a:lnTo>
                <a:lnTo>
                  <a:pt x="3287" y="1043"/>
                </a:lnTo>
                <a:lnTo>
                  <a:pt x="3289" y="1040"/>
                </a:lnTo>
                <a:lnTo>
                  <a:pt x="3291" y="1036"/>
                </a:lnTo>
                <a:lnTo>
                  <a:pt x="3296" y="1029"/>
                </a:lnTo>
                <a:lnTo>
                  <a:pt x="3293" y="1026"/>
                </a:lnTo>
                <a:lnTo>
                  <a:pt x="3291" y="1025"/>
                </a:lnTo>
                <a:lnTo>
                  <a:pt x="3290" y="1026"/>
                </a:lnTo>
                <a:lnTo>
                  <a:pt x="3290" y="1020"/>
                </a:lnTo>
                <a:lnTo>
                  <a:pt x="3297" y="1018"/>
                </a:lnTo>
                <a:lnTo>
                  <a:pt x="3303" y="1017"/>
                </a:lnTo>
                <a:lnTo>
                  <a:pt x="3309" y="1016"/>
                </a:lnTo>
                <a:lnTo>
                  <a:pt x="3315" y="1014"/>
                </a:lnTo>
                <a:lnTo>
                  <a:pt x="3314" y="1016"/>
                </a:lnTo>
                <a:lnTo>
                  <a:pt x="3313" y="1019"/>
                </a:lnTo>
                <a:lnTo>
                  <a:pt x="3312" y="1022"/>
                </a:lnTo>
                <a:lnTo>
                  <a:pt x="3313" y="1024"/>
                </a:lnTo>
                <a:lnTo>
                  <a:pt x="3314" y="1026"/>
                </a:lnTo>
                <a:lnTo>
                  <a:pt x="3315" y="1028"/>
                </a:lnTo>
                <a:lnTo>
                  <a:pt x="3314" y="1031"/>
                </a:lnTo>
                <a:lnTo>
                  <a:pt x="3314" y="1033"/>
                </a:lnTo>
                <a:lnTo>
                  <a:pt x="3313" y="1036"/>
                </a:lnTo>
                <a:lnTo>
                  <a:pt x="3313" y="1038"/>
                </a:lnTo>
                <a:lnTo>
                  <a:pt x="3314" y="1040"/>
                </a:lnTo>
                <a:lnTo>
                  <a:pt x="3315" y="1043"/>
                </a:lnTo>
                <a:lnTo>
                  <a:pt x="3317" y="1042"/>
                </a:lnTo>
                <a:lnTo>
                  <a:pt x="3321" y="1041"/>
                </a:lnTo>
                <a:lnTo>
                  <a:pt x="3322" y="1040"/>
                </a:lnTo>
                <a:lnTo>
                  <a:pt x="3323" y="1040"/>
                </a:lnTo>
                <a:lnTo>
                  <a:pt x="3323" y="1039"/>
                </a:lnTo>
                <a:lnTo>
                  <a:pt x="3323" y="1038"/>
                </a:lnTo>
                <a:lnTo>
                  <a:pt x="3321" y="1037"/>
                </a:lnTo>
                <a:lnTo>
                  <a:pt x="3322" y="1036"/>
                </a:lnTo>
                <a:lnTo>
                  <a:pt x="3324" y="1035"/>
                </a:lnTo>
                <a:lnTo>
                  <a:pt x="3327" y="1035"/>
                </a:lnTo>
                <a:lnTo>
                  <a:pt x="3329" y="1034"/>
                </a:lnTo>
                <a:lnTo>
                  <a:pt x="3331" y="1027"/>
                </a:lnTo>
                <a:lnTo>
                  <a:pt x="3332" y="1023"/>
                </a:lnTo>
                <a:lnTo>
                  <a:pt x="3333" y="1024"/>
                </a:lnTo>
                <a:lnTo>
                  <a:pt x="3333" y="1025"/>
                </a:lnTo>
                <a:lnTo>
                  <a:pt x="3334" y="1026"/>
                </a:lnTo>
                <a:lnTo>
                  <a:pt x="3338" y="1029"/>
                </a:lnTo>
                <a:lnTo>
                  <a:pt x="3335" y="1037"/>
                </a:lnTo>
                <a:lnTo>
                  <a:pt x="3335" y="1041"/>
                </a:lnTo>
                <a:lnTo>
                  <a:pt x="3335" y="1043"/>
                </a:lnTo>
                <a:lnTo>
                  <a:pt x="3335" y="1045"/>
                </a:lnTo>
                <a:lnTo>
                  <a:pt x="3346" y="1054"/>
                </a:lnTo>
                <a:lnTo>
                  <a:pt x="3346" y="1056"/>
                </a:lnTo>
                <a:lnTo>
                  <a:pt x="3346" y="1057"/>
                </a:lnTo>
                <a:lnTo>
                  <a:pt x="3345" y="1059"/>
                </a:lnTo>
                <a:lnTo>
                  <a:pt x="3343" y="1061"/>
                </a:lnTo>
                <a:lnTo>
                  <a:pt x="3344" y="1062"/>
                </a:lnTo>
                <a:lnTo>
                  <a:pt x="3360" y="1074"/>
                </a:lnTo>
                <a:lnTo>
                  <a:pt x="3363" y="1074"/>
                </a:lnTo>
                <a:lnTo>
                  <a:pt x="3366" y="1073"/>
                </a:lnTo>
                <a:lnTo>
                  <a:pt x="3369" y="1073"/>
                </a:lnTo>
                <a:lnTo>
                  <a:pt x="3372" y="1074"/>
                </a:lnTo>
                <a:lnTo>
                  <a:pt x="3375" y="1076"/>
                </a:lnTo>
                <a:lnTo>
                  <a:pt x="3377" y="1080"/>
                </a:lnTo>
                <a:lnTo>
                  <a:pt x="3380" y="1085"/>
                </a:lnTo>
                <a:lnTo>
                  <a:pt x="3383" y="1088"/>
                </a:lnTo>
                <a:lnTo>
                  <a:pt x="3387" y="1089"/>
                </a:lnTo>
                <a:lnTo>
                  <a:pt x="3392" y="1090"/>
                </a:lnTo>
                <a:lnTo>
                  <a:pt x="3396" y="1091"/>
                </a:lnTo>
                <a:lnTo>
                  <a:pt x="3398" y="1092"/>
                </a:lnTo>
                <a:lnTo>
                  <a:pt x="3400" y="1093"/>
                </a:lnTo>
                <a:lnTo>
                  <a:pt x="3401" y="1095"/>
                </a:lnTo>
                <a:lnTo>
                  <a:pt x="3401" y="1097"/>
                </a:lnTo>
                <a:lnTo>
                  <a:pt x="3402" y="1100"/>
                </a:lnTo>
                <a:lnTo>
                  <a:pt x="3402" y="1101"/>
                </a:lnTo>
                <a:lnTo>
                  <a:pt x="3403" y="1102"/>
                </a:lnTo>
                <a:lnTo>
                  <a:pt x="3420" y="1109"/>
                </a:lnTo>
                <a:lnTo>
                  <a:pt x="3422" y="1112"/>
                </a:lnTo>
                <a:lnTo>
                  <a:pt x="3423" y="1114"/>
                </a:lnTo>
                <a:lnTo>
                  <a:pt x="3423" y="1115"/>
                </a:lnTo>
                <a:lnTo>
                  <a:pt x="3424" y="1116"/>
                </a:lnTo>
                <a:lnTo>
                  <a:pt x="3424" y="1119"/>
                </a:lnTo>
                <a:lnTo>
                  <a:pt x="3424" y="1122"/>
                </a:lnTo>
                <a:lnTo>
                  <a:pt x="3424" y="1124"/>
                </a:lnTo>
                <a:lnTo>
                  <a:pt x="3423" y="1129"/>
                </a:lnTo>
                <a:lnTo>
                  <a:pt x="3420" y="1140"/>
                </a:lnTo>
                <a:lnTo>
                  <a:pt x="3419" y="1145"/>
                </a:lnTo>
                <a:lnTo>
                  <a:pt x="3420" y="1150"/>
                </a:lnTo>
                <a:lnTo>
                  <a:pt x="3437" y="1173"/>
                </a:lnTo>
                <a:lnTo>
                  <a:pt x="3448" y="1186"/>
                </a:lnTo>
                <a:lnTo>
                  <a:pt x="3448" y="1189"/>
                </a:lnTo>
                <a:lnTo>
                  <a:pt x="3450" y="1189"/>
                </a:lnTo>
                <a:lnTo>
                  <a:pt x="3452" y="1189"/>
                </a:lnTo>
                <a:lnTo>
                  <a:pt x="3454" y="1188"/>
                </a:lnTo>
                <a:lnTo>
                  <a:pt x="3456" y="1189"/>
                </a:lnTo>
                <a:lnTo>
                  <a:pt x="3456" y="1190"/>
                </a:lnTo>
                <a:lnTo>
                  <a:pt x="3456" y="1192"/>
                </a:lnTo>
                <a:lnTo>
                  <a:pt x="3456" y="1193"/>
                </a:lnTo>
                <a:lnTo>
                  <a:pt x="3453" y="1192"/>
                </a:lnTo>
                <a:lnTo>
                  <a:pt x="3454" y="1201"/>
                </a:lnTo>
                <a:lnTo>
                  <a:pt x="3453" y="1209"/>
                </a:lnTo>
                <a:lnTo>
                  <a:pt x="3455" y="1208"/>
                </a:lnTo>
                <a:lnTo>
                  <a:pt x="3457" y="1206"/>
                </a:lnTo>
                <a:lnTo>
                  <a:pt x="3458" y="1204"/>
                </a:lnTo>
                <a:lnTo>
                  <a:pt x="3459" y="1203"/>
                </a:lnTo>
                <a:lnTo>
                  <a:pt x="3464" y="1202"/>
                </a:lnTo>
                <a:lnTo>
                  <a:pt x="3468" y="1202"/>
                </a:lnTo>
                <a:lnTo>
                  <a:pt x="3472" y="1204"/>
                </a:lnTo>
                <a:lnTo>
                  <a:pt x="3476" y="1206"/>
                </a:lnTo>
                <a:lnTo>
                  <a:pt x="3482" y="1211"/>
                </a:lnTo>
                <a:lnTo>
                  <a:pt x="3485" y="1213"/>
                </a:lnTo>
                <a:lnTo>
                  <a:pt x="3487" y="1214"/>
                </a:lnTo>
                <a:lnTo>
                  <a:pt x="3482" y="1213"/>
                </a:lnTo>
                <a:lnTo>
                  <a:pt x="3478" y="1212"/>
                </a:lnTo>
                <a:lnTo>
                  <a:pt x="3475" y="1211"/>
                </a:lnTo>
                <a:lnTo>
                  <a:pt x="3472" y="1211"/>
                </a:lnTo>
                <a:lnTo>
                  <a:pt x="3467" y="1212"/>
                </a:lnTo>
                <a:lnTo>
                  <a:pt x="3459" y="1211"/>
                </a:lnTo>
                <a:lnTo>
                  <a:pt x="3462" y="1225"/>
                </a:lnTo>
                <a:lnTo>
                  <a:pt x="3464" y="1230"/>
                </a:lnTo>
                <a:lnTo>
                  <a:pt x="3464" y="1233"/>
                </a:lnTo>
                <a:lnTo>
                  <a:pt x="3465" y="1237"/>
                </a:lnTo>
                <a:lnTo>
                  <a:pt x="3475" y="1237"/>
                </a:lnTo>
                <a:lnTo>
                  <a:pt x="3487" y="1237"/>
                </a:lnTo>
                <a:lnTo>
                  <a:pt x="3485" y="1233"/>
                </a:lnTo>
                <a:lnTo>
                  <a:pt x="3483" y="1230"/>
                </a:lnTo>
                <a:lnTo>
                  <a:pt x="3484" y="1229"/>
                </a:lnTo>
                <a:lnTo>
                  <a:pt x="3484" y="1228"/>
                </a:lnTo>
                <a:lnTo>
                  <a:pt x="3486" y="1228"/>
                </a:lnTo>
                <a:lnTo>
                  <a:pt x="3487" y="1228"/>
                </a:lnTo>
                <a:lnTo>
                  <a:pt x="3491" y="1228"/>
                </a:lnTo>
                <a:lnTo>
                  <a:pt x="3495" y="1229"/>
                </a:lnTo>
                <a:lnTo>
                  <a:pt x="3497" y="1229"/>
                </a:lnTo>
                <a:lnTo>
                  <a:pt x="3498" y="1228"/>
                </a:lnTo>
                <a:lnTo>
                  <a:pt x="3495" y="1220"/>
                </a:lnTo>
                <a:lnTo>
                  <a:pt x="3494" y="1220"/>
                </a:lnTo>
                <a:lnTo>
                  <a:pt x="3491" y="1219"/>
                </a:lnTo>
                <a:lnTo>
                  <a:pt x="3490" y="1219"/>
                </a:lnTo>
                <a:lnTo>
                  <a:pt x="3491" y="1218"/>
                </a:lnTo>
                <a:lnTo>
                  <a:pt x="3493" y="1217"/>
                </a:lnTo>
                <a:lnTo>
                  <a:pt x="3496" y="1216"/>
                </a:lnTo>
                <a:lnTo>
                  <a:pt x="3498" y="1215"/>
                </a:lnTo>
                <a:lnTo>
                  <a:pt x="3501" y="1216"/>
                </a:lnTo>
                <a:lnTo>
                  <a:pt x="3504" y="1218"/>
                </a:lnTo>
                <a:lnTo>
                  <a:pt x="3506" y="1219"/>
                </a:lnTo>
                <a:lnTo>
                  <a:pt x="3510" y="1220"/>
                </a:lnTo>
                <a:lnTo>
                  <a:pt x="3510" y="1209"/>
                </a:lnTo>
                <a:lnTo>
                  <a:pt x="3504" y="1206"/>
                </a:lnTo>
                <a:lnTo>
                  <a:pt x="3506" y="1206"/>
                </a:lnTo>
                <a:lnTo>
                  <a:pt x="3509" y="1206"/>
                </a:lnTo>
                <a:lnTo>
                  <a:pt x="3512" y="1205"/>
                </a:lnTo>
                <a:lnTo>
                  <a:pt x="3515" y="1206"/>
                </a:lnTo>
                <a:lnTo>
                  <a:pt x="3517" y="1208"/>
                </a:lnTo>
                <a:lnTo>
                  <a:pt x="3520" y="1213"/>
                </a:lnTo>
                <a:lnTo>
                  <a:pt x="3521" y="1215"/>
                </a:lnTo>
                <a:lnTo>
                  <a:pt x="3521" y="1214"/>
                </a:lnTo>
                <a:lnTo>
                  <a:pt x="3521" y="1211"/>
                </a:lnTo>
                <a:lnTo>
                  <a:pt x="3520" y="1205"/>
                </a:lnTo>
                <a:lnTo>
                  <a:pt x="3519" y="1203"/>
                </a:lnTo>
                <a:lnTo>
                  <a:pt x="3518" y="1200"/>
                </a:lnTo>
                <a:lnTo>
                  <a:pt x="3516" y="1199"/>
                </a:lnTo>
                <a:lnTo>
                  <a:pt x="3513" y="1198"/>
                </a:lnTo>
                <a:lnTo>
                  <a:pt x="3509" y="1198"/>
                </a:lnTo>
                <a:lnTo>
                  <a:pt x="3507" y="1197"/>
                </a:lnTo>
                <a:lnTo>
                  <a:pt x="3505" y="1195"/>
                </a:lnTo>
                <a:lnTo>
                  <a:pt x="3503" y="1191"/>
                </a:lnTo>
                <a:lnTo>
                  <a:pt x="3500" y="1188"/>
                </a:lnTo>
                <a:lnTo>
                  <a:pt x="3499" y="1187"/>
                </a:lnTo>
                <a:lnTo>
                  <a:pt x="3498" y="1186"/>
                </a:lnTo>
                <a:lnTo>
                  <a:pt x="3496" y="1186"/>
                </a:lnTo>
                <a:lnTo>
                  <a:pt x="3495" y="1186"/>
                </a:lnTo>
                <a:lnTo>
                  <a:pt x="3494" y="1187"/>
                </a:lnTo>
                <a:lnTo>
                  <a:pt x="3493" y="1187"/>
                </a:lnTo>
                <a:lnTo>
                  <a:pt x="3492" y="1189"/>
                </a:lnTo>
                <a:lnTo>
                  <a:pt x="3491" y="1189"/>
                </a:lnTo>
                <a:lnTo>
                  <a:pt x="3490" y="1189"/>
                </a:lnTo>
                <a:lnTo>
                  <a:pt x="3489" y="1188"/>
                </a:lnTo>
                <a:lnTo>
                  <a:pt x="3489" y="1186"/>
                </a:lnTo>
                <a:lnTo>
                  <a:pt x="3489" y="1185"/>
                </a:lnTo>
                <a:lnTo>
                  <a:pt x="3487" y="1183"/>
                </a:lnTo>
                <a:lnTo>
                  <a:pt x="3487" y="1178"/>
                </a:lnTo>
                <a:lnTo>
                  <a:pt x="3492" y="1178"/>
                </a:lnTo>
                <a:lnTo>
                  <a:pt x="3493" y="1178"/>
                </a:lnTo>
                <a:lnTo>
                  <a:pt x="3494" y="1178"/>
                </a:lnTo>
                <a:lnTo>
                  <a:pt x="3494" y="1177"/>
                </a:lnTo>
                <a:lnTo>
                  <a:pt x="3494" y="1176"/>
                </a:lnTo>
                <a:lnTo>
                  <a:pt x="3493" y="1173"/>
                </a:lnTo>
                <a:lnTo>
                  <a:pt x="3491" y="1170"/>
                </a:lnTo>
                <a:lnTo>
                  <a:pt x="3489" y="1167"/>
                </a:lnTo>
                <a:lnTo>
                  <a:pt x="3484" y="1161"/>
                </a:lnTo>
                <a:lnTo>
                  <a:pt x="3481" y="1155"/>
                </a:lnTo>
                <a:lnTo>
                  <a:pt x="3488" y="1145"/>
                </a:lnTo>
                <a:lnTo>
                  <a:pt x="3490" y="1143"/>
                </a:lnTo>
                <a:lnTo>
                  <a:pt x="3491" y="1142"/>
                </a:lnTo>
                <a:lnTo>
                  <a:pt x="3491" y="1144"/>
                </a:lnTo>
                <a:lnTo>
                  <a:pt x="3490" y="1150"/>
                </a:lnTo>
                <a:lnTo>
                  <a:pt x="3492" y="1150"/>
                </a:lnTo>
                <a:lnTo>
                  <a:pt x="3493" y="1151"/>
                </a:lnTo>
                <a:lnTo>
                  <a:pt x="3494" y="1152"/>
                </a:lnTo>
                <a:lnTo>
                  <a:pt x="3494" y="1155"/>
                </a:lnTo>
                <a:lnTo>
                  <a:pt x="3495" y="1158"/>
                </a:lnTo>
                <a:lnTo>
                  <a:pt x="3498" y="1157"/>
                </a:lnTo>
                <a:lnTo>
                  <a:pt x="3498" y="1156"/>
                </a:lnTo>
                <a:lnTo>
                  <a:pt x="3498" y="1155"/>
                </a:lnTo>
                <a:lnTo>
                  <a:pt x="3498" y="1152"/>
                </a:lnTo>
                <a:lnTo>
                  <a:pt x="3508" y="1151"/>
                </a:lnTo>
                <a:lnTo>
                  <a:pt x="3511" y="1151"/>
                </a:lnTo>
                <a:lnTo>
                  <a:pt x="3513" y="1150"/>
                </a:lnTo>
                <a:lnTo>
                  <a:pt x="3513" y="1148"/>
                </a:lnTo>
                <a:lnTo>
                  <a:pt x="3512" y="1146"/>
                </a:lnTo>
                <a:lnTo>
                  <a:pt x="3504" y="1135"/>
                </a:lnTo>
                <a:lnTo>
                  <a:pt x="3517" y="1136"/>
                </a:lnTo>
                <a:lnTo>
                  <a:pt x="3526" y="1137"/>
                </a:lnTo>
                <a:lnTo>
                  <a:pt x="3535" y="1136"/>
                </a:lnTo>
                <a:lnTo>
                  <a:pt x="3546" y="1135"/>
                </a:lnTo>
                <a:lnTo>
                  <a:pt x="3547" y="1140"/>
                </a:lnTo>
                <a:lnTo>
                  <a:pt x="3549" y="1144"/>
                </a:lnTo>
                <a:lnTo>
                  <a:pt x="3549" y="1147"/>
                </a:lnTo>
                <a:lnTo>
                  <a:pt x="3550" y="1151"/>
                </a:lnTo>
                <a:lnTo>
                  <a:pt x="3552" y="1153"/>
                </a:lnTo>
                <a:lnTo>
                  <a:pt x="3554" y="1152"/>
                </a:lnTo>
                <a:lnTo>
                  <a:pt x="3557" y="1150"/>
                </a:lnTo>
                <a:lnTo>
                  <a:pt x="3563" y="1147"/>
                </a:lnTo>
                <a:lnTo>
                  <a:pt x="3560" y="1150"/>
                </a:lnTo>
                <a:lnTo>
                  <a:pt x="3557" y="1154"/>
                </a:lnTo>
                <a:lnTo>
                  <a:pt x="3552" y="1161"/>
                </a:lnTo>
                <a:lnTo>
                  <a:pt x="3550" y="1160"/>
                </a:lnTo>
                <a:lnTo>
                  <a:pt x="3549" y="1161"/>
                </a:lnTo>
                <a:lnTo>
                  <a:pt x="3549" y="1162"/>
                </a:lnTo>
                <a:lnTo>
                  <a:pt x="3549" y="1164"/>
                </a:lnTo>
                <a:lnTo>
                  <a:pt x="3549" y="1169"/>
                </a:lnTo>
                <a:lnTo>
                  <a:pt x="3549" y="1172"/>
                </a:lnTo>
                <a:lnTo>
                  <a:pt x="3555" y="1173"/>
                </a:lnTo>
                <a:lnTo>
                  <a:pt x="3558" y="1174"/>
                </a:lnTo>
                <a:lnTo>
                  <a:pt x="3560" y="1175"/>
                </a:lnTo>
                <a:lnTo>
                  <a:pt x="3561" y="1178"/>
                </a:lnTo>
                <a:lnTo>
                  <a:pt x="3562" y="1181"/>
                </a:lnTo>
                <a:lnTo>
                  <a:pt x="3561" y="1183"/>
                </a:lnTo>
                <a:lnTo>
                  <a:pt x="3561" y="1185"/>
                </a:lnTo>
                <a:lnTo>
                  <a:pt x="3560" y="1190"/>
                </a:lnTo>
                <a:lnTo>
                  <a:pt x="3560" y="1192"/>
                </a:lnTo>
                <a:lnTo>
                  <a:pt x="3560" y="1195"/>
                </a:lnTo>
                <a:lnTo>
                  <a:pt x="3563" y="1197"/>
                </a:lnTo>
                <a:lnTo>
                  <a:pt x="3565" y="1198"/>
                </a:lnTo>
                <a:lnTo>
                  <a:pt x="3565" y="1199"/>
                </a:lnTo>
                <a:lnTo>
                  <a:pt x="3566" y="1200"/>
                </a:lnTo>
                <a:lnTo>
                  <a:pt x="3561" y="1201"/>
                </a:lnTo>
                <a:lnTo>
                  <a:pt x="3558" y="1201"/>
                </a:lnTo>
                <a:lnTo>
                  <a:pt x="3552" y="1203"/>
                </a:lnTo>
                <a:lnTo>
                  <a:pt x="3553" y="1204"/>
                </a:lnTo>
                <a:lnTo>
                  <a:pt x="3553" y="1205"/>
                </a:lnTo>
                <a:lnTo>
                  <a:pt x="3554" y="1208"/>
                </a:lnTo>
                <a:lnTo>
                  <a:pt x="3555" y="1211"/>
                </a:lnTo>
                <a:lnTo>
                  <a:pt x="3556" y="1211"/>
                </a:lnTo>
                <a:lnTo>
                  <a:pt x="3558" y="1210"/>
                </a:lnTo>
                <a:lnTo>
                  <a:pt x="3563" y="1209"/>
                </a:lnTo>
                <a:lnTo>
                  <a:pt x="3564" y="1216"/>
                </a:lnTo>
                <a:lnTo>
                  <a:pt x="3565" y="1222"/>
                </a:lnTo>
                <a:lnTo>
                  <a:pt x="3566" y="1234"/>
                </a:lnTo>
                <a:lnTo>
                  <a:pt x="3567" y="1234"/>
                </a:lnTo>
                <a:lnTo>
                  <a:pt x="3569" y="1234"/>
                </a:lnTo>
                <a:lnTo>
                  <a:pt x="3573" y="1234"/>
                </a:lnTo>
                <a:lnTo>
                  <a:pt x="3577" y="1233"/>
                </a:lnTo>
                <a:lnTo>
                  <a:pt x="3578" y="1233"/>
                </a:lnTo>
                <a:lnTo>
                  <a:pt x="3580" y="1234"/>
                </a:lnTo>
                <a:lnTo>
                  <a:pt x="3580" y="1242"/>
                </a:lnTo>
                <a:lnTo>
                  <a:pt x="3581" y="1243"/>
                </a:lnTo>
                <a:lnTo>
                  <a:pt x="3583" y="1243"/>
                </a:lnTo>
                <a:lnTo>
                  <a:pt x="3585" y="1242"/>
                </a:lnTo>
                <a:lnTo>
                  <a:pt x="3591" y="1240"/>
                </a:lnTo>
                <a:lnTo>
                  <a:pt x="3600" y="1251"/>
                </a:lnTo>
                <a:lnTo>
                  <a:pt x="3605" y="1257"/>
                </a:lnTo>
                <a:lnTo>
                  <a:pt x="3611" y="1262"/>
                </a:lnTo>
                <a:lnTo>
                  <a:pt x="3612" y="1261"/>
                </a:lnTo>
                <a:lnTo>
                  <a:pt x="3614" y="1261"/>
                </a:lnTo>
                <a:lnTo>
                  <a:pt x="3616" y="1261"/>
                </a:lnTo>
                <a:lnTo>
                  <a:pt x="3619" y="1260"/>
                </a:lnTo>
                <a:lnTo>
                  <a:pt x="3620" y="1260"/>
                </a:lnTo>
                <a:lnTo>
                  <a:pt x="3622" y="1259"/>
                </a:lnTo>
                <a:lnTo>
                  <a:pt x="3624" y="1258"/>
                </a:lnTo>
                <a:lnTo>
                  <a:pt x="3625" y="1256"/>
                </a:lnTo>
                <a:lnTo>
                  <a:pt x="3627" y="1252"/>
                </a:lnTo>
                <a:lnTo>
                  <a:pt x="3629" y="1249"/>
                </a:lnTo>
                <a:lnTo>
                  <a:pt x="3631" y="1246"/>
                </a:lnTo>
                <a:lnTo>
                  <a:pt x="3632" y="1244"/>
                </a:lnTo>
                <a:lnTo>
                  <a:pt x="3633" y="1244"/>
                </a:lnTo>
                <a:lnTo>
                  <a:pt x="3635" y="1243"/>
                </a:lnTo>
                <a:lnTo>
                  <a:pt x="3638" y="1244"/>
                </a:lnTo>
                <a:lnTo>
                  <a:pt x="3640" y="1244"/>
                </a:lnTo>
                <a:lnTo>
                  <a:pt x="3644" y="1246"/>
                </a:lnTo>
                <a:lnTo>
                  <a:pt x="3653" y="1251"/>
                </a:lnTo>
                <a:lnTo>
                  <a:pt x="3659" y="1257"/>
                </a:lnTo>
                <a:lnTo>
                  <a:pt x="3662" y="1260"/>
                </a:lnTo>
                <a:lnTo>
                  <a:pt x="3663" y="1261"/>
                </a:lnTo>
                <a:lnTo>
                  <a:pt x="3664" y="1262"/>
                </a:lnTo>
                <a:lnTo>
                  <a:pt x="3668" y="1262"/>
                </a:lnTo>
                <a:lnTo>
                  <a:pt x="3671" y="1262"/>
                </a:lnTo>
                <a:lnTo>
                  <a:pt x="3677" y="1261"/>
                </a:lnTo>
                <a:lnTo>
                  <a:pt x="3683" y="1259"/>
                </a:lnTo>
                <a:lnTo>
                  <a:pt x="3688" y="1255"/>
                </a:lnTo>
                <a:lnTo>
                  <a:pt x="3692" y="1252"/>
                </a:lnTo>
                <a:lnTo>
                  <a:pt x="3696" y="1249"/>
                </a:lnTo>
                <a:lnTo>
                  <a:pt x="3699" y="1246"/>
                </a:lnTo>
                <a:lnTo>
                  <a:pt x="3701" y="1245"/>
                </a:lnTo>
                <a:lnTo>
                  <a:pt x="3702" y="1245"/>
                </a:lnTo>
                <a:lnTo>
                  <a:pt x="3703" y="1246"/>
                </a:lnTo>
                <a:lnTo>
                  <a:pt x="3705" y="1247"/>
                </a:lnTo>
                <a:lnTo>
                  <a:pt x="3708" y="1248"/>
                </a:lnTo>
                <a:lnTo>
                  <a:pt x="3710" y="1249"/>
                </a:lnTo>
                <a:lnTo>
                  <a:pt x="3712" y="1248"/>
                </a:lnTo>
                <a:lnTo>
                  <a:pt x="3713" y="1247"/>
                </a:lnTo>
                <a:lnTo>
                  <a:pt x="3714" y="1246"/>
                </a:lnTo>
                <a:lnTo>
                  <a:pt x="3716" y="1243"/>
                </a:lnTo>
                <a:lnTo>
                  <a:pt x="3718" y="1239"/>
                </a:lnTo>
                <a:lnTo>
                  <a:pt x="3720" y="1237"/>
                </a:lnTo>
                <a:lnTo>
                  <a:pt x="3720" y="1238"/>
                </a:lnTo>
                <a:lnTo>
                  <a:pt x="3721" y="1239"/>
                </a:lnTo>
                <a:lnTo>
                  <a:pt x="3722" y="1242"/>
                </a:lnTo>
                <a:lnTo>
                  <a:pt x="3723" y="1246"/>
                </a:lnTo>
                <a:lnTo>
                  <a:pt x="3723" y="1251"/>
                </a:lnTo>
                <a:lnTo>
                  <a:pt x="3718" y="1254"/>
                </a:lnTo>
                <a:lnTo>
                  <a:pt x="3719" y="1261"/>
                </a:lnTo>
                <a:lnTo>
                  <a:pt x="3721" y="1267"/>
                </a:lnTo>
                <a:lnTo>
                  <a:pt x="3722" y="1272"/>
                </a:lnTo>
                <a:lnTo>
                  <a:pt x="3723" y="1279"/>
                </a:lnTo>
                <a:lnTo>
                  <a:pt x="3723" y="1281"/>
                </a:lnTo>
                <a:lnTo>
                  <a:pt x="3723" y="1284"/>
                </a:lnTo>
                <a:lnTo>
                  <a:pt x="3722" y="1287"/>
                </a:lnTo>
                <a:lnTo>
                  <a:pt x="3721" y="1290"/>
                </a:lnTo>
                <a:lnTo>
                  <a:pt x="3720" y="1292"/>
                </a:lnTo>
                <a:lnTo>
                  <a:pt x="3720" y="1293"/>
                </a:lnTo>
                <a:lnTo>
                  <a:pt x="3723" y="1294"/>
                </a:lnTo>
                <a:lnTo>
                  <a:pt x="3725" y="1295"/>
                </a:lnTo>
                <a:lnTo>
                  <a:pt x="3726" y="1297"/>
                </a:lnTo>
                <a:lnTo>
                  <a:pt x="3726" y="1301"/>
                </a:lnTo>
                <a:lnTo>
                  <a:pt x="3725" y="1306"/>
                </a:lnTo>
                <a:lnTo>
                  <a:pt x="3723" y="1310"/>
                </a:lnTo>
                <a:lnTo>
                  <a:pt x="3720" y="1315"/>
                </a:lnTo>
                <a:lnTo>
                  <a:pt x="3715" y="1323"/>
                </a:lnTo>
                <a:lnTo>
                  <a:pt x="3712" y="1330"/>
                </a:lnTo>
                <a:lnTo>
                  <a:pt x="3711" y="1332"/>
                </a:lnTo>
                <a:lnTo>
                  <a:pt x="3712" y="1333"/>
                </a:lnTo>
                <a:lnTo>
                  <a:pt x="3712" y="1334"/>
                </a:lnTo>
                <a:lnTo>
                  <a:pt x="3713" y="1335"/>
                </a:lnTo>
                <a:lnTo>
                  <a:pt x="3714" y="1336"/>
                </a:lnTo>
                <a:lnTo>
                  <a:pt x="3715" y="1336"/>
                </a:lnTo>
                <a:lnTo>
                  <a:pt x="3715" y="1338"/>
                </a:lnTo>
                <a:lnTo>
                  <a:pt x="3711" y="1342"/>
                </a:lnTo>
                <a:lnTo>
                  <a:pt x="3708" y="1345"/>
                </a:lnTo>
                <a:lnTo>
                  <a:pt x="3706" y="1346"/>
                </a:lnTo>
                <a:lnTo>
                  <a:pt x="3706" y="1349"/>
                </a:lnTo>
                <a:lnTo>
                  <a:pt x="3707" y="1352"/>
                </a:lnTo>
                <a:lnTo>
                  <a:pt x="3707" y="1355"/>
                </a:lnTo>
                <a:lnTo>
                  <a:pt x="3706" y="1358"/>
                </a:lnTo>
                <a:lnTo>
                  <a:pt x="3704" y="1360"/>
                </a:lnTo>
                <a:lnTo>
                  <a:pt x="3702" y="1361"/>
                </a:lnTo>
                <a:lnTo>
                  <a:pt x="3700" y="1363"/>
                </a:lnTo>
                <a:lnTo>
                  <a:pt x="3697" y="1363"/>
                </a:lnTo>
                <a:lnTo>
                  <a:pt x="3690" y="1364"/>
                </a:lnTo>
                <a:lnTo>
                  <a:pt x="3683" y="1364"/>
                </a:lnTo>
                <a:lnTo>
                  <a:pt x="3676" y="1363"/>
                </a:lnTo>
                <a:lnTo>
                  <a:pt x="3670" y="1363"/>
                </a:lnTo>
                <a:lnTo>
                  <a:pt x="3665" y="1366"/>
                </a:lnTo>
                <a:lnTo>
                  <a:pt x="3661" y="1368"/>
                </a:lnTo>
                <a:lnTo>
                  <a:pt x="3659" y="1369"/>
                </a:lnTo>
                <a:lnTo>
                  <a:pt x="3658" y="1369"/>
                </a:lnTo>
                <a:lnTo>
                  <a:pt x="3657" y="1368"/>
                </a:lnTo>
                <a:lnTo>
                  <a:pt x="3655" y="1365"/>
                </a:lnTo>
                <a:lnTo>
                  <a:pt x="3653" y="1361"/>
                </a:lnTo>
                <a:lnTo>
                  <a:pt x="3651" y="1360"/>
                </a:lnTo>
                <a:lnTo>
                  <a:pt x="3649" y="1361"/>
                </a:lnTo>
                <a:lnTo>
                  <a:pt x="3646" y="1361"/>
                </a:lnTo>
                <a:lnTo>
                  <a:pt x="3645" y="1361"/>
                </a:lnTo>
                <a:lnTo>
                  <a:pt x="3646" y="1361"/>
                </a:lnTo>
                <a:lnTo>
                  <a:pt x="3646" y="1364"/>
                </a:lnTo>
                <a:lnTo>
                  <a:pt x="3647" y="1369"/>
                </a:lnTo>
                <a:lnTo>
                  <a:pt x="3644" y="1368"/>
                </a:lnTo>
                <a:lnTo>
                  <a:pt x="3643" y="1367"/>
                </a:lnTo>
                <a:lnTo>
                  <a:pt x="3643" y="1366"/>
                </a:lnTo>
                <a:lnTo>
                  <a:pt x="3642" y="1364"/>
                </a:lnTo>
                <a:lnTo>
                  <a:pt x="3642" y="1363"/>
                </a:lnTo>
                <a:lnTo>
                  <a:pt x="3640" y="1363"/>
                </a:lnTo>
                <a:lnTo>
                  <a:pt x="3637" y="1364"/>
                </a:lnTo>
                <a:lnTo>
                  <a:pt x="3631" y="1366"/>
                </a:lnTo>
                <a:lnTo>
                  <a:pt x="3626" y="1370"/>
                </a:lnTo>
                <a:lnTo>
                  <a:pt x="3622" y="1372"/>
                </a:lnTo>
                <a:lnTo>
                  <a:pt x="3605" y="1369"/>
                </a:lnTo>
                <a:lnTo>
                  <a:pt x="3602" y="1369"/>
                </a:lnTo>
                <a:lnTo>
                  <a:pt x="3594" y="1369"/>
                </a:lnTo>
                <a:lnTo>
                  <a:pt x="3594" y="1372"/>
                </a:lnTo>
                <a:lnTo>
                  <a:pt x="3591" y="1370"/>
                </a:lnTo>
                <a:lnTo>
                  <a:pt x="3588" y="1367"/>
                </a:lnTo>
                <a:lnTo>
                  <a:pt x="3587" y="1366"/>
                </a:lnTo>
                <a:lnTo>
                  <a:pt x="3586" y="1366"/>
                </a:lnTo>
                <a:lnTo>
                  <a:pt x="3584" y="1366"/>
                </a:lnTo>
                <a:lnTo>
                  <a:pt x="3583" y="1366"/>
                </a:lnTo>
                <a:lnTo>
                  <a:pt x="3582" y="1368"/>
                </a:lnTo>
                <a:lnTo>
                  <a:pt x="3582" y="1370"/>
                </a:lnTo>
                <a:lnTo>
                  <a:pt x="3583" y="1373"/>
                </a:lnTo>
                <a:lnTo>
                  <a:pt x="3583" y="1375"/>
                </a:lnTo>
                <a:lnTo>
                  <a:pt x="3569" y="1383"/>
                </a:lnTo>
                <a:lnTo>
                  <a:pt x="3563" y="1380"/>
                </a:lnTo>
                <a:lnTo>
                  <a:pt x="3557" y="1375"/>
                </a:lnTo>
                <a:lnTo>
                  <a:pt x="3551" y="1371"/>
                </a:lnTo>
                <a:lnTo>
                  <a:pt x="3548" y="1370"/>
                </a:lnTo>
                <a:lnTo>
                  <a:pt x="3546" y="1369"/>
                </a:lnTo>
                <a:lnTo>
                  <a:pt x="3543" y="1369"/>
                </a:lnTo>
                <a:lnTo>
                  <a:pt x="3541" y="1369"/>
                </a:lnTo>
                <a:lnTo>
                  <a:pt x="3539" y="1370"/>
                </a:lnTo>
                <a:lnTo>
                  <a:pt x="3537" y="1370"/>
                </a:lnTo>
                <a:lnTo>
                  <a:pt x="3533" y="1372"/>
                </a:lnTo>
                <a:lnTo>
                  <a:pt x="3531" y="1372"/>
                </a:lnTo>
                <a:lnTo>
                  <a:pt x="3529" y="1372"/>
                </a:lnTo>
                <a:lnTo>
                  <a:pt x="3529" y="1369"/>
                </a:lnTo>
                <a:lnTo>
                  <a:pt x="3518" y="1362"/>
                </a:lnTo>
                <a:lnTo>
                  <a:pt x="3507" y="1355"/>
                </a:lnTo>
                <a:lnTo>
                  <a:pt x="3504" y="1355"/>
                </a:lnTo>
                <a:lnTo>
                  <a:pt x="3502" y="1355"/>
                </a:lnTo>
                <a:lnTo>
                  <a:pt x="3497" y="1355"/>
                </a:lnTo>
                <a:lnTo>
                  <a:pt x="3491" y="1356"/>
                </a:lnTo>
                <a:lnTo>
                  <a:pt x="3489" y="1356"/>
                </a:lnTo>
                <a:lnTo>
                  <a:pt x="3487" y="1355"/>
                </a:lnTo>
                <a:lnTo>
                  <a:pt x="3484" y="1344"/>
                </a:lnTo>
                <a:lnTo>
                  <a:pt x="3468" y="1339"/>
                </a:lnTo>
                <a:lnTo>
                  <a:pt x="3456" y="1335"/>
                </a:lnTo>
                <a:lnTo>
                  <a:pt x="3454" y="1335"/>
                </a:lnTo>
                <a:lnTo>
                  <a:pt x="3452" y="1336"/>
                </a:lnTo>
                <a:lnTo>
                  <a:pt x="3447" y="1338"/>
                </a:lnTo>
                <a:lnTo>
                  <a:pt x="3443" y="1341"/>
                </a:lnTo>
                <a:lnTo>
                  <a:pt x="3439" y="1345"/>
                </a:lnTo>
                <a:lnTo>
                  <a:pt x="3431" y="1353"/>
                </a:lnTo>
                <a:lnTo>
                  <a:pt x="3425" y="1361"/>
                </a:lnTo>
                <a:lnTo>
                  <a:pt x="3427" y="1363"/>
                </a:lnTo>
                <a:lnTo>
                  <a:pt x="3430" y="1365"/>
                </a:lnTo>
                <a:lnTo>
                  <a:pt x="3432" y="1367"/>
                </a:lnTo>
                <a:lnTo>
                  <a:pt x="3434" y="1369"/>
                </a:lnTo>
                <a:lnTo>
                  <a:pt x="3434" y="1372"/>
                </a:lnTo>
                <a:lnTo>
                  <a:pt x="3433" y="1375"/>
                </a:lnTo>
                <a:lnTo>
                  <a:pt x="3433" y="1378"/>
                </a:lnTo>
                <a:lnTo>
                  <a:pt x="3433" y="1379"/>
                </a:lnTo>
                <a:lnTo>
                  <a:pt x="3434" y="1380"/>
                </a:lnTo>
                <a:lnTo>
                  <a:pt x="3429" y="1385"/>
                </a:lnTo>
                <a:lnTo>
                  <a:pt x="3424" y="1389"/>
                </a:lnTo>
                <a:lnTo>
                  <a:pt x="3414" y="1397"/>
                </a:lnTo>
                <a:lnTo>
                  <a:pt x="3412" y="1396"/>
                </a:lnTo>
                <a:lnTo>
                  <a:pt x="3409" y="1393"/>
                </a:lnTo>
                <a:lnTo>
                  <a:pt x="3407" y="1390"/>
                </a:lnTo>
                <a:lnTo>
                  <a:pt x="3405" y="1389"/>
                </a:lnTo>
                <a:lnTo>
                  <a:pt x="3399" y="1386"/>
                </a:lnTo>
                <a:lnTo>
                  <a:pt x="3393" y="1385"/>
                </a:lnTo>
                <a:lnTo>
                  <a:pt x="3381" y="1382"/>
                </a:lnTo>
                <a:lnTo>
                  <a:pt x="3374" y="1381"/>
                </a:lnTo>
                <a:lnTo>
                  <a:pt x="3369" y="1380"/>
                </a:lnTo>
                <a:lnTo>
                  <a:pt x="3363" y="1377"/>
                </a:lnTo>
                <a:lnTo>
                  <a:pt x="3358" y="1375"/>
                </a:lnTo>
                <a:lnTo>
                  <a:pt x="3354" y="1372"/>
                </a:lnTo>
                <a:lnTo>
                  <a:pt x="3351" y="1368"/>
                </a:lnTo>
                <a:lnTo>
                  <a:pt x="3345" y="1360"/>
                </a:lnTo>
                <a:lnTo>
                  <a:pt x="3342" y="1356"/>
                </a:lnTo>
                <a:lnTo>
                  <a:pt x="3339" y="1352"/>
                </a:lnTo>
                <a:lnTo>
                  <a:pt x="3336" y="1349"/>
                </a:lnTo>
                <a:lnTo>
                  <a:pt x="3332" y="1346"/>
                </a:lnTo>
                <a:lnTo>
                  <a:pt x="3328" y="1345"/>
                </a:lnTo>
                <a:lnTo>
                  <a:pt x="3323" y="1344"/>
                </a:lnTo>
                <a:lnTo>
                  <a:pt x="3314" y="1343"/>
                </a:lnTo>
                <a:lnTo>
                  <a:pt x="3303" y="1343"/>
                </a:lnTo>
                <a:lnTo>
                  <a:pt x="3297" y="1343"/>
                </a:lnTo>
                <a:lnTo>
                  <a:pt x="3290" y="1341"/>
                </a:lnTo>
                <a:lnTo>
                  <a:pt x="3290" y="1335"/>
                </a:lnTo>
                <a:lnTo>
                  <a:pt x="3287" y="1334"/>
                </a:lnTo>
                <a:lnTo>
                  <a:pt x="3283" y="1334"/>
                </a:lnTo>
                <a:lnTo>
                  <a:pt x="3279" y="1334"/>
                </a:lnTo>
                <a:lnTo>
                  <a:pt x="3278" y="1333"/>
                </a:lnTo>
                <a:lnTo>
                  <a:pt x="3276" y="1332"/>
                </a:lnTo>
                <a:lnTo>
                  <a:pt x="3275" y="1332"/>
                </a:lnTo>
                <a:lnTo>
                  <a:pt x="3275" y="1330"/>
                </a:lnTo>
                <a:lnTo>
                  <a:pt x="3275" y="1327"/>
                </a:lnTo>
                <a:lnTo>
                  <a:pt x="3274" y="1323"/>
                </a:lnTo>
                <a:lnTo>
                  <a:pt x="3273" y="1321"/>
                </a:lnTo>
                <a:lnTo>
                  <a:pt x="3272" y="1321"/>
                </a:lnTo>
                <a:lnTo>
                  <a:pt x="3270" y="1322"/>
                </a:lnTo>
                <a:lnTo>
                  <a:pt x="3268" y="1324"/>
                </a:lnTo>
                <a:lnTo>
                  <a:pt x="3264" y="1319"/>
                </a:lnTo>
                <a:lnTo>
                  <a:pt x="3261" y="1317"/>
                </a:lnTo>
                <a:lnTo>
                  <a:pt x="3259" y="1315"/>
                </a:lnTo>
                <a:lnTo>
                  <a:pt x="3259" y="1312"/>
                </a:lnTo>
                <a:lnTo>
                  <a:pt x="3258" y="1309"/>
                </a:lnTo>
                <a:lnTo>
                  <a:pt x="3257" y="1306"/>
                </a:lnTo>
                <a:lnTo>
                  <a:pt x="3256" y="1305"/>
                </a:lnTo>
                <a:lnTo>
                  <a:pt x="3256" y="1304"/>
                </a:lnTo>
                <a:lnTo>
                  <a:pt x="3257" y="1304"/>
                </a:lnTo>
                <a:lnTo>
                  <a:pt x="3258" y="1303"/>
                </a:lnTo>
                <a:lnTo>
                  <a:pt x="3260" y="1301"/>
                </a:lnTo>
                <a:lnTo>
                  <a:pt x="3263" y="1300"/>
                </a:lnTo>
                <a:lnTo>
                  <a:pt x="3265" y="1299"/>
                </a:lnTo>
                <a:lnTo>
                  <a:pt x="3266" y="1297"/>
                </a:lnTo>
                <a:lnTo>
                  <a:pt x="3266" y="1293"/>
                </a:lnTo>
                <a:lnTo>
                  <a:pt x="3268" y="1283"/>
                </a:lnTo>
                <a:lnTo>
                  <a:pt x="3270" y="1270"/>
                </a:lnTo>
                <a:lnTo>
                  <a:pt x="3269" y="1270"/>
                </a:lnTo>
                <a:lnTo>
                  <a:pt x="3266" y="1271"/>
                </a:lnTo>
                <a:lnTo>
                  <a:pt x="3264" y="1271"/>
                </a:lnTo>
                <a:lnTo>
                  <a:pt x="3262" y="1270"/>
                </a:lnTo>
                <a:lnTo>
                  <a:pt x="3261" y="1268"/>
                </a:lnTo>
                <a:lnTo>
                  <a:pt x="3262" y="1265"/>
                </a:lnTo>
                <a:lnTo>
                  <a:pt x="3262" y="1262"/>
                </a:lnTo>
                <a:lnTo>
                  <a:pt x="3262" y="1259"/>
                </a:lnTo>
                <a:lnTo>
                  <a:pt x="3269" y="1248"/>
                </a:lnTo>
                <a:lnTo>
                  <a:pt x="3276" y="1237"/>
                </a:lnTo>
                <a:lnTo>
                  <a:pt x="3270" y="1237"/>
                </a:lnTo>
                <a:lnTo>
                  <a:pt x="3267" y="1239"/>
                </a:lnTo>
                <a:lnTo>
                  <a:pt x="3263" y="1240"/>
                </a:lnTo>
                <a:lnTo>
                  <a:pt x="3261" y="1240"/>
                </a:lnTo>
                <a:lnTo>
                  <a:pt x="3259" y="1240"/>
                </a:lnTo>
                <a:lnTo>
                  <a:pt x="3259" y="1231"/>
                </a:lnTo>
                <a:lnTo>
                  <a:pt x="3251" y="1228"/>
                </a:lnTo>
                <a:lnTo>
                  <a:pt x="3249" y="1228"/>
                </a:lnTo>
                <a:lnTo>
                  <a:pt x="3246" y="1229"/>
                </a:lnTo>
                <a:lnTo>
                  <a:pt x="3241" y="1232"/>
                </a:lnTo>
                <a:lnTo>
                  <a:pt x="3235" y="1235"/>
                </a:lnTo>
                <a:lnTo>
                  <a:pt x="3231" y="1237"/>
                </a:lnTo>
                <a:lnTo>
                  <a:pt x="3228" y="1237"/>
                </a:lnTo>
                <a:lnTo>
                  <a:pt x="3226" y="1237"/>
                </a:lnTo>
                <a:lnTo>
                  <a:pt x="3221" y="1237"/>
                </a:lnTo>
                <a:lnTo>
                  <a:pt x="3217" y="1235"/>
                </a:lnTo>
                <a:lnTo>
                  <a:pt x="3213" y="1234"/>
                </a:lnTo>
                <a:lnTo>
                  <a:pt x="3208" y="1232"/>
                </a:lnTo>
                <a:lnTo>
                  <a:pt x="3203" y="1231"/>
                </a:lnTo>
                <a:lnTo>
                  <a:pt x="3200" y="1237"/>
                </a:lnTo>
                <a:lnTo>
                  <a:pt x="3199" y="1240"/>
                </a:lnTo>
                <a:lnTo>
                  <a:pt x="3197" y="1242"/>
                </a:lnTo>
                <a:lnTo>
                  <a:pt x="3195" y="1240"/>
                </a:lnTo>
                <a:lnTo>
                  <a:pt x="3193" y="1237"/>
                </a:lnTo>
                <a:lnTo>
                  <a:pt x="3189" y="1231"/>
                </a:lnTo>
                <a:lnTo>
                  <a:pt x="3184" y="1233"/>
                </a:lnTo>
                <a:lnTo>
                  <a:pt x="3179" y="1233"/>
                </a:lnTo>
                <a:lnTo>
                  <a:pt x="3171" y="1234"/>
                </a:lnTo>
                <a:lnTo>
                  <a:pt x="3152" y="1234"/>
                </a:lnTo>
                <a:lnTo>
                  <a:pt x="3149" y="1234"/>
                </a:lnTo>
                <a:lnTo>
                  <a:pt x="3146" y="1235"/>
                </a:lnTo>
                <a:lnTo>
                  <a:pt x="3137" y="1238"/>
                </a:lnTo>
                <a:lnTo>
                  <a:pt x="3129" y="1241"/>
                </a:lnTo>
                <a:lnTo>
                  <a:pt x="3124" y="1242"/>
                </a:lnTo>
                <a:lnTo>
                  <a:pt x="3119" y="1242"/>
                </a:lnTo>
                <a:lnTo>
                  <a:pt x="3113" y="1240"/>
                </a:lnTo>
                <a:lnTo>
                  <a:pt x="3110" y="1240"/>
                </a:lnTo>
                <a:lnTo>
                  <a:pt x="3106" y="1239"/>
                </a:lnTo>
                <a:lnTo>
                  <a:pt x="3102" y="1239"/>
                </a:lnTo>
                <a:lnTo>
                  <a:pt x="3099" y="1240"/>
                </a:lnTo>
                <a:lnTo>
                  <a:pt x="3095" y="1242"/>
                </a:lnTo>
                <a:lnTo>
                  <a:pt x="3091" y="1245"/>
                </a:lnTo>
                <a:lnTo>
                  <a:pt x="3088" y="1249"/>
                </a:lnTo>
                <a:lnTo>
                  <a:pt x="3085" y="1251"/>
                </a:lnTo>
                <a:lnTo>
                  <a:pt x="3082" y="1251"/>
                </a:lnTo>
                <a:lnTo>
                  <a:pt x="3079" y="1251"/>
                </a:lnTo>
                <a:lnTo>
                  <a:pt x="3076" y="1250"/>
                </a:lnTo>
                <a:lnTo>
                  <a:pt x="3075" y="1250"/>
                </a:lnTo>
                <a:lnTo>
                  <a:pt x="3074" y="1251"/>
                </a:lnTo>
                <a:lnTo>
                  <a:pt x="3072" y="1252"/>
                </a:lnTo>
                <a:lnTo>
                  <a:pt x="3071" y="1255"/>
                </a:lnTo>
                <a:lnTo>
                  <a:pt x="3069" y="1258"/>
                </a:lnTo>
                <a:lnTo>
                  <a:pt x="3068" y="1259"/>
                </a:lnTo>
                <a:lnTo>
                  <a:pt x="3065" y="1260"/>
                </a:lnTo>
                <a:lnTo>
                  <a:pt x="3063" y="1260"/>
                </a:lnTo>
                <a:lnTo>
                  <a:pt x="3058" y="1260"/>
                </a:lnTo>
                <a:lnTo>
                  <a:pt x="3053" y="1261"/>
                </a:lnTo>
                <a:lnTo>
                  <a:pt x="3051" y="1261"/>
                </a:lnTo>
                <a:lnTo>
                  <a:pt x="3048" y="1262"/>
                </a:lnTo>
                <a:lnTo>
                  <a:pt x="3046" y="1264"/>
                </a:lnTo>
                <a:lnTo>
                  <a:pt x="3044" y="1266"/>
                </a:lnTo>
                <a:lnTo>
                  <a:pt x="3040" y="1271"/>
                </a:lnTo>
                <a:lnTo>
                  <a:pt x="3035" y="1276"/>
                </a:lnTo>
                <a:lnTo>
                  <a:pt x="3032" y="1278"/>
                </a:lnTo>
                <a:lnTo>
                  <a:pt x="3029" y="1279"/>
                </a:lnTo>
                <a:lnTo>
                  <a:pt x="3026" y="1279"/>
                </a:lnTo>
                <a:lnTo>
                  <a:pt x="3024" y="1278"/>
                </a:lnTo>
                <a:lnTo>
                  <a:pt x="3022" y="1277"/>
                </a:lnTo>
                <a:lnTo>
                  <a:pt x="3020" y="1275"/>
                </a:lnTo>
                <a:lnTo>
                  <a:pt x="3018" y="1272"/>
                </a:lnTo>
                <a:lnTo>
                  <a:pt x="3017" y="1270"/>
                </a:lnTo>
                <a:lnTo>
                  <a:pt x="3016" y="1271"/>
                </a:lnTo>
                <a:lnTo>
                  <a:pt x="3015" y="1271"/>
                </a:lnTo>
                <a:lnTo>
                  <a:pt x="3014" y="1273"/>
                </a:lnTo>
                <a:lnTo>
                  <a:pt x="3013" y="1275"/>
                </a:lnTo>
                <a:lnTo>
                  <a:pt x="3012" y="1276"/>
                </a:lnTo>
                <a:lnTo>
                  <a:pt x="3004" y="1278"/>
                </a:lnTo>
                <a:lnTo>
                  <a:pt x="2996" y="1278"/>
                </a:lnTo>
                <a:lnTo>
                  <a:pt x="2988" y="1278"/>
                </a:lnTo>
                <a:lnTo>
                  <a:pt x="2981" y="1279"/>
                </a:lnTo>
                <a:lnTo>
                  <a:pt x="2969" y="1262"/>
                </a:lnTo>
                <a:lnTo>
                  <a:pt x="2958" y="1265"/>
                </a:lnTo>
                <a:lnTo>
                  <a:pt x="2956" y="1271"/>
                </a:lnTo>
                <a:lnTo>
                  <a:pt x="2954" y="1277"/>
                </a:lnTo>
                <a:lnTo>
                  <a:pt x="2951" y="1288"/>
                </a:lnTo>
                <a:lnTo>
                  <a:pt x="2950" y="1294"/>
                </a:lnTo>
                <a:lnTo>
                  <a:pt x="2948" y="1299"/>
                </a:lnTo>
                <a:lnTo>
                  <a:pt x="2945" y="1304"/>
                </a:lnTo>
                <a:lnTo>
                  <a:pt x="2941" y="1310"/>
                </a:lnTo>
                <a:lnTo>
                  <a:pt x="2938" y="1313"/>
                </a:lnTo>
                <a:lnTo>
                  <a:pt x="2932" y="1318"/>
                </a:lnTo>
                <a:lnTo>
                  <a:pt x="2926" y="1322"/>
                </a:lnTo>
                <a:lnTo>
                  <a:pt x="2922" y="1324"/>
                </a:lnTo>
                <a:lnTo>
                  <a:pt x="2919" y="1324"/>
                </a:lnTo>
                <a:lnTo>
                  <a:pt x="2916" y="1324"/>
                </a:lnTo>
                <a:lnTo>
                  <a:pt x="2913" y="1323"/>
                </a:lnTo>
                <a:lnTo>
                  <a:pt x="2910" y="1324"/>
                </a:lnTo>
                <a:lnTo>
                  <a:pt x="2909" y="1325"/>
                </a:lnTo>
                <a:lnTo>
                  <a:pt x="2906" y="1328"/>
                </a:lnTo>
                <a:lnTo>
                  <a:pt x="2901" y="1335"/>
                </a:lnTo>
                <a:lnTo>
                  <a:pt x="2896" y="1341"/>
                </a:lnTo>
                <a:lnTo>
                  <a:pt x="2894" y="1346"/>
                </a:lnTo>
                <a:lnTo>
                  <a:pt x="2893" y="1348"/>
                </a:lnTo>
                <a:lnTo>
                  <a:pt x="2895" y="1350"/>
                </a:lnTo>
                <a:lnTo>
                  <a:pt x="2896" y="1352"/>
                </a:lnTo>
                <a:lnTo>
                  <a:pt x="2896" y="1353"/>
                </a:lnTo>
                <a:lnTo>
                  <a:pt x="2896" y="1355"/>
                </a:lnTo>
                <a:lnTo>
                  <a:pt x="2896" y="1357"/>
                </a:lnTo>
                <a:lnTo>
                  <a:pt x="2894" y="1359"/>
                </a:lnTo>
                <a:lnTo>
                  <a:pt x="2891" y="1364"/>
                </a:lnTo>
                <a:lnTo>
                  <a:pt x="2887" y="1369"/>
                </a:lnTo>
                <a:lnTo>
                  <a:pt x="2886" y="1372"/>
                </a:lnTo>
                <a:lnTo>
                  <a:pt x="2885" y="1375"/>
                </a:lnTo>
                <a:lnTo>
                  <a:pt x="2885" y="1377"/>
                </a:lnTo>
                <a:lnTo>
                  <a:pt x="2886" y="1380"/>
                </a:lnTo>
                <a:lnTo>
                  <a:pt x="2887" y="1384"/>
                </a:lnTo>
                <a:lnTo>
                  <a:pt x="2889" y="1388"/>
                </a:lnTo>
                <a:lnTo>
                  <a:pt x="2891" y="1391"/>
                </a:lnTo>
                <a:lnTo>
                  <a:pt x="2891" y="1398"/>
                </a:lnTo>
                <a:lnTo>
                  <a:pt x="2891" y="1405"/>
                </a:lnTo>
                <a:lnTo>
                  <a:pt x="2890" y="1412"/>
                </a:lnTo>
                <a:lnTo>
                  <a:pt x="2888" y="1418"/>
                </a:lnTo>
                <a:lnTo>
                  <a:pt x="2885" y="1423"/>
                </a:lnTo>
                <a:lnTo>
                  <a:pt x="2883" y="1428"/>
                </a:lnTo>
                <a:lnTo>
                  <a:pt x="2877" y="1436"/>
                </a:lnTo>
                <a:lnTo>
                  <a:pt x="2873" y="1440"/>
                </a:lnTo>
                <a:lnTo>
                  <a:pt x="2870" y="1443"/>
                </a:lnTo>
                <a:lnTo>
                  <a:pt x="2862" y="1448"/>
                </a:lnTo>
                <a:lnTo>
                  <a:pt x="2853" y="1453"/>
                </a:lnTo>
                <a:lnTo>
                  <a:pt x="2849" y="1456"/>
                </a:lnTo>
                <a:lnTo>
                  <a:pt x="2846" y="1459"/>
                </a:lnTo>
                <a:lnTo>
                  <a:pt x="2845" y="1460"/>
                </a:lnTo>
                <a:lnTo>
                  <a:pt x="2844" y="1461"/>
                </a:lnTo>
                <a:lnTo>
                  <a:pt x="2844" y="1462"/>
                </a:lnTo>
                <a:lnTo>
                  <a:pt x="2843" y="1463"/>
                </a:lnTo>
                <a:lnTo>
                  <a:pt x="2840" y="1470"/>
                </a:lnTo>
                <a:lnTo>
                  <a:pt x="2836" y="1471"/>
                </a:lnTo>
                <a:lnTo>
                  <a:pt x="2832" y="1471"/>
                </a:lnTo>
                <a:lnTo>
                  <a:pt x="2829" y="1471"/>
                </a:lnTo>
                <a:lnTo>
                  <a:pt x="2828" y="1472"/>
                </a:lnTo>
                <a:lnTo>
                  <a:pt x="2826" y="1473"/>
                </a:lnTo>
                <a:lnTo>
                  <a:pt x="2825" y="1475"/>
                </a:lnTo>
                <a:lnTo>
                  <a:pt x="2824" y="1477"/>
                </a:lnTo>
                <a:lnTo>
                  <a:pt x="2823" y="1481"/>
                </a:lnTo>
                <a:lnTo>
                  <a:pt x="2822" y="1486"/>
                </a:lnTo>
                <a:lnTo>
                  <a:pt x="2821" y="1488"/>
                </a:lnTo>
                <a:lnTo>
                  <a:pt x="2820" y="1490"/>
                </a:lnTo>
                <a:lnTo>
                  <a:pt x="2817" y="1493"/>
                </a:lnTo>
                <a:lnTo>
                  <a:pt x="2813" y="1495"/>
                </a:lnTo>
                <a:lnTo>
                  <a:pt x="2809" y="1498"/>
                </a:lnTo>
                <a:lnTo>
                  <a:pt x="2807" y="1500"/>
                </a:lnTo>
                <a:lnTo>
                  <a:pt x="2806" y="1501"/>
                </a:lnTo>
                <a:lnTo>
                  <a:pt x="2804" y="1506"/>
                </a:lnTo>
                <a:lnTo>
                  <a:pt x="2802" y="1511"/>
                </a:lnTo>
                <a:lnTo>
                  <a:pt x="2799" y="1522"/>
                </a:lnTo>
                <a:lnTo>
                  <a:pt x="2796" y="1533"/>
                </a:lnTo>
                <a:lnTo>
                  <a:pt x="2795" y="1538"/>
                </a:lnTo>
                <a:lnTo>
                  <a:pt x="2792" y="1543"/>
                </a:lnTo>
                <a:lnTo>
                  <a:pt x="2789" y="1547"/>
                </a:lnTo>
                <a:lnTo>
                  <a:pt x="2785" y="1550"/>
                </a:lnTo>
                <a:lnTo>
                  <a:pt x="2781" y="1554"/>
                </a:lnTo>
                <a:lnTo>
                  <a:pt x="2780" y="1555"/>
                </a:lnTo>
                <a:lnTo>
                  <a:pt x="2778" y="1557"/>
                </a:lnTo>
                <a:lnTo>
                  <a:pt x="2776" y="1562"/>
                </a:lnTo>
                <a:lnTo>
                  <a:pt x="2775" y="1566"/>
                </a:lnTo>
                <a:lnTo>
                  <a:pt x="2773" y="1575"/>
                </a:lnTo>
                <a:lnTo>
                  <a:pt x="2771" y="1583"/>
                </a:lnTo>
                <a:lnTo>
                  <a:pt x="2769" y="1587"/>
                </a:lnTo>
                <a:lnTo>
                  <a:pt x="2767" y="1591"/>
                </a:lnTo>
                <a:lnTo>
                  <a:pt x="2765" y="1593"/>
                </a:lnTo>
                <a:lnTo>
                  <a:pt x="2763" y="1594"/>
                </a:lnTo>
                <a:lnTo>
                  <a:pt x="2760" y="1595"/>
                </a:lnTo>
                <a:lnTo>
                  <a:pt x="2759" y="1597"/>
                </a:lnTo>
                <a:lnTo>
                  <a:pt x="2757" y="1603"/>
                </a:lnTo>
                <a:lnTo>
                  <a:pt x="2756" y="1608"/>
                </a:lnTo>
                <a:lnTo>
                  <a:pt x="2756" y="1612"/>
                </a:lnTo>
                <a:lnTo>
                  <a:pt x="2756" y="1613"/>
                </a:lnTo>
                <a:lnTo>
                  <a:pt x="2756" y="1615"/>
                </a:lnTo>
                <a:lnTo>
                  <a:pt x="2757" y="1618"/>
                </a:lnTo>
                <a:lnTo>
                  <a:pt x="2759" y="1620"/>
                </a:lnTo>
                <a:lnTo>
                  <a:pt x="2762" y="1623"/>
                </a:lnTo>
                <a:lnTo>
                  <a:pt x="2765" y="1627"/>
                </a:lnTo>
                <a:lnTo>
                  <a:pt x="2766" y="1629"/>
                </a:lnTo>
                <a:lnTo>
                  <a:pt x="2767" y="1631"/>
                </a:lnTo>
                <a:lnTo>
                  <a:pt x="2767" y="1636"/>
                </a:lnTo>
                <a:lnTo>
                  <a:pt x="2766" y="1645"/>
                </a:lnTo>
                <a:lnTo>
                  <a:pt x="2765" y="1653"/>
                </a:lnTo>
                <a:lnTo>
                  <a:pt x="2764" y="1656"/>
                </a:lnTo>
                <a:lnTo>
                  <a:pt x="2766" y="1664"/>
                </a:lnTo>
                <a:lnTo>
                  <a:pt x="2768" y="1671"/>
                </a:lnTo>
                <a:lnTo>
                  <a:pt x="2770" y="1686"/>
                </a:lnTo>
                <a:lnTo>
                  <a:pt x="2771" y="1694"/>
                </a:lnTo>
                <a:lnTo>
                  <a:pt x="2771" y="1701"/>
                </a:lnTo>
                <a:lnTo>
                  <a:pt x="2770" y="1709"/>
                </a:lnTo>
                <a:lnTo>
                  <a:pt x="2769" y="1718"/>
                </a:lnTo>
                <a:lnTo>
                  <a:pt x="2767" y="1726"/>
                </a:lnTo>
                <a:lnTo>
                  <a:pt x="2761" y="1726"/>
                </a:lnTo>
                <a:lnTo>
                  <a:pt x="2761" y="1734"/>
                </a:lnTo>
                <a:lnTo>
                  <a:pt x="2761" y="1742"/>
                </a:lnTo>
                <a:lnTo>
                  <a:pt x="2760" y="1748"/>
                </a:lnTo>
                <a:lnTo>
                  <a:pt x="2760" y="1751"/>
                </a:lnTo>
                <a:lnTo>
                  <a:pt x="2759" y="1754"/>
                </a:lnTo>
                <a:lnTo>
                  <a:pt x="2756" y="1757"/>
                </a:lnTo>
                <a:lnTo>
                  <a:pt x="2753" y="1760"/>
                </a:lnTo>
                <a:lnTo>
                  <a:pt x="2749" y="1763"/>
                </a:lnTo>
                <a:lnTo>
                  <a:pt x="2748" y="1765"/>
                </a:lnTo>
                <a:lnTo>
                  <a:pt x="2747" y="1766"/>
                </a:lnTo>
                <a:lnTo>
                  <a:pt x="2747" y="1768"/>
                </a:lnTo>
                <a:lnTo>
                  <a:pt x="2748" y="1770"/>
                </a:lnTo>
                <a:lnTo>
                  <a:pt x="2750" y="1776"/>
                </a:lnTo>
                <a:lnTo>
                  <a:pt x="2757" y="1788"/>
                </a:lnTo>
                <a:lnTo>
                  <a:pt x="2760" y="1795"/>
                </a:lnTo>
                <a:lnTo>
                  <a:pt x="2761" y="1800"/>
                </a:lnTo>
                <a:lnTo>
                  <a:pt x="2760" y="1801"/>
                </a:lnTo>
                <a:lnTo>
                  <a:pt x="2759" y="1802"/>
                </a:lnTo>
                <a:lnTo>
                  <a:pt x="2758" y="1803"/>
                </a:lnTo>
                <a:lnTo>
                  <a:pt x="2758" y="1804"/>
                </a:lnTo>
                <a:lnTo>
                  <a:pt x="2758" y="1807"/>
                </a:lnTo>
                <a:lnTo>
                  <a:pt x="2759" y="1810"/>
                </a:lnTo>
                <a:lnTo>
                  <a:pt x="2762" y="1816"/>
                </a:lnTo>
                <a:lnTo>
                  <a:pt x="2764" y="1819"/>
                </a:lnTo>
                <a:lnTo>
                  <a:pt x="2764" y="1825"/>
                </a:lnTo>
                <a:lnTo>
                  <a:pt x="2765" y="1826"/>
                </a:lnTo>
                <a:lnTo>
                  <a:pt x="2767" y="1827"/>
                </a:lnTo>
                <a:lnTo>
                  <a:pt x="2771" y="1828"/>
                </a:lnTo>
                <a:lnTo>
                  <a:pt x="2775" y="1829"/>
                </a:lnTo>
                <a:lnTo>
                  <a:pt x="2778" y="1830"/>
                </a:lnTo>
                <a:lnTo>
                  <a:pt x="2779" y="1832"/>
                </a:lnTo>
                <a:lnTo>
                  <a:pt x="2779" y="1833"/>
                </a:lnTo>
                <a:lnTo>
                  <a:pt x="2780" y="1837"/>
                </a:lnTo>
                <a:lnTo>
                  <a:pt x="2780" y="1841"/>
                </a:lnTo>
                <a:lnTo>
                  <a:pt x="2781" y="1844"/>
                </a:lnTo>
                <a:lnTo>
                  <a:pt x="2787" y="1844"/>
                </a:lnTo>
                <a:lnTo>
                  <a:pt x="2789" y="1845"/>
                </a:lnTo>
                <a:lnTo>
                  <a:pt x="2790" y="1845"/>
                </a:lnTo>
                <a:lnTo>
                  <a:pt x="2790" y="1844"/>
                </a:lnTo>
                <a:lnTo>
                  <a:pt x="2791" y="1847"/>
                </a:lnTo>
                <a:lnTo>
                  <a:pt x="2792" y="1848"/>
                </a:lnTo>
                <a:lnTo>
                  <a:pt x="2793" y="1851"/>
                </a:lnTo>
                <a:lnTo>
                  <a:pt x="2796" y="1858"/>
                </a:lnTo>
                <a:lnTo>
                  <a:pt x="2801" y="1870"/>
                </a:lnTo>
                <a:lnTo>
                  <a:pt x="2809" y="1870"/>
                </a:lnTo>
                <a:lnTo>
                  <a:pt x="2809" y="1872"/>
                </a:lnTo>
                <a:lnTo>
                  <a:pt x="2807" y="1875"/>
                </a:lnTo>
                <a:lnTo>
                  <a:pt x="2806" y="1879"/>
                </a:lnTo>
                <a:lnTo>
                  <a:pt x="2806" y="1884"/>
                </a:lnTo>
                <a:lnTo>
                  <a:pt x="2807" y="1885"/>
                </a:lnTo>
                <a:lnTo>
                  <a:pt x="2808" y="1887"/>
                </a:lnTo>
                <a:lnTo>
                  <a:pt x="2812" y="1890"/>
                </a:lnTo>
                <a:lnTo>
                  <a:pt x="2818" y="1892"/>
                </a:lnTo>
                <a:lnTo>
                  <a:pt x="2819" y="1897"/>
                </a:lnTo>
                <a:lnTo>
                  <a:pt x="2820" y="1902"/>
                </a:lnTo>
                <a:lnTo>
                  <a:pt x="2821" y="1912"/>
                </a:lnTo>
                <a:lnTo>
                  <a:pt x="2822" y="1916"/>
                </a:lnTo>
                <a:lnTo>
                  <a:pt x="2823" y="1920"/>
                </a:lnTo>
                <a:lnTo>
                  <a:pt x="2824" y="1922"/>
                </a:lnTo>
                <a:lnTo>
                  <a:pt x="2825" y="1924"/>
                </a:lnTo>
                <a:lnTo>
                  <a:pt x="2829" y="1926"/>
                </a:lnTo>
                <a:lnTo>
                  <a:pt x="2830" y="1927"/>
                </a:lnTo>
                <a:lnTo>
                  <a:pt x="2828" y="1928"/>
                </a:lnTo>
                <a:lnTo>
                  <a:pt x="2826" y="1929"/>
                </a:lnTo>
                <a:lnTo>
                  <a:pt x="2826" y="1930"/>
                </a:lnTo>
                <a:lnTo>
                  <a:pt x="2826" y="1932"/>
                </a:lnTo>
                <a:lnTo>
                  <a:pt x="2827" y="1933"/>
                </a:lnTo>
                <a:lnTo>
                  <a:pt x="2828" y="1933"/>
                </a:lnTo>
                <a:lnTo>
                  <a:pt x="2828" y="1932"/>
                </a:lnTo>
                <a:lnTo>
                  <a:pt x="2829" y="1930"/>
                </a:lnTo>
                <a:lnTo>
                  <a:pt x="2829" y="1929"/>
                </a:lnTo>
                <a:lnTo>
                  <a:pt x="2835" y="1938"/>
                </a:lnTo>
                <a:lnTo>
                  <a:pt x="2839" y="1943"/>
                </a:lnTo>
                <a:lnTo>
                  <a:pt x="2841" y="1945"/>
                </a:lnTo>
                <a:lnTo>
                  <a:pt x="2843" y="1946"/>
                </a:lnTo>
                <a:lnTo>
                  <a:pt x="2845" y="1946"/>
                </a:lnTo>
                <a:lnTo>
                  <a:pt x="2847" y="1945"/>
                </a:lnTo>
                <a:lnTo>
                  <a:pt x="2850" y="1945"/>
                </a:lnTo>
                <a:lnTo>
                  <a:pt x="2851" y="1946"/>
                </a:lnTo>
                <a:lnTo>
                  <a:pt x="2853" y="1948"/>
                </a:lnTo>
                <a:lnTo>
                  <a:pt x="2854" y="1951"/>
                </a:lnTo>
                <a:lnTo>
                  <a:pt x="2855" y="1954"/>
                </a:lnTo>
                <a:lnTo>
                  <a:pt x="2857" y="1957"/>
                </a:lnTo>
                <a:lnTo>
                  <a:pt x="2859" y="1959"/>
                </a:lnTo>
                <a:lnTo>
                  <a:pt x="2862" y="1961"/>
                </a:lnTo>
                <a:lnTo>
                  <a:pt x="2865" y="1963"/>
                </a:lnTo>
                <a:lnTo>
                  <a:pt x="2868" y="1964"/>
                </a:lnTo>
                <a:lnTo>
                  <a:pt x="2874" y="1967"/>
                </a:lnTo>
                <a:lnTo>
                  <a:pt x="2877" y="1969"/>
                </a:lnTo>
                <a:lnTo>
                  <a:pt x="2879" y="1971"/>
                </a:lnTo>
                <a:lnTo>
                  <a:pt x="2884" y="1975"/>
                </a:lnTo>
                <a:lnTo>
                  <a:pt x="2889" y="1981"/>
                </a:lnTo>
                <a:lnTo>
                  <a:pt x="2894" y="1987"/>
                </a:lnTo>
                <a:lnTo>
                  <a:pt x="2899" y="1993"/>
                </a:lnTo>
                <a:lnTo>
                  <a:pt x="2902" y="1996"/>
                </a:lnTo>
                <a:lnTo>
                  <a:pt x="2905" y="1999"/>
                </a:lnTo>
                <a:lnTo>
                  <a:pt x="2909" y="2001"/>
                </a:lnTo>
                <a:lnTo>
                  <a:pt x="2913" y="2003"/>
                </a:lnTo>
                <a:lnTo>
                  <a:pt x="2916" y="2004"/>
                </a:lnTo>
                <a:lnTo>
                  <a:pt x="2921" y="2005"/>
                </a:lnTo>
                <a:lnTo>
                  <a:pt x="2925" y="2005"/>
                </a:lnTo>
                <a:lnTo>
                  <a:pt x="2930" y="2005"/>
                </a:lnTo>
                <a:lnTo>
                  <a:pt x="2932" y="2004"/>
                </a:lnTo>
                <a:lnTo>
                  <a:pt x="2933" y="2004"/>
                </a:lnTo>
                <a:lnTo>
                  <a:pt x="2937" y="2001"/>
                </a:lnTo>
                <a:lnTo>
                  <a:pt x="2944" y="1995"/>
                </a:lnTo>
                <a:lnTo>
                  <a:pt x="2950" y="1989"/>
                </a:lnTo>
                <a:lnTo>
                  <a:pt x="2953" y="1986"/>
                </a:lnTo>
                <a:lnTo>
                  <a:pt x="2955" y="1985"/>
                </a:lnTo>
                <a:lnTo>
                  <a:pt x="2962" y="1984"/>
                </a:lnTo>
                <a:lnTo>
                  <a:pt x="2968" y="1983"/>
                </a:lnTo>
                <a:lnTo>
                  <a:pt x="2974" y="1984"/>
                </a:lnTo>
                <a:lnTo>
                  <a:pt x="2979" y="1986"/>
                </a:lnTo>
                <a:lnTo>
                  <a:pt x="2983" y="1987"/>
                </a:lnTo>
                <a:lnTo>
                  <a:pt x="2988" y="1989"/>
                </a:lnTo>
                <a:lnTo>
                  <a:pt x="2993" y="1991"/>
                </a:lnTo>
                <a:lnTo>
                  <a:pt x="2997" y="1993"/>
                </a:lnTo>
                <a:lnTo>
                  <a:pt x="3003" y="1994"/>
                </a:lnTo>
                <a:lnTo>
                  <a:pt x="3006" y="1994"/>
                </a:lnTo>
                <a:lnTo>
                  <a:pt x="3009" y="1994"/>
                </a:lnTo>
                <a:lnTo>
                  <a:pt x="3011" y="1992"/>
                </a:lnTo>
                <a:lnTo>
                  <a:pt x="3016" y="1989"/>
                </a:lnTo>
                <a:lnTo>
                  <a:pt x="3020" y="1987"/>
                </a:lnTo>
                <a:lnTo>
                  <a:pt x="3023" y="1985"/>
                </a:lnTo>
                <a:lnTo>
                  <a:pt x="3026" y="1985"/>
                </a:lnTo>
                <a:lnTo>
                  <a:pt x="3029" y="1985"/>
                </a:lnTo>
                <a:lnTo>
                  <a:pt x="3032" y="1985"/>
                </a:lnTo>
                <a:lnTo>
                  <a:pt x="3033" y="1985"/>
                </a:lnTo>
                <a:lnTo>
                  <a:pt x="3034" y="1985"/>
                </a:lnTo>
                <a:lnTo>
                  <a:pt x="3038" y="1981"/>
                </a:lnTo>
                <a:lnTo>
                  <a:pt x="3041" y="1978"/>
                </a:lnTo>
                <a:lnTo>
                  <a:pt x="3043" y="1977"/>
                </a:lnTo>
                <a:lnTo>
                  <a:pt x="3047" y="1976"/>
                </a:lnTo>
                <a:lnTo>
                  <a:pt x="3052" y="1975"/>
                </a:lnTo>
                <a:lnTo>
                  <a:pt x="3060" y="1976"/>
                </a:lnTo>
                <a:lnTo>
                  <a:pt x="3068" y="1976"/>
                </a:lnTo>
                <a:lnTo>
                  <a:pt x="3072" y="1975"/>
                </a:lnTo>
                <a:lnTo>
                  <a:pt x="3076" y="1974"/>
                </a:lnTo>
                <a:lnTo>
                  <a:pt x="3077" y="1972"/>
                </a:lnTo>
                <a:lnTo>
                  <a:pt x="3079" y="1968"/>
                </a:lnTo>
                <a:lnTo>
                  <a:pt x="3080" y="1966"/>
                </a:lnTo>
                <a:lnTo>
                  <a:pt x="3081" y="1964"/>
                </a:lnTo>
                <a:lnTo>
                  <a:pt x="3083" y="1963"/>
                </a:lnTo>
                <a:lnTo>
                  <a:pt x="3084" y="1963"/>
                </a:lnTo>
                <a:lnTo>
                  <a:pt x="3085" y="1963"/>
                </a:lnTo>
                <a:lnTo>
                  <a:pt x="3086" y="1963"/>
                </a:lnTo>
                <a:lnTo>
                  <a:pt x="3087" y="1963"/>
                </a:lnTo>
                <a:lnTo>
                  <a:pt x="3087" y="1964"/>
                </a:lnTo>
                <a:lnTo>
                  <a:pt x="3087" y="1965"/>
                </a:lnTo>
                <a:lnTo>
                  <a:pt x="3087" y="1967"/>
                </a:lnTo>
                <a:lnTo>
                  <a:pt x="3086" y="1969"/>
                </a:lnTo>
                <a:lnTo>
                  <a:pt x="3086" y="1971"/>
                </a:lnTo>
                <a:lnTo>
                  <a:pt x="3086" y="1972"/>
                </a:lnTo>
                <a:lnTo>
                  <a:pt x="3087" y="1972"/>
                </a:lnTo>
                <a:lnTo>
                  <a:pt x="3090" y="1971"/>
                </a:lnTo>
                <a:lnTo>
                  <a:pt x="3092" y="1970"/>
                </a:lnTo>
                <a:lnTo>
                  <a:pt x="3093" y="1968"/>
                </a:lnTo>
                <a:lnTo>
                  <a:pt x="3096" y="1964"/>
                </a:lnTo>
                <a:lnTo>
                  <a:pt x="3099" y="1960"/>
                </a:lnTo>
                <a:lnTo>
                  <a:pt x="3100" y="1958"/>
                </a:lnTo>
                <a:lnTo>
                  <a:pt x="3102" y="1957"/>
                </a:lnTo>
                <a:lnTo>
                  <a:pt x="3104" y="1956"/>
                </a:lnTo>
                <a:lnTo>
                  <a:pt x="3108" y="1955"/>
                </a:lnTo>
                <a:lnTo>
                  <a:pt x="3116" y="1953"/>
                </a:lnTo>
                <a:lnTo>
                  <a:pt x="3124" y="1952"/>
                </a:lnTo>
                <a:lnTo>
                  <a:pt x="3131" y="1952"/>
                </a:lnTo>
                <a:lnTo>
                  <a:pt x="3138" y="1953"/>
                </a:lnTo>
                <a:lnTo>
                  <a:pt x="3141" y="1953"/>
                </a:lnTo>
                <a:lnTo>
                  <a:pt x="3144" y="1954"/>
                </a:lnTo>
                <a:lnTo>
                  <a:pt x="3149" y="1957"/>
                </a:lnTo>
                <a:lnTo>
                  <a:pt x="3156" y="1963"/>
                </a:lnTo>
                <a:lnTo>
                  <a:pt x="3163" y="1969"/>
                </a:lnTo>
                <a:lnTo>
                  <a:pt x="3165" y="1972"/>
                </a:lnTo>
                <a:lnTo>
                  <a:pt x="3166" y="1974"/>
                </a:lnTo>
                <a:lnTo>
                  <a:pt x="3167" y="1977"/>
                </a:lnTo>
                <a:lnTo>
                  <a:pt x="3167" y="1979"/>
                </a:lnTo>
                <a:lnTo>
                  <a:pt x="3166" y="1981"/>
                </a:lnTo>
                <a:lnTo>
                  <a:pt x="3165" y="1982"/>
                </a:lnTo>
                <a:lnTo>
                  <a:pt x="3164" y="1984"/>
                </a:lnTo>
                <a:lnTo>
                  <a:pt x="3163" y="1986"/>
                </a:lnTo>
                <a:lnTo>
                  <a:pt x="3163" y="1988"/>
                </a:lnTo>
                <a:lnTo>
                  <a:pt x="3164" y="1991"/>
                </a:lnTo>
                <a:lnTo>
                  <a:pt x="3165" y="1994"/>
                </a:lnTo>
                <a:lnTo>
                  <a:pt x="3169" y="1998"/>
                </a:lnTo>
                <a:lnTo>
                  <a:pt x="3172" y="2002"/>
                </a:lnTo>
                <a:lnTo>
                  <a:pt x="3175" y="2005"/>
                </a:lnTo>
                <a:lnTo>
                  <a:pt x="3189" y="2002"/>
                </a:lnTo>
                <a:lnTo>
                  <a:pt x="3203" y="1999"/>
                </a:lnTo>
                <a:lnTo>
                  <a:pt x="3203" y="1994"/>
                </a:lnTo>
                <a:lnTo>
                  <a:pt x="3206" y="1993"/>
                </a:lnTo>
                <a:lnTo>
                  <a:pt x="3208" y="1994"/>
                </a:lnTo>
                <a:lnTo>
                  <a:pt x="3209" y="1994"/>
                </a:lnTo>
                <a:lnTo>
                  <a:pt x="3210" y="1996"/>
                </a:lnTo>
                <a:lnTo>
                  <a:pt x="3211" y="1998"/>
                </a:lnTo>
                <a:lnTo>
                  <a:pt x="3211" y="1999"/>
                </a:lnTo>
                <a:lnTo>
                  <a:pt x="3213" y="1998"/>
                </a:lnTo>
                <a:lnTo>
                  <a:pt x="3215" y="1997"/>
                </a:lnTo>
                <a:lnTo>
                  <a:pt x="3217" y="1994"/>
                </a:lnTo>
                <a:lnTo>
                  <a:pt x="3218" y="1995"/>
                </a:lnTo>
                <a:lnTo>
                  <a:pt x="3219" y="1997"/>
                </a:lnTo>
                <a:lnTo>
                  <a:pt x="3219" y="1998"/>
                </a:lnTo>
                <a:lnTo>
                  <a:pt x="3220" y="1999"/>
                </a:lnTo>
                <a:lnTo>
                  <a:pt x="3221" y="1999"/>
                </a:lnTo>
                <a:lnTo>
                  <a:pt x="3223" y="1999"/>
                </a:lnTo>
                <a:lnTo>
                  <a:pt x="3223" y="1998"/>
                </a:lnTo>
                <a:lnTo>
                  <a:pt x="3223" y="1995"/>
                </a:lnTo>
                <a:lnTo>
                  <a:pt x="3224" y="1993"/>
                </a:lnTo>
                <a:lnTo>
                  <a:pt x="3225" y="1993"/>
                </a:lnTo>
                <a:lnTo>
                  <a:pt x="3226" y="1993"/>
                </a:lnTo>
                <a:lnTo>
                  <a:pt x="3228" y="1994"/>
                </a:lnTo>
                <a:lnTo>
                  <a:pt x="3225" y="2005"/>
                </a:lnTo>
                <a:lnTo>
                  <a:pt x="3228" y="2006"/>
                </a:lnTo>
                <a:lnTo>
                  <a:pt x="3231" y="2006"/>
                </a:lnTo>
                <a:lnTo>
                  <a:pt x="3234" y="2006"/>
                </a:lnTo>
                <a:lnTo>
                  <a:pt x="3237" y="2008"/>
                </a:lnTo>
                <a:lnTo>
                  <a:pt x="3237" y="2010"/>
                </a:lnTo>
                <a:lnTo>
                  <a:pt x="3237" y="2012"/>
                </a:lnTo>
                <a:lnTo>
                  <a:pt x="3238" y="2014"/>
                </a:lnTo>
                <a:lnTo>
                  <a:pt x="3241" y="2018"/>
                </a:lnTo>
                <a:lnTo>
                  <a:pt x="3243" y="2021"/>
                </a:lnTo>
                <a:lnTo>
                  <a:pt x="3245" y="2024"/>
                </a:lnTo>
                <a:lnTo>
                  <a:pt x="3245" y="2029"/>
                </a:lnTo>
                <a:lnTo>
                  <a:pt x="3245" y="2034"/>
                </a:lnTo>
                <a:lnTo>
                  <a:pt x="3244" y="2039"/>
                </a:lnTo>
                <a:lnTo>
                  <a:pt x="3244" y="2040"/>
                </a:lnTo>
                <a:lnTo>
                  <a:pt x="3243" y="2050"/>
                </a:lnTo>
                <a:lnTo>
                  <a:pt x="3242" y="2055"/>
                </a:lnTo>
                <a:lnTo>
                  <a:pt x="3242" y="2059"/>
                </a:lnTo>
                <a:lnTo>
                  <a:pt x="3241" y="2061"/>
                </a:lnTo>
                <a:lnTo>
                  <a:pt x="3239" y="2064"/>
                </a:lnTo>
                <a:lnTo>
                  <a:pt x="3236" y="2068"/>
                </a:lnTo>
                <a:lnTo>
                  <a:pt x="3234" y="2072"/>
                </a:lnTo>
                <a:lnTo>
                  <a:pt x="3235" y="2075"/>
                </a:lnTo>
                <a:lnTo>
                  <a:pt x="3238" y="2080"/>
                </a:lnTo>
                <a:lnTo>
                  <a:pt x="3240" y="2085"/>
                </a:lnTo>
                <a:lnTo>
                  <a:pt x="3241" y="2088"/>
                </a:lnTo>
                <a:lnTo>
                  <a:pt x="3239" y="2089"/>
                </a:lnTo>
                <a:lnTo>
                  <a:pt x="3238" y="2090"/>
                </a:lnTo>
                <a:lnTo>
                  <a:pt x="3237" y="2091"/>
                </a:lnTo>
                <a:lnTo>
                  <a:pt x="3235" y="2095"/>
                </a:lnTo>
                <a:lnTo>
                  <a:pt x="3232" y="2106"/>
                </a:lnTo>
                <a:lnTo>
                  <a:pt x="3229" y="2118"/>
                </a:lnTo>
                <a:lnTo>
                  <a:pt x="3225" y="2129"/>
                </a:lnTo>
                <a:lnTo>
                  <a:pt x="3230" y="2131"/>
                </a:lnTo>
                <a:lnTo>
                  <a:pt x="3232" y="2133"/>
                </a:lnTo>
                <a:lnTo>
                  <a:pt x="3235" y="2136"/>
                </a:lnTo>
                <a:lnTo>
                  <a:pt x="3236" y="2138"/>
                </a:lnTo>
                <a:lnTo>
                  <a:pt x="3236" y="2140"/>
                </a:lnTo>
                <a:lnTo>
                  <a:pt x="3236" y="2141"/>
                </a:lnTo>
                <a:lnTo>
                  <a:pt x="3235" y="2143"/>
                </a:lnTo>
                <a:lnTo>
                  <a:pt x="3231" y="2145"/>
                </a:lnTo>
                <a:lnTo>
                  <a:pt x="3238" y="2151"/>
                </a:lnTo>
                <a:lnTo>
                  <a:pt x="3248" y="2158"/>
                </a:lnTo>
                <a:lnTo>
                  <a:pt x="3256" y="2165"/>
                </a:lnTo>
                <a:lnTo>
                  <a:pt x="3260" y="2168"/>
                </a:lnTo>
                <a:lnTo>
                  <a:pt x="3262" y="2171"/>
                </a:lnTo>
                <a:lnTo>
                  <a:pt x="3259" y="2179"/>
                </a:lnTo>
                <a:lnTo>
                  <a:pt x="3263" y="2182"/>
                </a:lnTo>
                <a:lnTo>
                  <a:pt x="3268" y="2186"/>
                </a:lnTo>
                <a:lnTo>
                  <a:pt x="3273" y="2190"/>
                </a:lnTo>
                <a:lnTo>
                  <a:pt x="3275" y="2191"/>
                </a:lnTo>
                <a:lnTo>
                  <a:pt x="3276" y="2193"/>
                </a:lnTo>
                <a:lnTo>
                  <a:pt x="3277" y="2196"/>
                </a:lnTo>
                <a:lnTo>
                  <a:pt x="3277" y="2198"/>
                </a:lnTo>
                <a:lnTo>
                  <a:pt x="3278" y="2199"/>
                </a:lnTo>
                <a:lnTo>
                  <a:pt x="3279" y="2200"/>
                </a:lnTo>
                <a:lnTo>
                  <a:pt x="3284" y="2210"/>
                </a:lnTo>
                <a:lnTo>
                  <a:pt x="3285" y="2212"/>
                </a:lnTo>
                <a:lnTo>
                  <a:pt x="3285" y="2213"/>
                </a:lnTo>
                <a:lnTo>
                  <a:pt x="3284" y="2215"/>
                </a:lnTo>
                <a:lnTo>
                  <a:pt x="3283" y="2216"/>
                </a:lnTo>
                <a:lnTo>
                  <a:pt x="3282" y="2217"/>
                </a:lnTo>
                <a:lnTo>
                  <a:pt x="3281" y="2218"/>
                </a:lnTo>
                <a:lnTo>
                  <a:pt x="3282" y="2219"/>
                </a:lnTo>
                <a:lnTo>
                  <a:pt x="3283" y="2221"/>
                </a:lnTo>
                <a:lnTo>
                  <a:pt x="3285" y="2223"/>
                </a:lnTo>
                <a:lnTo>
                  <a:pt x="3287" y="2228"/>
                </a:lnTo>
                <a:lnTo>
                  <a:pt x="3289" y="2233"/>
                </a:lnTo>
                <a:lnTo>
                  <a:pt x="3290" y="2239"/>
                </a:lnTo>
                <a:lnTo>
                  <a:pt x="3293" y="2250"/>
                </a:lnTo>
                <a:lnTo>
                  <a:pt x="3294" y="2251"/>
                </a:lnTo>
                <a:lnTo>
                  <a:pt x="3297" y="2254"/>
                </a:lnTo>
                <a:lnTo>
                  <a:pt x="3301" y="2258"/>
                </a:lnTo>
                <a:lnTo>
                  <a:pt x="3303" y="2262"/>
                </a:lnTo>
                <a:lnTo>
                  <a:pt x="3304" y="2266"/>
                </a:lnTo>
                <a:lnTo>
                  <a:pt x="3304" y="2269"/>
                </a:lnTo>
                <a:lnTo>
                  <a:pt x="3304" y="2272"/>
                </a:lnTo>
                <a:lnTo>
                  <a:pt x="3304" y="2277"/>
                </a:lnTo>
                <a:lnTo>
                  <a:pt x="3304" y="2283"/>
                </a:lnTo>
                <a:lnTo>
                  <a:pt x="3310" y="2289"/>
                </a:lnTo>
                <a:lnTo>
                  <a:pt x="3310" y="2294"/>
                </a:lnTo>
                <a:lnTo>
                  <a:pt x="3309" y="2299"/>
                </a:lnTo>
                <a:lnTo>
                  <a:pt x="3306" y="2310"/>
                </a:lnTo>
                <a:lnTo>
                  <a:pt x="3304" y="2320"/>
                </a:lnTo>
                <a:lnTo>
                  <a:pt x="3304" y="2324"/>
                </a:lnTo>
                <a:lnTo>
                  <a:pt x="3304" y="2326"/>
                </a:lnTo>
                <a:lnTo>
                  <a:pt x="3304" y="2328"/>
                </a:lnTo>
                <a:lnTo>
                  <a:pt x="3307" y="2330"/>
                </a:lnTo>
                <a:lnTo>
                  <a:pt x="3309" y="2330"/>
                </a:lnTo>
                <a:lnTo>
                  <a:pt x="3310" y="2331"/>
                </a:lnTo>
                <a:lnTo>
                  <a:pt x="3313" y="2342"/>
                </a:lnTo>
                <a:lnTo>
                  <a:pt x="3314" y="2347"/>
                </a:lnTo>
                <a:lnTo>
                  <a:pt x="3315" y="2353"/>
                </a:lnTo>
                <a:lnTo>
                  <a:pt x="3315" y="2365"/>
                </a:lnTo>
                <a:lnTo>
                  <a:pt x="3314" y="2371"/>
                </a:lnTo>
                <a:lnTo>
                  <a:pt x="3313" y="2373"/>
                </a:lnTo>
                <a:lnTo>
                  <a:pt x="3313" y="2376"/>
                </a:lnTo>
                <a:lnTo>
                  <a:pt x="3310" y="2380"/>
                </a:lnTo>
                <a:lnTo>
                  <a:pt x="3307" y="2384"/>
                </a:lnTo>
                <a:lnTo>
                  <a:pt x="3303" y="2387"/>
                </a:lnTo>
                <a:lnTo>
                  <a:pt x="3302" y="2389"/>
                </a:lnTo>
                <a:lnTo>
                  <a:pt x="3301" y="2390"/>
                </a:lnTo>
                <a:lnTo>
                  <a:pt x="3301" y="2392"/>
                </a:lnTo>
                <a:lnTo>
                  <a:pt x="3302" y="2394"/>
                </a:lnTo>
                <a:lnTo>
                  <a:pt x="3302" y="2397"/>
                </a:lnTo>
                <a:lnTo>
                  <a:pt x="3302" y="2398"/>
                </a:lnTo>
                <a:lnTo>
                  <a:pt x="3301" y="2399"/>
                </a:lnTo>
                <a:lnTo>
                  <a:pt x="3300" y="2400"/>
                </a:lnTo>
                <a:lnTo>
                  <a:pt x="3297" y="2400"/>
                </a:lnTo>
                <a:lnTo>
                  <a:pt x="3294" y="2401"/>
                </a:lnTo>
                <a:lnTo>
                  <a:pt x="3293" y="2401"/>
                </a:lnTo>
                <a:lnTo>
                  <a:pt x="3291" y="2406"/>
                </a:lnTo>
                <a:lnTo>
                  <a:pt x="3290" y="2410"/>
                </a:lnTo>
                <a:lnTo>
                  <a:pt x="3290" y="2414"/>
                </a:lnTo>
                <a:lnTo>
                  <a:pt x="3290" y="2417"/>
                </a:lnTo>
                <a:lnTo>
                  <a:pt x="3291" y="2424"/>
                </a:lnTo>
                <a:lnTo>
                  <a:pt x="3291" y="2428"/>
                </a:lnTo>
                <a:lnTo>
                  <a:pt x="3290" y="2432"/>
                </a:lnTo>
                <a:lnTo>
                  <a:pt x="3288" y="2437"/>
                </a:lnTo>
                <a:lnTo>
                  <a:pt x="3283" y="2443"/>
                </a:lnTo>
                <a:lnTo>
                  <a:pt x="3278" y="2450"/>
                </a:lnTo>
                <a:lnTo>
                  <a:pt x="3277" y="2453"/>
                </a:lnTo>
                <a:lnTo>
                  <a:pt x="3276" y="2455"/>
                </a:lnTo>
                <a:lnTo>
                  <a:pt x="3276" y="2461"/>
                </a:lnTo>
                <a:lnTo>
                  <a:pt x="3275" y="2469"/>
                </a:lnTo>
                <a:lnTo>
                  <a:pt x="3276" y="2492"/>
                </a:lnTo>
                <a:lnTo>
                  <a:pt x="3277" y="2510"/>
                </a:lnTo>
                <a:lnTo>
                  <a:pt x="3278" y="2516"/>
                </a:lnTo>
                <a:lnTo>
                  <a:pt x="3279" y="2520"/>
                </a:lnTo>
                <a:lnTo>
                  <a:pt x="3284" y="2520"/>
                </a:lnTo>
                <a:lnTo>
                  <a:pt x="3301" y="2539"/>
                </a:lnTo>
                <a:lnTo>
                  <a:pt x="3303" y="2543"/>
                </a:lnTo>
                <a:lnTo>
                  <a:pt x="3303" y="2547"/>
                </a:lnTo>
                <a:lnTo>
                  <a:pt x="3303" y="2555"/>
                </a:lnTo>
                <a:lnTo>
                  <a:pt x="3303" y="2563"/>
                </a:lnTo>
                <a:lnTo>
                  <a:pt x="3303" y="2566"/>
                </a:lnTo>
                <a:lnTo>
                  <a:pt x="3304" y="2570"/>
                </a:lnTo>
                <a:lnTo>
                  <a:pt x="3305" y="2573"/>
                </a:lnTo>
                <a:lnTo>
                  <a:pt x="3307" y="2575"/>
                </a:lnTo>
                <a:lnTo>
                  <a:pt x="3311" y="2579"/>
                </a:lnTo>
                <a:lnTo>
                  <a:pt x="3316" y="2583"/>
                </a:lnTo>
                <a:lnTo>
                  <a:pt x="3317" y="2585"/>
                </a:lnTo>
                <a:lnTo>
                  <a:pt x="3318" y="2587"/>
                </a:lnTo>
                <a:lnTo>
                  <a:pt x="3319" y="2589"/>
                </a:lnTo>
                <a:lnTo>
                  <a:pt x="3319" y="2591"/>
                </a:lnTo>
                <a:lnTo>
                  <a:pt x="3318" y="2594"/>
                </a:lnTo>
                <a:lnTo>
                  <a:pt x="3318" y="2598"/>
                </a:lnTo>
                <a:lnTo>
                  <a:pt x="3318" y="2602"/>
                </a:lnTo>
                <a:lnTo>
                  <a:pt x="3319" y="2603"/>
                </a:lnTo>
                <a:lnTo>
                  <a:pt x="3320" y="2605"/>
                </a:lnTo>
                <a:lnTo>
                  <a:pt x="3324" y="2607"/>
                </a:lnTo>
                <a:lnTo>
                  <a:pt x="3328" y="2610"/>
                </a:lnTo>
                <a:lnTo>
                  <a:pt x="3329" y="2612"/>
                </a:lnTo>
                <a:lnTo>
                  <a:pt x="3329" y="2613"/>
                </a:lnTo>
                <a:lnTo>
                  <a:pt x="3330" y="2617"/>
                </a:lnTo>
                <a:lnTo>
                  <a:pt x="3330" y="2622"/>
                </a:lnTo>
                <a:lnTo>
                  <a:pt x="3329" y="2631"/>
                </a:lnTo>
                <a:lnTo>
                  <a:pt x="3327" y="2640"/>
                </a:lnTo>
                <a:lnTo>
                  <a:pt x="3327" y="2644"/>
                </a:lnTo>
                <a:lnTo>
                  <a:pt x="3327" y="2647"/>
                </a:lnTo>
                <a:lnTo>
                  <a:pt x="3327" y="2649"/>
                </a:lnTo>
                <a:lnTo>
                  <a:pt x="3328" y="2652"/>
                </a:lnTo>
                <a:lnTo>
                  <a:pt x="3331" y="2659"/>
                </a:lnTo>
                <a:lnTo>
                  <a:pt x="3335" y="2670"/>
                </a:lnTo>
                <a:lnTo>
                  <a:pt x="3336" y="2679"/>
                </a:lnTo>
                <a:lnTo>
                  <a:pt x="3336" y="2688"/>
                </a:lnTo>
                <a:lnTo>
                  <a:pt x="3336" y="2702"/>
                </a:lnTo>
                <a:lnTo>
                  <a:pt x="3336" y="2709"/>
                </a:lnTo>
                <a:lnTo>
                  <a:pt x="3337" y="2717"/>
                </a:lnTo>
                <a:lnTo>
                  <a:pt x="3338" y="2725"/>
                </a:lnTo>
                <a:lnTo>
                  <a:pt x="3341" y="2734"/>
                </a:lnTo>
                <a:lnTo>
                  <a:pt x="3342" y="2738"/>
                </a:lnTo>
                <a:lnTo>
                  <a:pt x="3346" y="2743"/>
                </a:lnTo>
                <a:lnTo>
                  <a:pt x="3349" y="2749"/>
                </a:lnTo>
                <a:lnTo>
                  <a:pt x="3352" y="2751"/>
                </a:lnTo>
                <a:lnTo>
                  <a:pt x="3354" y="2751"/>
                </a:lnTo>
                <a:lnTo>
                  <a:pt x="3356" y="2751"/>
                </a:lnTo>
                <a:lnTo>
                  <a:pt x="3359" y="2751"/>
                </a:lnTo>
                <a:lnTo>
                  <a:pt x="3360" y="2751"/>
                </a:lnTo>
                <a:lnTo>
                  <a:pt x="3362" y="2755"/>
                </a:lnTo>
                <a:lnTo>
                  <a:pt x="3362" y="2758"/>
                </a:lnTo>
                <a:lnTo>
                  <a:pt x="3362" y="2762"/>
                </a:lnTo>
                <a:lnTo>
                  <a:pt x="3363" y="2764"/>
                </a:lnTo>
                <a:lnTo>
                  <a:pt x="3363" y="2765"/>
                </a:lnTo>
                <a:lnTo>
                  <a:pt x="3364" y="2767"/>
                </a:lnTo>
                <a:lnTo>
                  <a:pt x="3365" y="2768"/>
                </a:lnTo>
                <a:lnTo>
                  <a:pt x="3369" y="2771"/>
                </a:lnTo>
                <a:lnTo>
                  <a:pt x="3372" y="2774"/>
                </a:lnTo>
                <a:lnTo>
                  <a:pt x="3374" y="2777"/>
                </a:lnTo>
                <a:lnTo>
                  <a:pt x="3375" y="2781"/>
                </a:lnTo>
                <a:lnTo>
                  <a:pt x="3375" y="2788"/>
                </a:lnTo>
                <a:lnTo>
                  <a:pt x="3375" y="2797"/>
                </a:lnTo>
                <a:lnTo>
                  <a:pt x="3376" y="2801"/>
                </a:lnTo>
                <a:lnTo>
                  <a:pt x="3377" y="2805"/>
                </a:lnTo>
                <a:lnTo>
                  <a:pt x="3379" y="2807"/>
                </a:lnTo>
                <a:lnTo>
                  <a:pt x="3382" y="2808"/>
                </a:lnTo>
                <a:lnTo>
                  <a:pt x="3386" y="2810"/>
                </a:lnTo>
                <a:lnTo>
                  <a:pt x="3389" y="2817"/>
                </a:lnTo>
                <a:lnTo>
                  <a:pt x="3392" y="2828"/>
                </a:lnTo>
                <a:lnTo>
                  <a:pt x="3394" y="2838"/>
                </a:lnTo>
                <a:lnTo>
                  <a:pt x="3394" y="2843"/>
                </a:lnTo>
                <a:lnTo>
                  <a:pt x="3394" y="2847"/>
                </a:lnTo>
                <a:lnTo>
                  <a:pt x="3393" y="2851"/>
                </a:lnTo>
                <a:lnTo>
                  <a:pt x="3392" y="2853"/>
                </a:lnTo>
                <a:lnTo>
                  <a:pt x="3390" y="2855"/>
                </a:lnTo>
                <a:lnTo>
                  <a:pt x="3388" y="2856"/>
                </a:lnTo>
                <a:lnTo>
                  <a:pt x="3385" y="2859"/>
                </a:lnTo>
                <a:lnTo>
                  <a:pt x="3384" y="2861"/>
                </a:lnTo>
                <a:lnTo>
                  <a:pt x="3383" y="2864"/>
                </a:lnTo>
                <a:lnTo>
                  <a:pt x="3389" y="2867"/>
                </a:lnTo>
                <a:lnTo>
                  <a:pt x="3389" y="2881"/>
                </a:lnTo>
                <a:lnTo>
                  <a:pt x="3390" y="2886"/>
                </a:lnTo>
                <a:lnTo>
                  <a:pt x="3391" y="2891"/>
                </a:lnTo>
                <a:lnTo>
                  <a:pt x="3392" y="2895"/>
                </a:lnTo>
                <a:lnTo>
                  <a:pt x="3393" y="2897"/>
                </a:lnTo>
                <a:lnTo>
                  <a:pt x="3394" y="2898"/>
                </a:lnTo>
                <a:lnTo>
                  <a:pt x="3394" y="2900"/>
                </a:lnTo>
                <a:lnTo>
                  <a:pt x="3403" y="2895"/>
                </a:lnTo>
                <a:lnTo>
                  <a:pt x="3403" y="2900"/>
                </a:lnTo>
                <a:lnTo>
                  <a:pt x="3405" y="2901"/>
                </a:lnTo>
                <a:lnTo>
                  <a:pt x="3407" y="2901"/>
                </a:lnTo>
                <a:lnTo>
                  <a:pt x="3411" y="2900"/>
                </a:lnTo>
                <a:lnTo>
                  <a:pt x="3414" y="2906"/>
                </a:lnTo>
                <a:lnTo>
                  <a:pt x="3416" y="2906"/>
                </a:lnTo>
                <a:lnTo>
                  <a:pt x="3419" y="2906"/>
                </a:lnTo>
                <a:lnTo>
                  <a:pt x="3423" y="2906"/>
                </a:lnTo>
                <a:lnTo>
                  <a:pt x="3428" y="2904"/>
                </a:lnTo>
                <a:lnTo>
                  <a:pt x="3431" y="2902"/>
                </a:lnTo>
                <a:lnTo>
                  <a:pt x="3438" y="2897"/>
                </a:lnTo>
                <a:lnTo>
                  <a:pt x="3440" y="2896"/>
                </a:lnTo>
                <a:lnTo>
                  <a:pt x="3442" y="2895"/>
                </a:lnTo>
                <a:lnTo>
                  <a:pt x="3445" y="2894"/>
                </a:lnTo>
                <a:lnTo>
                  <a:pt x="3448" y="2895"/>
                </a:lnTo>
                <a:lnTo>
                  <a:pt x="3453" y="2896"/>
                </a:lnTo>
                <a:lnTo>
                  <a:pt x="3457" y="2897"/>
                </a:lnTo>
                <a:lnTo>
                  <a:pt x="3460" y="2898"/>
                </a:lnTo>
                <a:lnTo>
                  <a:pt x="3462" y="2898"/>
                </a:lnTo>
                <a:lnTo>
                  <a:pt x="3466" y="2893"/>
                </a:lnTo>
                <a:lnTo>
                  <a:pt x="3468" y="2891"/>
                </a:lnTo>
                <a:lnTo>
                  <a:pt x="3470" y="2889"/>
                </a:lnTo>
                <a:lnTo>
                  <a:pt x="3478" y="2888"/>
                </a:lnTo>
                <a:lnTo>
                  <a:pt x="3484" y="2887"/>
                </a:lnTo>
                <a:lnTo>
                  <a:pt x="3489" y="2888"/>
                </a:lnTo>
                <a:lnTo>
                  <a:pt x="3494" y="2889"/>
                </a:lnTo>
                <a:lnTo>
                  <a:pt x="3504" y="2891"/>
                </a:lnTo>
                <a:lnTo>
                  <a:pt x="3509" y="2892"/>
                </a:lnTo>
                <a:lnTo>
                  <a:pt x="3515" y="2892"/>
                </a:lnTo>
                <a:lnTo>
                  <a:pt x="3518" y="2886"/>
                </a:lnTo>
                <a:lnTo>
                  <a:pt x="3526" y="2887"/>
                </a:lnTo>
                <a:lnTo>
                  <a:pt x="3535" y="2886"/>
                </a:lnTo>
                <a:lnTo>
                  <a:pt x="3535" y="2881"/>
                </a:lnTo>
                <a:lnTo>
                  <a:pt x="3537" y="2880"/>
                </a:lnTo>
                <a:lnTo>
                  <a:pt x="3538" y="2880"/>
                </a:lnTo>
                <a:lnTo>
                  <a:pt x="3542" y="2881"/>
                </a:lnTo>
                <a:lnTo>
                  <a:pt x="3545" y="2881"/>
                </a:lnTo>
                <a:lnTo>
                  <a:pt x="3549" y="2881"/>
                </a:lnTo>
                <a:lnTo>
                  <a:pt x="3553" y="2879"/>
                </a:lnTo>
                <a:lnTo>
                  <a:pt x="3556" y="2878"/>
                </a:lnTo>
                <a:lnTo>
                  <a:pt x="3564" y="2872"/>
                </a:lnTo>
                <a:lnTo>
                  <a:pt x="3567" y="2869"/>
                </a:lnTo>
                <a:lnTo>
                  <a:pt x="3571" y="2865"/>
                </a:lnTo>
                <a:lnTo>
                  <a:pt x="3578" y="2858"/>
                </a:lnTo>
                <a:lnTo>
                  <a:pt x="3591" y="2841"/>
                </a:lnTo>
                <a:lnTo>
                  <a:pt x="3597" y="2834"/>
                </a:lnTo>
                <a:lnTo>
                  <a:pt x="3602" y="2827"/>
                </a:lnTo>
                <a:lnTo>
                  <a:pt x="3605" y="2824"/>
                </a:lnTo>
                <a:lnTo>
                  <a:pt x="3610" y="2822"/>
                </a:lnTo>
                <a:lnTo>
                  <a:pt x="3613" y="2819"/>
                </a:lnTo>
                <a:lnTo>
                  <a:pt x="3616" y="2816"/>
                </a:lnTo>
                <a:lnTo>
                  <a:pt x="3617" y="2815"/>
                </a:lnTo>
                <a:lnTo>
                  <a:pt x="3617" y="2814"/>
                </a:lnTo>
                <a:lnTo>
                  <a:pt x="3617" y="2812"/>
                </a:lnTo>
                <a:lnTo>
                  <a:pt x="3616" y="2810"/>
                </a:lnTo>
                <a:lnTo>
                  <a:pt x="3616" y="2808"/>
                </a:lnTo>
                <a:lnTo>
                  <a:pt x="3619" y="2808"/>
                </a:lnTo>
                <a:lnTo>
                  <a:pt x="3626" y="2792"/>
                </a:lnTo>
                <a:lnTo>
                  <a:pt x="3629" y="2783"/>
                </a:lnTo>
                <a:lnTo>
                  <a:pt x="3633" y="2777"/>
                </a:lnTo>
                <a:lnTo>
                  <a:pt x="3637" y="2774"/>
                </a:lnTo>
                <a:lnTo>
                  <a:pt x="3644" y="2770"/>
                </a:lnTo>
                <a:lnTo>
                  <a:pt x="3656" y="2763"/>
                </a:lnTo>
                <a:lnTo>
                  <a:pt x="3650" y="2757"/>
                </a:lnTo>
                <a:lnTo>
                  <a:pt x="3651" y="2755"/>
                </a:lnTo>
                <a:lnTo>
                  <a:pt x="3650" y="2753"/>
                </a:lnTo>
                <a:lnTo>
                  <a:pt x="3650" y="2749"/>
                </a:lnTo>
                <a:lnTo>
                  <a:pt x="3659" y="2749"/>
                </a:lnTo>
                <a:lnTo>
                  <a:pt x="3660" y="2735"/>
                </a:lnTo>
                <a:lnTo>
                  <a:pt x="3661" y="2713"/>
                </a:lnTo>
                <a:lnTo>
                  <a:pt x="3661" y="2706"/>
                </a:lnTo>
                <a:lnTo>
                  <a:pt x="3660" y="2705"/>
                </a:lnTo>
                <a:lnTo>
                  <a:pt x="3657" y="2703"/>
                </a:lnTo>
                <a:lnTo>
                  <a:pt x="3655" y="2700"/>
                </a:lnTo>
                <a:lnTo>
                  <a:pt x="3653" y="2698"/>
                </a:lnTo>
                <a:lnTo>
                  <a:pt x="3668" y="2687"/>
                </a:lnTo>
                <a:lnTo>
                  <a:pt x="3676" y="2682"/>
                </a:lnTo>
                <a:lnTo>
                  <a:pt x="3680" y="2680"/>
                </a:lnTo>
                <a:lnTo>
                  <a:pt x="3684" y="2678"/>
                </a:lnTo>
                <a:lnTo>
                  <a:pt x="3689" y="2677"/>
                </a:lnTo>
                <a:lnTo>
                  <a:pt x="3694" y="2676"/>
                </a:lnTo>
                <a:lnTo>
                  <a:pt x="3699" y="2675"/>
                </a:lnTo>
                <a:lnTo>
                  <a:pt x="3701" y="2674"/>
                </a:lnTo>
                <a:lnTo>
                  <a:pt x="3704" y="2673"/>
                </a:lnTo>
                <a:lnTo>
                  <a:pt x="3706" y="2670"/>
                </a:lnTo>
                <a:lnTo>
                  <a:pt x="3707" y="2666"/>
                </a:lnTo>
                <a:lnTo>
                  <a:pt x="3708" y="2661"/>
                </a:lnTo>
                <a:lnTo>
                  <a:pt x="3709" y="2656"/>
                </a:lnTo>
                <a:lnTo>
                  <a:pt x="3709" y="2649"/>
                </a:lnTo>
                <a:lnTo>
                  <a:pt x="3709" y="2642"/>
                </a:lnTo>
                <a:lnTo>
                  <a:pt x="3707" y="2628"/>
                </a:lnTo>
                <a:lnTo>
                  <a:pt x="3703" y="2598"/>
                </a:lnTo>
                <a:lnTo>
                  <a:pt x="3702" y="2587"/>
                </a:lnTo>
                <a:lnTo>
                  <a:pt x="3701" y="2579"/>
                </a:lnTo>
                <a:lnTo>
                  <a:pt x="3695" y="2579"/>
                </a:lnTo>
                <a:lnTo>
                  <a:pt x="3694" y="2572"/>
                </a:lnTo>
                <a:lnTo>
                  <a:pt x="3694" y="2567"/>
                </a:lnTo>
                <a:lnTo>
                  <a:pt x="3695" y="2559"/>
                </a:lnTo>
                <a:lnTo>
                  <a:pt x="3695" y="2553"/>
                </a:lnTo>
                <a:lnTo>
                  <a:pt x="3697" y="2552"/>
                </a:lnTo>
                <a:lnTo>
                  <a:pt x="3699" y="2552"/>
                </a:lnTo>
                <a:lnTo>
                  <a:pt x="3702" y="2552"/>
                </a:lnTo>
                <a:lnTo>
                  <a:pt x="3704" y="2551"/>
                </a:lnTo>
                <a:lnTo>
                  <a:pt x="3705" y="2548"/>
                </a:lnTo>
                <a:lnTo>
                  <a:pt x="3706" y="2543"/>
                </a:lnTo>
                <a:lnTo>
                  <a:pt x="3708" y="2539"/>
                </a:lnTo>
                <a:lnTo>
                  <a:pt x="3708" y="2537"/>
                </a:lnTo>
                <a:lnTo>
                  <a:pt x="3709" y="2537"/>
                </a:lnTo>
                <a:lnTo>
                  <a:pt x="3715" y="2537"/>
                </a:lnTo>
                <a:lnTo>
                  <a:pt x="3718" y="2525"/>
                </a:lnTo>
                <a:lnTo>
                  <a:pt x="3720" y="2514"/>
                </a:lnTo>
                <a:lnTo>
                  <a:pt x="3722" y="2513"/>
                </a:lnTo>
                <a:lnTo>
                  <a:pt x="3725" y="2512"/>
                </a:lnTo>
                <a:lnTo>
                  <a:pt x="3730" y="2512"/>
                </a:lnTo>
                <a:lnTo>
                  <a:pt x="3736" y="2512"/>
                </a:lnTo>
                <a:lnTo>
                  <a:pt x="3738" y="2512"/>
                </a:lnTo>
                <a:lnTo>
                  <a:pt x="3740" y="2511"/>
                </a:lnTo>
                <a:lnTo>
                  <a:pt x="3743" y="2509"/>
                </a:lnTo>
                <a:lnTo>
                  <a:pt x="3746" y="2506"/>
                </a:lnTo>
                <a:lnTo>
                  <a:pt x="3749" y="2502"/>
                </a:lnTo>
                <a:lnTo>
                  <a:pt x="3751" y="2500"/>
                </a:lnTo>
                <a:lnTo>
                  <a:pt x="3753" y="2499"/>
                </a:lnTo>
                <a:lnTo>
                  <a:pt x="3755" y="2499"/>
                </a:lnTo>
                <a:lnTo>
                  <a:pt x="3760" y="2499"/>
                </a:lnTo>
                <a:lnTo>
                  <a:pt x="3764" y="2498"/>
                </a:lnTo>
                <a:lnTo>
                  <a:pt x="3766" y="2498"/>
                </a:lnTo>
                <a:lnTo>
                  <a:pt x="3768" y="2497"/>
                </a:lnTo>
                <a:lnTo>
                  <a:pt x="3770" y="2496"/>
                </a:lnTo>
                <a:lnTo>
                  <a:pt x="3772" y="2495"/>
                </a:lnTo>
                <a:lnTo>
                  <a:pt x="3777" y="2490"/>
                </a:lnTo>
                <a:lnTo>
                  <a:pt x="3782" y="2484"/>
                </a:lnTo>
                <a:lnTo>
                  <a:pt x="3788" y="2477"/>
                </a:lnTo>
                <a:lnTo>
                  <a:pt x="3793" y="2470"/>
                </a:lnTo>
                <a:lnTo>
                  <a:pt x="3797" y="2463"/>
                </a:lnTo>
                <a:lnTo>
                  <a:pt x="3801" y="2457"/>
                </a:lnTo>
                <a:lnTo>
                  <a:pt x="3802" y="2452"/>
                </a:lnTo>
                <a:lnTo>
                  <a:pt x="3802" y="2450"/>
                </a:lnTo>
                <a:lnTo>
                  <a:pt x="3802" y="2448"/>
                </a:lnTo>
                <a:lnTo>
                  <a:pt x="3801" y="2443"/>
                </a:lnTo>
                <a:lnTo>
                  <a:pt x="3800" y="2438"/>
                </a:lnTo>
                <a:lnTo>
                  <a:pt x="3799" y="2435"/>
                </a:lnTo>
                <a:lnTo>
                  <a:pt x="3799" y="2432"/>
                </a:lnTo>
                <a:lnTo>
                  <a:pt x="3800" y="2428"/>
                </a:lnTo>
                <a:lnTo>
                  <a:pt x="3800" y="2424"/>
                </a:lnTo>
                <a:lnTo>
                  <a:pt x="3802" y="2415"/>
                </a:lnTo>
                <a:lnTo>
                  <a:pt x="3804" y="2407"/>
                </a:lnTo>
                <a:lnTo>
                  <a:pt x="3805" y="2401"/>
                </a:lnTo>
                <a:lnTo>
                  <a:pt x="3804" y="2394"/>
                </a:lnTo>
                <a:lnTo>
                  <a:pt x="3802" y="2383"/>
                </a:lnTo>
                <a:lnTo>
                  <a:pt x="3800" y="2372"/>
                </a:lnTo>
                <a:lnTo>
                  <a:pt x="3799" y="2365"/>
                </a:lnTo>
                <a:lnTo>
                  <a:pt x="3800" y="2358"/>
                </a:lnTo>
                <a:lnTo>
                  <a:pt x="3801" y="2352"/>
                </a:lnTo>
                <a:lnTo>
                  <a:pt x="3802" y="2345"/>
                </a:lnTo>
                <a:lnTo>
                  <a:pt x="3802" y="2342"/>
                </a:lnTo>
                <a:lnTo>
                  <a:pt x="3802" y="2340"/>
                </a:lnTo>
                <a:lnTo>
                  <a:pt x="3801" y="2337"/>
                </a:lnTo>
                <a:lnTo>
                  <a:pt x="3798" y="2334"/>
                </a:lnTo>
                <a:lnTo>
                  <a:pt x="3792" y="2329"/>
                </a:lnTo>
                <a:lnTo>
                  <a:pt x="3786" y="2324"/>
                </a:lnTo>
                <a:lnTo>
                  <a:pt x="3784" y="2321"/>
                </a:lnTo>
                <a:lnTo>
                  <a:pt x="3783" y="2319"/>
                </a:lnTo>
                <a:lnTo>
                  <a:pt x="3782" y="2317"/>
                </a:lnTo>
                <a:lnTo>
                  <a:pt x="3782" y="2299"/>
                </a:lnTo>
                <a:lnTo>
                  <a:pt x="3782" y="2286"/>
                </a:lnTo>
                <a:lnTo>
                  <a:pt x="3782" y="2278"/>
                </a:lnTo>
                <a:lnTo>
                  <a:pt x="3785" y="2272"/>
                </a:lnTo>
                <a:lnTo>
                  <a:pt x="3787" y="2269"/>
                </a:lnTo>
                <a:lnTo>
                  <a:pt x="3788" y="2266"/>
                </a:lnTo>
                <a:lnTo>
                  <a:pt x="3787" y="2264"/>
                </a:lnTo>
                <a:lnTo>
                  <a:pt x="3785" y="2262"/>
                </a:lnTo>
                <a:lnTo>
                  <a:pt x="3780" y="2257"/>
                </a:lnTo>
                <a:lnTo>
                  <a:pt x="3774" y="2252"/>
                </a:lnTo>
                <a:lnTo>
                  <a:pt x="3772" y="2249"/>
                </a:lnTo>
                <a:lnTo>
                  <a:pt x="3771" y="2247"/>
                </a:lnTo>
                <a:lnTo>
                  <a:pt x="3771" y="2244"/>
                </a:lnTo>
                <a:lnTo>
                  <a:pt x="3771" y="2241"/>
                </a:lnTo>
                <a:lnTo>
                  <a:pt x="3772" y="2235"/>
                </a:lnTo>
                <a:lnTo>
                  <a:pt x="3774" y="2229"/>
                </a:lnTo>
                <a:lnTo>
                  <a:pt x="3776" y="2224"/>
                </a:lnTo>
                <a:lnTo>
                  <a:pt x="3782" y="2213"/>
                </a:lnTo>
                <a:lnTo>
                  <a:pt x="3784" y="2209"/>
                </a:lnTo>
                <a:lnTo>
                  <a:pt x="3785" y="2205"/>
                </a:lnTo>
                <a:lnTo>
                  <a:pt x="3786" y="2202"/>
                </a:lnTo>
                <a:lnTo>
                  <a:pt x="3785" y="2199"/>
                </a:lnTo>
                <a:lnTo>
                  <a:pt x="3785" y="2193"/>
                </a:lnTo>
                <a:lnTo>
                  <a:pt x="3784" y="2187"/>
                </a:lnTo>
                <a:lnTo>
                  <a:pt x="3785" y="2185"/>
                </a:lnTo>
                <a:lnTo>
                  <a:pt x="3785" y="2182"/>
                </a:lnTo>
                <a:lnTo>
                  <a:pt x="3791" y="2182"/>
                </a:lnTo>
                <a:lnTo>
                  <a:pt x="3791" y="2179"/>
                </a:lnTo>
                <a:lnTo>
                  <a:pt x="3791" y="2177"/>
                </a:lnTo>
                <a:lnTo>
                  <a:pt x="3792" y="2175"/>
                </a:lnTo>
                <a:lnTo>
                  <a:pt x="3794" y="2172"/>
                </a:lnTo>
                <a:lnTo>
                  <a:pt x="3799" y="2165"/>
                </a:lnTo>
                <a:lnTo>
                  <a:pt x="3803" y="2165"/>
                </a:lnTo>
                <a:lnTo>
                  <a:pt x="3808" y="2165"/>
                </a:lnTo>
                <a:lnTo>
                  <a:pt x="3809" y="2162"/>
                </a:lnTo>
                <a:lnTo>
                  <a:pt x="3810" y="2158"/>
                </a:lnTo>
                <a:lnTo>
                  <a:pt x="3812" y="2154"/>
                </a:lnTo>
                <a:lnTo>
                  <a:pt x="3812" y="2152"/>
                </a:lnTo>
                <a:lnTo>
                  <a:pt x="3813" y="2151"/>
                </a:lnTo>
                <a:lnTo>
                  <a:pt x="3815" y="2150"/>
                </a:lnTo>
                <a:lnTo>
                  <a:pt x="3816" y="2150"/>
                </a:lnTo>
                <a:lnTo>
                  <a:pt x="3819" y="2150"/>
                </a:lnTo>
                <a:lnTo>
                  <a:pt x="3822" y="2150"/>
                </a:lnTo>
                <a:lnTo>
                  <a:pt x="3823" y="2149"/>
                </a:lnTo>
                <a:lnTo>
                  <a:pt x="3825" y="2148"/>
                </a:lnTo>
                <a:lnTo>
                  <a:pt x="3825" y="2147"/>
                </a:lnTo>
                <a:lnTo>
                  <a:pt x="3825" y="2146"/>
                </a:lnTo>
                <a:lnTo>
                  <a:pt x="3825" y="2143"/>
                </a:lnTo>
                <a:lnTo>
                  <a:pt x="3824" y="2140"/>
                </a:lnTo>
                <a:lnTo>
                  <a:pt x="3825" y="2137"/>
                </a:lnTo>
                <a:lnTo>
                  <a:pt x="3825" y="2136"/>
                </a:lnTo>
                <a:lnTo>
                  <a:pt x="3826" y="2135"/>
                </a:lnTo>
                <a:lnTo>
                  <a:pt x="3829" y="2132"/>
                </a:lnTo>
                <a:lnTo>
                  <a:pt x="3831" y="2130"/>
                </a:lnTo>
                <a:lnTo>
                  <a:pt x="3833" y="2129"/>
                </a:lnTo>
                <a:lnTo>
                  <a:pt x="3835" y="2124"/>
                </a:lnTo>
                <a:lnTo>
                  <a:pt x="3835" y="2120"/>
                </a:lnTo>
                <a:lnTo>
                  <a:pt x="3835" y="2115"/>
                </a:lnTo>
                <a:lnTo>
                  <a:pt x="3836" y="2111"/>
                </a:lnTo>
                <a:lnTo>
                  <a:pt x="3837" y="2109"/>
                </a:lnTo>
                <a:lnTo>
                  <a:pt x="3839" y="2106"/>
                </a:lnTo>
                <a:lnTo>
                  <a:pt x="3844" y="2106"/>
                </a:lnTo>
                <a:lnTo>
                  <a:pt x="3847" y="2102"/>
                </a:lnTo>
                <a:lnTo>
                  <a:pt x="3851" y="2094"/>
                </a:lnTo>
                <a:lnTo>
                  <a:pt x="3858" y="2081"/>
                </a:lnTo>
                <a:lnTo>
                  <a:pt x="3861" y="2080"/>
                </a:lnTo>
                <a:lnTo>
                  <a:pt x="3864" y="2079"/>
                </a:lnTo>
                <a:lnTo>
                  <a:pt x="3867" y="2079"/>
                </a:lnTo>
                <a:lnTo>
                  <a:pt x="3870" y="2078"/>
                </a:lnTo>
                <a:lnTo>
                  <a:pt x="3871" y="2077"/>
                </a:lnTo>
                <a:lnTo>
                  <a:pt x="3872" y="2075"/>
                </a:lnTo>
                <a:lnTo>
                  <a:pt x="3875" y="2071"/>
                </a:lnTo>
                <a:lnTo>
                  <a:pt x="3878" y="2066"/>
                </a:lnTo>
                <a:lnTo>
                  <a:pt x="3879" y="2065"/>
                </a:lnTo>
                <a:lnTo>
                  <a:pt x="3881" y="2064"/>
                </a:lnTo>
                <a:lnTo>
                  <a:pt x="3883" y="2064"/>
                </a:lnTo>
                <a:lnTo>
                  <a:pt x="3885" y="2064"/>
                </a:lnTo>
                <a:lnTo>
                  <a:pt x="3887" y="2064"/>
                </a:lnTo>
                <a:lnTo>
                  <a:pt x="3889" y="2064"/>
                </a:lnTo>
                <a:lnTo>
                  <a:pt x="3894" y="2060"/>
                </a:lnTo>
                <a:lnTo>
                  <a:pt x="3900" y="2055"/>
                </a:lnTo>
                <a:lnTo>
                  <a:pt x="3905" y="2049"/>
                </a:lnTo>
                <a:lnTo>
                  <a:pt x="3909" y="2044"/>
                </a:lnTo>
                <a:lnTo>
                  <a:pt x="3910" y="2042"/>
                </a:lnTo>
                <a:lnTo>
                  <a:pt x="3910" y="2038"/>
                </a:lnTo>
                <a:lnTo>
                  <a:pt x="3911" y="2035"/>
                </a:lnTo>
                <a:lnTo>
                  <a:pt x="3911" y="2034"/>
                </a:lnTo>
                <a:lnTo>
                  <a:pt x="3912" y="2033"/>
                </a:lnTo>
                <a:lnTo>
                  <a:pt x="3913" y="2032"/>
                </a:lnTo>
                <a:lnTo>
                  <a:pt x="3915" y="2031"/>
                </a:lnTo>
                <a:lnTo>
                  <a:pt x="3919" y="2030"/>
                </a:lnTo>
                <a:lnTo>
                  <a:pt x="3923" y="2030"/>
                </a:lnTo>
                <a:lnTo>
                  <a:pt x="3924" y="2029"/>
                </a:lnTo>
                <a:lnTo>
                  <a:pt x="3926" y="2027"/>
                </a:lnTo>
                <a:lnTo>
                  <a:pt x="3926" y="2026"/>
                </a:lnTo>
                <a:lnTo>
                  <a:pt x="3926" y="2025"/>
                </a:lnTo>
                <a:lnTo>
                  <a:pt x="3926" y="2022"/>
                </a:lnTo>
                <a:lnTo>
                  <a:pt x="3926" y="2019"/>
                </a:lnTo>
                <a:lnTo>
                  <a:pt x="3926" y="2016"/>
                </a:lnTo>
                <a:lnTo>
                  <a:pt x="3927" y="2015"/>
                </a:lnTo>
                <a:lnTo>
                  <a:pt x="3928" y="2014"/>
                </a:lnTo>
                <a:lnTo>
                  <a:pt x="3932" y="2012"/>
                </a:lnTo>
                <a:lnTo>
                  <a:pt x="3937" y="2010"/>
                </a:lnTo>
                <a:lnTo>
                  <a:pt x="3939" y="2009"/>
                </a:lnTo>
                <a:lnTo>
                  <a:pt x="3940" y="2008"/>
                </a:lnTo>
                <a:lnTo>
                  <a:pt x="3941" y="2004"/>
                </a:lnTo>
                <a:lnTo>
                  <a:pt x="3942" y="2001"/>
                </a:lnTo>
                <a:lnTo>
                  <a:pt x="3942" y="1997"/>
                </a:lnTo>
                <a:lnTo>
                  <a:pt x="3943" y="1994"/>
                </a:lnTo>
                <a:lnTo>
                  <a:pt x="3944" y="1992"/>
                </a:lnTo>
                <a:lnTo>
                  <a:pt x="3947" y="1989"/>
                </a:lnTo>
                <a:lnTo>
                  <a:pt x="3951" y="1985"/>
                </a:lnTo>
                <a:lnTo>
                  <a:pt x="3953" y="1981"/>
                </a:lnTo>
                <a:lnTo>
                  <a:pt x="3954" y="1977"/>
                </a:lnTo>
                <a:lnTo>
                  <a:pt x="3956" y="1970"/>
                </a:lnTo>
                <a:lnTo>
                  <a:pt x="3957" y="1962"/>
                </a:lnTo>
                <a:lnTo>
                  <a:pt x="3960" y="1954"/>
                </a:lnTo>
                <a:lnTo>
                  <a:pt x="3965" y="1954"/>
                </a:lnTo>
                <a:lnTo>
                  <a:pt x="3966" y="1952"/>
                </a:lnTo>
                <a:lnTo>
                  <a:pt x="3967" y="1950"/>
                </a:lnTo>
                <a:lnTo>
                  <a:pt x="3968" y="1945"/>
                </a:lnTo>
                <a:lnTo>
                  <a:pt x="3969" y="1936"/>
                </a:lnTo>
                <a:lnTo>
                  <a:pt x="3971" y="1927"/>
                </a:lnTo>
                <a:lnTo>
                  <a:pt x="3972" y="1922"/>
                </a:lnTo>
                <a:lnTo>
                  <a:pt x="3974" y="1918"/>
                </a:lnTo>
                <a:lnTo>
                  <a:pt x="3975" y="1914"/>
                </a:lnTo>
                <a:lnTo>
                  <a:pt x="3977" y="1911"/>
                </a:lnTo>
                <a:lnTo>
                  <a:pt x="3982" y="1904"/>
                </a:lnTo>
                <a:lnTo>
                  <a:pt x="3987" y="1898"/>
                </a:lnTo>
                <a:lnTo>
                  <a:pt x="3990" y="1892"/>
                </a:lnTo>
                <a:lnTo>
                  <a:pt x="3991" y="1890"/>
                </a:lnTo>
                <a:lnTo>
                  <a:pt x="3991" y="1887"/>
                </a:lnTo>
                <a:lnTo>
                  <a:pt x="3990" y="1884"/>
                </a:lnTo>
                <a:lnTo>
                  <a:pt x="3990" y="1881"/>
                </a:lnTo>
                <a:lnTo>
                  <a:pt x="3996" y="1878"/>
                </a:lnTo>
                <a:lnTo>
                  <a:pt x="3997" y="1876"/>
                </a:lnTo>
                <a:lnTo>
                  <a:pt x="3997" y="1874"/>
                </a:lnTo>
                <a:lnTo>
                  <a:pt x="3996" y="1870"/>
                </a:lnTo>
                <a:lnTo>
                  <a:pt x="3996" y="1865"/>
                </a:lnTo>
                <a:lnTo>
                  <a:pt x="3996" y="1861"/>
                </a:lnTo>
                <a:lnTo>
                  <a:pt x="4002" y="1856"/>
                </a:lnTo>
                <a:lnTo>
                  <a:pt x="4005" y="1828"/>
                </a:lnTo>
                <a:lnTo>
                  <a:pt x="4002" y="1819"/>
                </a:lnTo>
                <a:lnTo>
                  <a:pt x="3996" y="1819"/>
                </a:lnTo>
                <a:lnTo>
                  <a:pt x="3995" y="1820"/>
                </a:lnTo>
                <a:lnTo>
                  <a:pt x="3993" y="1821"/>
                </a:lnTo>
                <a:lnTo>
                  <a:pt x="3988" y="1825"/>
                </a:lnTo>
                <a:lnTo>
                  <a:pt x="3983" y="1828"/>
                </a:lnTo>
                <a:lnTo>
                  <a:pt x="3981" y="1830"/>
                </a:lnTo>
                <a:lnTo>
                  <a:pt x="3979" y="1830"/>
                </a:lnTo>
                <a:lnTo>
                  <a:pt x="3973" y="1831"/>
                </a:lnTo>
                <a:lnTo>
                  <a:pt x="3968" y="1832"/>
                </a:lnTo>
                <a:lnTo>
                  <a:pt x="3957" y="1832"/>
                </a:lnTo>
                <a:lnTo>
                  <a:pt x="3947" y="1833"/>
                </a:lnTo>
                <a:lnTo>
                  <a:pt x="3942" y="1834"/>
                </a:lnTo>
                <a:lnTo>
                  <a:pt x="3937" y="1836"/>
                </a:lnTo>
                <a:lnTo>
                  <a:pt x="3934" y="1838"/>
                </a:lnTo>
                <a:lnTo>
                  <a:pt x="3931" y="1842"/>
                </a:lnTo>
                <a:lnTo>
                  <a:pt x="3927" y="1845"/>
                </a:lnTo>
                <a:lnTo>
                  <a:pt x="3925" y="1847"/>
                </a:lnTo>
                <a:lnTo>
                  <a:pt x="3923" y="1847"/>
                </a:lnTo>
                <a:lnTo>
                  <a:pt x="3919" y="1847"/>
                </a:lnTo>
                <a:lnTo>
                  <a:pt x="3916" y="1847"/>
                </a:lnTo>
                <a:lnTo>
                  <a:pt x="3909" y="1845"/>
                </a:lnTo>
                <a:lnTo>
                  <a:pt x="3901" y="1844"/>
                </a:lnTo>
                <a:lnTo>
                  <a:pt x="3896" y="1844"/>
                </a:lnTo>
                <a:lnTo>
                  <a:pt x="3892" y="1844"/>
                </a:lnTo>
                <a:lnTo>
                  <a:pt x="3887" y="1847"/>
                </a:lnTo>
                <a:lnTo>
                  <a:pt x="3883" y="1849"/>
                </a:lnTo>
                <a:lnTo>
                  <a:pt x="3881" y="1850"/>
                </a:lnTo>
                <a:lnTo>
                  <a:pt x="3879" y="1849"/>
                </a:lnTo>
                <a:lnTo>
                  <a:pt x="3877" y="1848"/>
                </a:lnTo>
                <a:lnTo>
                  <a:pt x="3873" y="1844"/>
                </a:lnTo>
                <a:lnTo>
                  <a:pt x="3870" y="1839"/>
                </a:lnTo>
                <a:lnTo>
                  <a:pt x="3866" y="1834"/>
                </a:lnTo>
                <a:lnTo>
                  <a:pt x="3862" y="1826"/>
                </a:lnTo>
                <a:lnTo>
                  <a:pt x="3860" y="1823"/>
                </a:lnTo>
                <a:lnTo>
                  <a:pt x="3859" y="1822"/>
                </a:lnTo>
                <a:lnTo>
                  <a:pt x="3858" y="1822"/>
                </a:lnTo>
                <a:lnTo>
                  <a:pt x="3853" y="1822"/>
                </a:lnTo>
                <a:lnTo>
                  <a:pt x="3855" y="1819"/>
                </a:lnTo>
                <a:lnTo>
                  <a:pt x="3857" y="1816"/>
                </a:lnTo>
                <a:lnTo>
                  <a:pt x="3860" y="1813"/>
                </a:lnTo>
                <a:lnTo>
                  <a:pt x="3861" y="1811"/>
                </a:lnTo>
                <a:lnTo>
                  <a:pt x="3861" y="1808"/>
                </a:lnTo>
                <a:lnTo>
                  <a:pt x="3861" y="1805"/>
                </a:lnTo>
                <a:lnTo>
                  <a:pt x="3861" y="1802"/>
                </a:lnTo>
                <a:lnTo>
                  <a:pt x="3861" y="1801"/>
                </a:lnTo>
                <a:lnTo>
                  <a:pt x="3861" y="1799"/>
                </a:lnTo>
                <a:lnTo>
                  <a:pt x="3856" y="1796"/>
                </a:lnTo>
                <a:lnTo>
                  <a:pt x="3850" y="1793"/>
                </a:lnTo>
                <a:lnTo>
                  <a:pt x="3845" y="1790"/>
                </a:lnTo>
                <a:lnTo>
                  <a:pt x="3843" y="1788"/>
                </a:lnTo>
                <a:lnTo>
                  <a:pt x="3841" y="1785"/>
                </a:lnTo>
                <a:lnTo>
                  <a:pt x="3841" y="1783"/>
                </a:lnTo>
                <a:lnTo>
                  <a:pt x="3840" y="1781"/>
                </a:lnTo>
                <a:lnTo>
                  <a:pt x="3840" y="1778"/>
                </a:lnTo>
                <a:lnTo>
                  <a:pt x="3840" y="1774"/>
                </a:lnTo>
                <a:lnTo>
                  <a:pt x="3840" y="1773"/>
                </a:lnTo>
                <a:lnTo>
                  <a:pt x="3839" y="1771"/>
                </a:lnTo>
                <a:lnTo>
                  <a:pt x="3835" y="1770"/>
                </a:lnTo>
                <a:lnTo>
                  <a:pt x="3831" y="1769"/>
                </a:lnTo>
                <a:lnTo>
                  <a:pt x="3827" y="1768"/>
                </a:lnTo>
                <a:lnTo>
                  <a:pt x="3826" y="1767"/>
                </a:lnTo>
                <a:lnTo>
                  <a:pt x="3825" y="1766"/>
                </a:lnTo>
                <a:lnTo>
                  <a:pt x="3823" y="1764"/>
                </a:lnTo>
                <a:lnTo>
                  <a:pt x="3823" y="1762"/>
                </a:lnTo>
                <a:lnTo>
                  <a:pt x="3822" y="1757"/>
                </a:lnTo>
                <a:lnTo>
                  <a:pt x="3821" y="1752"/>
                </a:lnTo>
                <a:lnTo>
                  <a:pt x="3819" y="1749"/>
                </a:lnTo>
                <a:lnTo>
                  <a:pt x="3817" y="1748"/>
                </a:lnTo>
                <a:lnTo>
                  <a:pt x="3815" y="1748"/>
                </a:lnTo>
                <a:lnTo>
                  <a:pt x="3812" y="1749"/>
                </a:lnTo>
                <a:lnTo>
                  <a:pt x="3810" y="1749"/>
                </a:lnTo>
                <a:lnTo>
                  <a:pt x="3809" y="1748"/>
                </a:lnTo>
                <a:lnTo>
                  <a:pt x="3808" y="1746"/>
                </a:lnTo>
                <a:lnTo>
                  <a:pt x="3804" y="1741"/>
                </a:lnTo>
                <a:lnTo>
                  <a:pt x="3799" y="1732"/>
                </a:lnTo>
                <a:lnTo>
                  <a:pt x="3797" y="1734"/>
                </a:lnTo>
                <a:lnTo>
                  <a:pt x="3795" y="1735"/>
                </a:lnTo>
                <a:lnTo>
                  <a:pt x="3794" y="1735"/>
                </a:lnTo>
                <a:lnTo>
                  <a:pt x="3794" y="1732"/>
                </a:lnTo>
                <a:lnTo>
                  <a:pt x="3790" y="1731"/>
                </a:lnTo>
                <a:lnTo>
                  <a:pt x="3789" y="1730"/>
                </a:lnTo>
                <a:lnTo>
                  <a:pt x="3788" y="1729"/>
                </a:lnTo>
                <a:lnTo>
                  <a:pt x="3786" y="1723"/>
                </a:lnTo>
                <a:lnTo>
                  <a:pt x="3785" y="1716"/>
                </a:lnTo>
                <a:lnTo>
                  <a:pt x="3784" y="1700"/>
                </a:lnTo>
                <a:lnTo>
                  <a:pt x="3783" y="1685"/>
                </a:lnTo>
                <a:lnTo>
                  <a:pt x="3782" y="1678"/>
                </a:lnTo>
                <a:lnTo>
                  <a:pt x="3781" y="1675"/>
                </a:lnTo>
                <a:lnTo>
                  <a:pt x="3780" y="1673"/>
                </a:lnTo>
                <a:lnTo>
                  <a:pt x="3774" y="1673"/>
                </a:lnTo>
                <a:lnTo>
                  <a:pt x="3761" y="1659"/>
                </a:lnTo>
                <a:lnTo>
                  <a:pt x="3753" y="1650"/>
                </a:lnTo>
                <a:lnTo>
                  <a:pt x="3749" y="1645"/>
                </a:lnTo>
                <a:lnTo>
                  <a:pt x="3747" y="1638"/>
                </a:lnTo>
                <a:lnTo>
                  <a:pt x="3747" y="1631"/>
                </a:lnTo>
                <a:lnTo>
                  <a:pt x="3748" y="1625"/>
                </a:lnTo>
                <a:lnTo>
                  <a:pt x="3749" y="1619"/>
                </a:lnTo>
                <a:lnTo>
                  <a:pt x="3750" y="1607"/>
                </a:lnTo>
                <a:lnTo>
                  <a:pt x="3750" y="1601"/>
                </a:lnTo>
                <a:lnTo>
                  <a:pt x="3749" y="1598"/>
                </a:lnTo>
                <a:lnTo>
                  <a:pt x="3749" y="1594"/>
                </a:lnTo>
                <a:lnTo>
                  <a:pt x="3743" y="1591"/>
                </a:lnTo>
                <a:lnTo>
                  <a:pt x="3743" y="1589"/>
                </a:lnTo>
                <a:lnTo>
                  <a:pt x="3742" y="1588"/>
                </a:lnTo>
                <a:lnTo>
                  <a:pt x="3743" y="1584"/>
                </a:lnTo>
                <a:lnTo>
                  <a:pt x="3743" y="1581"/>
                </a:lnTo>
                <a:lnTo>
                  <a:pt x="3743" y="1579"/>
                </a:lnTo>
                <a:lnTo>
                  <a:pt x="3743" y="1577"/>
                </a:lnTo>
                <a:lnTo>
                  <a:pt x="3740" y="1575"/>
                </a:lnTo>
                <a:lnTo>
                  <a:pt x="3734" y="1571"/>
                </a:lnTo>
                <a:lnTo>
                  <a:pt x="3727" y="1566"/>
                </a:lnTo>
                <a:lnTo>
                  <a:pt x="3725" y="1565"/>
                </a:lnTo>
                <a:lnTo>
                  <a:pt x="3723" y="1563"/>
                </a:lnTo>
                <a:lnTo>
                  <a:pt x="3722" y="1562"/>
                </a:lnTo>
                <a:lnTo>
                  <a:pt x="3722" y="1560"/>
                </a:lnTo>
                <a:lnTo>
                  <a:pt x="3720" y="1556"/>
                </a:lnTo>
                <a:lnTo>
                  <a:pt x="3718" y="1549"/>
                </a:lnTo>
                <a:lnTo>
                  <a:pt x="3717" y="1542"/>
                </a:lnTo>
                <a:lnTo>
                  <a:pt x="3715" y="1535"/>
                </a:lnTo>
                <a:lnTo>
                  <a:pt x="3717" y="1534"/>
                </a:lnTo>
                <a:lnTo>
                  <a:pt x="3720" y="1534"/>
                </a:lnTo>
                <a:lnTo>
                  <a:pt x="3721" y="1533"/>
                </a:lnTo>
                <a:lnTo>
                  <a:pt x="3721" y="1532"/>
                </a:lnTo>
                <a:lnTo>
                  <a:pt x="3720" y="1529"/>
                </a:lnTo>
                <a:lnTo>
                  <a:pt x="3720" y="1527"/>
                </a:lnTo>
                <a:lnTo>
                  <a:pt x="3718" y="1524"/>
                </a:lnTo>
                <a:lnTo>
                  <a:pt x="3714" y="1518"/>
                </a:lnTo>
                <a:lnTo>
                  <a:pt x="3710" y="1512"/>
                </a:lnTo>
                <a:lnTo>
                  <a:pt x="3706" y="1507"/>
                </a:lnTo>
                <a:lnTo>
                  <a:pt x="3702" y="1497"/>
                </a:lnTo>
                <a:lnTo>
                  <a:pt x="3699" y="1488"/>
                </a:lnTo>
                <a:lnTo>
                  <a:pt x="3696" y="1479"/>
                </a:lnTo>
                <a:lnTo>
                  <a:pt x="3692" y="1467"/>
                </a:lnTo>
                <a:lnTo>
                  <a:pt x="3692" y="1466"/>
                </a:lnTo>
                <a:lnTo>
                  <a:pt x="3690" y="1464"/>
                </a:lnTo>
                <a:lnTo>
                  <a:pt x="3687" y="1459"/>
                </a:lnTo>
                <a:lnTo>
                  <a:pt x="3683" y="1454"/>
                </a:lnTo>
                <a:lnTo>
                  <a:pt x="3682" y="1452"/>
                </a:lnTo>
                <a:lnTo>
                  <a:pt x="3681" y="1451"/>
                </a:lnTo>
                <a:lnTo>
                  <a:pt x="3681" y="1448"/>
                </a:lnTo>
                <a:lnTo>
                  <a:pt x="3681" y="1445"/>
                </a:lnTo>
                <a:lnTo>
                  <a:pt x="3682" y="1442"/>
                </a:lnTo>
                <a:lnTo>
                  <a:pt x="3681" y="1440"/>
                </a:lnTo>
                <a:lnTo>
                  <a:pt x="3681" y="1439"/>
                </a:lnTo>
                <a:lnTo>
                  <a:pt x="3679" y="1435"/>
                </a:lnTo>
                <a:lnTo>
                  <a:pt x="3675" y="1432"/>
                </a:lnTo>
                <a:lnTo>
                  <a:pt x="3674" y="1430"/>
                </a:lnTo>
                <a:lnTo>
                  <a:pt x="3672" y="1428"/>
                </a:lnTo>
                <a:lnTo>
                  <a:pt x="3670" y="1422"/>
                </a:lnTo>
                <a:lnTo>
                  <a:pt x="3667" y="1415"/>
                </a:lnTo>
                <a:lnTo>
                  <a:pt x="3667" y="1412"/>
                </a:lnTo>
                <a:lnTo>
                  <a:pt x="3667" y="1411"/>
                </a:lnTo>
                <a:lnTo>
                  <a:pt x="3667" y="1410"/>
                </a:lnTo>
                <a:lnTo>
                  <a:pt x="3668" y="1410"/>
                </a:lnTo>
                <a:lnTo>
                  <a:pt x="3670" y="1411"/>
                </a:lnTo>
                <a:lnTo>
                  <a:pt x="3672" y="1413"/>
                </a:lnTo>
                <a:lnTo>
                  <a:pt x="3673" y="1415"/>
                </a:lnTo>
                <a:lnTo>
                  <a:pt x="3675" y="1420"/>
                </a:lnTo>
                <a:lnTo>
                  <a:pt x="3676" y="1425"/>
                </a:lnTo>
                <a:lnTo>
                  <a:pt x="3677" y="1428"/>
                </a:lnTo>
                <a:lnTo>
                  <a:pt x="3677" y="1429"/>
                </a:lnTo>
                <a:lnTo>
                  <a:pt x="3678" y="1431"/>
                </a:lnTo>
                <a:lnTo>
                  <a:pt x="3681" y="1434"/>
                </a:lnTo>
                <a:lnTo>
                  <a:pt x="3685" y="1438"/>
                </a:lnTo>
                <a:lnTo>
                  <a:pt x="3692" y="1445"/>
                </a:lnTo>
                <a:lnTo>
                  <a:pt x="3694" y="1444"/>
                </a:lnTo>
                <a:lnTo>
                  <a:pt x="3696" y="1443"/>
                </a:lnTo>
                <a:lnTo>
                  <a:pt x="3701" y="1442"/>
                </a:lnTo>
                <a:lnTo>
                  <a:pt x="3701" y="1438"/>
                </a:lnTo>
                <a:lnTo>
                  <a:pt x="3701" y="1434"/>
                </a:lnTo>
                <a:lnTo>
                  <a:pt x="3710" y="1439"/>
                </a:lnTo>
                <a:lnTo>
                  <a:pt x="3716" y="1444"/>
                </a:lnTo>
                <a:lnTo>
                  <a:pt x="3720" y="1449"/>
                </a:lnTo>
                <a:lnTo>
                  <a:pt x="3722" y="1453"/>
                </a:lnTo>
                <a:lnTo>
                  <a:pt x="3726" y="1464"/>
                </a:lnTo>
                <a:lnTo>
                  <a:pt x="3730" y="1471"/>
                </a:lnTo>
                <a:lnTo>
                  <a:pt x="3735" y="1479"/>
                </a:lnTo>
                <a:lnTo>
                  <a:pt x="3736" y="1480"/>
                </a:lnTo>
                <a:lnTo>
                  <a:pt x="3738" y="1481"/>
                </a:lnTo>
                <a:lnTo>
                  <a:pt x="3742" y="1484"/>
                </a:lnTo>
                <a:lnTo>
                  <a:pt x="3746" y="1487"/>
                </a:lnTo>
                <a:lnTo>
                  <a:pt x="3749" y="1490"/>
                </a:lnTo>
                <a:lnTo>
                  <a:pt x="3750" y="1494"/>
                </a:lnTo>
                <a:lnTo>
                  <a:pt x="3751" y="1498"/>
                </a:lnTo>
                <a:lnTo>
                  <a:pt x="3751" y="1506"/>
                </a:lnTo>
                <a:lnTo>
                  <a:pt x="3752" y="1514"/>
                </a:lnTo>
                <a:lnTo>
                  <a:pt x="3753" y="1517"/>
                </a:lnTo>
                <a:lnTo>
                  <a:pt x="3754" y="1521"/>
                </a:lnTo>
                <a:lnTo>
                  <a:pt x="3757" y="1524"/>
                </a:lnTo>
                <a:lnTo>
                  <a:pt x="3760" y="1527"/>
                </a:lnTo>
                <a:lnTo>
                  <a:pt x="3767" y="1533"/>
                </a:lnTo>
                <a:lnTo>
                  <a:pt x="3771" y="1536"/>
                </a:lnTo>
                <a:lnTo>
                  <a:pt x="3773" y="1538"/>
                </a:lnTo>
                <a:lnTo>
                  <a:pt x="3775" y="1540"/>
                </a:lnTo>
                <a:lnTo>
                  <a:pt x="3778" y="1544"/>
                </a:lnTo>
                <a:lnTo>
                  <a:pt x="3779" y="1546"/>
                </a:lnTo>
                <a:lnTo>
                  <a:pt x="3780" y="1549"/>
                </a:lnTo>
                <a:lnTo>
                  <a:pt x="3780" y="1552"/>
                </a:lnTo>
                <a:lnTo>
                  <a:pt x="3779" y="1556"/>
                </a:lnTo>
                <a:lnTo>
                  <a:pt x="3778" y="1559"/>
                </a:lnTo>
                <a:lnTo>
                  <a:pt x="3777" y="1563"/>
                </a:lnTo>
                <a:lnTo>
                  <a:pt x="3777" y="1567"/>
                </a:lnTo>
                <a:lnTo>
                  <a:pt x="3778" y="1577"/>
                </a:lnTo>
                <a:lnTo>
                  <a:pt x="3778" y="1582"/>
                </a:lnTo>
                <a:lnTo>
                  <a:pt x="3779" y="1586"/>
                </a:lnTo>
                <a:lnTo>
                  <a:pt x="3781" y="1588"/>
                </a:lnTo>
                <a:lnTo>
                  <a:pt x="3781" y="1589"/>
                </a:lnTo>
                <a:lnTo>
                  <a:pt x="3782" y="1588"/>
                </a:lnTo>
                <a:lnTo>
                  <a:pt x="3783" y="1597"/>
                </a:lnTo>
                <a:lnTo>
                  <a:pt x="3783" y="1605"/>
                </a:lnTo>
                <a:lnTo>
                  <a:pt x="3783" y="1612"/>
                </a:lnTo>
                <a:lnTo>
                  <a:pt x="3784" y="1616"/>
                </a:lnTo>
                <a:lnTo>
                  <a:pt x="3785" y="1619"/>
                </a:lnTo>
                <a:lnTo>
                  <a:pt x="3788" y="1624"/>
                </a:lnTo>
                <a:lnTo>
                  <a:pt x="3791" y="1627"/>
                </a:lnTo>
                <a:lnTo>
                  <a:pt x="3795" y="1630"/>
                </a:lnTo>
                <a:lnTo>
                  <a:pt x="3800" y="1633"/>
                </a:lnTo>
                <a:lnTo>
                  <a:pt x="3804" y="1635"/>
                </a:lnTo>
                <a:lnTo>
                  <a:pt x="3809" y="1638"/>
                </a:lnTo>
                <a:lnTo>
                  <a:pt x="3813" y="1641"/>
                </a:lnTo>
                <a:lnTo>
                  <a:pt x="3815" y="1643"/>
                </a:lnTo>
                <a:lnTo>
                  <a:pt x="3816" y="1645"/>
                </a:lnTo>
                <a:lnTo>
                  <a:pt x="3818" y="1648"/>
                </a:lnTo>
                <a:lnTo>
                  <a:pt x="3819" y="1653"/>
                </a:lnTo>
                <a:lnTo>
                  <a:pt x="3821" y="1662"/>
                </a:lnTo>
                <a:lnTo>
                  <a:pt x="3822" y="1671"/>
                </a:lnTo>
                <a:lnTo>
                  <a:pt x="3823" y="1675"/>
                </a:lnTo>
                <a:lnTo>
                  <a:pt x="3825" y="1678"/>
                </a:lnTo>
                <a:lnTo>
                  <a:pt x="3830" y="1681"/>
                </a:lnTo>
                <a:lnTo>
                  <a:pt x="3836" y="1684"/>
                </a:lnTo>
                <a:lnTo>
                  <a:pt x="3850" y="1707"/>
                </a:lnTo>
                <a:lnTo>
                  <a:pt x="3850" y="1709"/>
                </a:lnTo>
                <a:lnTo>
                  <a:pt x="3850" y="1712"/>
                </a:lnTo>
                <a:lnTo>
                  <a:pt x="3849" y="1718"/>
                </a:lnTo>
                <a:lnTo>
                  <a:pt x="3847" y="1723"/>
                </a:lnTo>
                <a:lnTo>
                  <a:pt x="3847" y="1729"/>
                </a:lnTo>
                <a:lnTo>
                  <a:pt x="3848" y="1730"/>
                </a:lnTo>
                <a:lnTo>
                  <a:pt x="3848" y="1733"/>
                </a:lnTo>
                <a:lnTo>
                  <a:pt x="3849" y="1742"/>
                </a:lnTo>
                <a:lnTo>
                  <a:pt x="3851" y="1754"/>
                </a:lnTo>
                <a:lnTo>
                  <a:pt x="3852" y="1759"/>
                </a:lnTo>
                <a:lnTo>
                  <a:pt x="3853" y="1763"/>
                </a:lnTo>
                <a:lnTo>
                  <a:pt x="3852" y="1762"/>
                </a:lnTo>
                <a:lnTo>
                  <a:pt x="3851" y="1761"/>
                </a:lnTo>
                <a:lnTo>
                  <a:pt x="3851" y="1762"/>
                </a:lnTo>
                <a:lnTo>
                  <a:pt x="3850" y="1763"/>
                </a:lnTo>
                <a:lnTo>
                  <a:pt x="3850" y="1765"/>
                </a:lnTo>
                <a:lnTo>
                  <a:pt x="3850" y="1766"/>
                </a:lnTo>
                <a:lnTo>
                  <a:pt x="3854" y="1770"/>
                </a:lnTo>
                <a:lnTo>
                  <a:pt x="3857" y="1772"/>
                </a:lnTo>
                <a:lnTo>
                  <a:pt x="3858" y="1774"/>
                </a:lnTo>
                <a:lnTo>
                  <a:pt x="3860" y="1780"/>
                </a:lnTo>
                <a:lnTo>
                  <a:pt x="3860" y="1786"/>
                </a:lnTo>
                <a:lnTo>
                  <a:pt x="3861" y="1790"/>
                </a:lnTo>
                <a:lnTo>
                  <a:pt x="3861" y="1794"/>
                </a:lnTo>
                <a:lnTo>
                  <a:pt x="3862" y="1796"/>
                </a:lnTo>
                <a:lnTo>
                  <a:pt x="3863" y="1797"/>
                </a:lnTo>
                <a:lnTo>
                  <a:pt x="3865" y="1798"/>
                </a:lnTo>
                <a:lnTo>
                  <a:pt x="3867" y="1799"/>
                </a:lnTo>
                <a:lnTo>
                  <a:pt x="3869" y="1799"/>
                </a:lnTo>
                <a:lnTo>
                  <a:pt x="3872" y="1800"/>
                </a:lnTo>
                <a:lnTo>
                  <a:pt x="3881" y="1799"/>
                </a:lnTo>
                <a:lnTo>
                  <a:pt x="3885" y="1798"/>
                </a:lnTo>
                <a:lnTo>
                  <a:pt x="3889" y="1797"/>
                </a:lnTo>
                <a:lnTo>
                  <a:pt x="3893" y="1794"/>
                </a:lnTo>
                <a:lnTo>
                  <a:pt x="3896" y="1792"/>
                </a:lnTo>
                <a:lnTo>
                  <a:pt x="3899" y="1789"/>
                </a:lnTo>
                <a:lnTo>
                  <a:pt x="3902" y="1786"/>
                </a:lnTo>
                <a:lnTo>
                  <a:pt x="3905" y="1784"/>
                </a:lnTo>
                <a:lnTo>
                  <a:pt x="3909" y="1783"/>
                </a:lnTo>
                <a:lnTo>
                  <a:pt x="3911" y="1782"/>
                </a:lnTo>
                <a:lnTo>
                  <a:pt x="3913" y="1782"/>
                </a:lnTo>
                <a:lnTo>
                  <a:pt x="3917" y="1782"/>
                </a:lnTo>
                <a:lnTo>
                  <a:pt x="3922" y="1783"/>
                </a:lnTo>
                <a:lnTo>
                  <a:pt x="3926" y="1783"/>
                </a:lnTo>
                <a:lnTo>
                  <a:pt x="3929" y="1780"/>
                </a:lnTo>
                <a:lnTo>
                  <a:pt x="3932" y="1778"/>
                </a:lnTo>
                <a:lnTo>
                  <a:pt x="3934" y="1777"/>
                </a:lnTo>
                <a:lnTo>
                  <a:pt x="3938" y="1779"/>
                </a:lnTo>
                <a:lnTo>
                  <a:pt x="3941" y="1781"/>
                </a:lnTo>
                <a:lnTo>
                  <a:pt x="3943" y="1782"/>
                </a:lnTo>
                <a:lnTo>
                  <a:pt x="3946" y="1782"/>
                </a:lnTo>
                <a:lnTo>
                  <a:pt x="3950" y="1781"/>
                </a:lnTo>
                <a:lnTo>
                  <a:pt x="3954" y="1780"/>
                </a:lnTo>
                <a:lnTo>
                  <a:pt x="3955" y="1779"/>
                </a:lnTo>
                <a:lnTo>
                  <a:pt x="3956" y="1778"/>
                </a:lnTo>
                <a:lnTo>
                  <a:pt x="3958" y="1774"/>
                </a:lnTo>
                <a:lnTo>
                  <a:pt x="3960" y="1771"/>
                </a:lnTo>
                <a:lnTo>
                  <a:pt x="3962" y="1768"/>
                </a:lnTo>
                <a:lnTo>
                  <a:pt x="3968" y="1765"/>
                </a:lnTo>
                <a:lnTo>
                  <a:pt x="3974" y="1763"/>
                </a:lnTo>
                <a:lnTo>
                  <a:pt x="3987" y="1759"/>
                </a:lnTo>
                <a:lnTo>
                  <a:pt x="3999" y="1755"/>
                </a:lnTo>
                <a:lnTo>
                  <a:pt x="4005" y="1752"/>
                </a:lnTo>
                <a:lnTo>
                  <a:pt x="4010" y="1749"/>
                </a:lnTo>
                <a:lnTo>
                  <a:pt x="4010" y="1746"/>
                </a:lnTo>
                <a:lnTo>
                  <a:pt x="4013" y="1746"/>
                </a:lnTo>
                <a:lnTo>
                  <a:pt x="4016" y="1738"/>
                </a:lnTo>
                <a:lnTo>
                  <a:pt x="4021" y="1738"/>
                </a:lnTo>
                <a:lnTo>
                  <a:pt x="4022" y="1736"/>
                </a:lnTo>
                <a:lnTo>
                  <a:pt x="4021" y="1735"/>
                </a:lnTo>
                <a:lnTo>
                  <a:pt x="4020" y="1731"/>
                </a:lnTo>
                <a:lnTo>
                  <a:pt x="4019" y="1729"/>
                </a:lnTo>
                <a:lnTo>
                  <a:pt x="4019" y="1727"/>
                </a:lnTo>
                <a:lnTo>
                  <a:pt x="4020" y="1725"/>
                </a:lnTo>
                <a:lnTo>
                  <a:pt x="4021" y="1723"/>
                </a:lnTo>
                <a:lnTo>
                  <a:pt x="4024" y="1722"/>
                </a:lnTo>
                <a:lnTo>
                  <a:pt x="4026" y="1720"/>
                </a:lnTo>
                <a:lnTo>
                  <a:pt x="4031" y="1719"/>
                </a:lnTo>
                <a:lnTo>
                  <a:pt x="4043" y="1717"/>
                </a:lnTo>
                <a:lnTo>
                  <a:pt x="4050" y="1715"/>
                </a:lnTo>
                <a:lnTo>
                  <a:pt x="4053" y="1711"/>
                </a:lnTo>
                <a:lnTo>
                  <a:pt x="4056" y="1708"/>
                </a:lnTo>
                <a:lnTo>
                  <a:pt x="4058" y="1707"/>
                </a:lnTo>
                <a:lnTo>
                  <a:pt x="4059" y="1706"/>
                </a:lnTo>
                <a:lnTo>
                  <a:pt x="4060" y="1707"/>
                </a:lnTo>
                <a:lnTo>
                  <a:pt x="4063" y="1708"/>
                </a:lnTo>
                <a:lnTo>
                  <a:pt x="4066" y="1708"/>
                </a:lnTo>
                <a:lnTo>
                  <a:pt x="4067" y="1708"/>
                </a:lnTo>
                <a:lnTo>
                  <a:pt x="4069" y="1707"/>
                </a:lnTo>
                <a:lnTo>
                  <a:pt x="4072" y="1703"/>
                </a:lnTo>
                <a:lnTo>
                  <a:pt x="4073" y="1698"/>
                </a:lnTo>
                <a:lnTo>
                  <a:pt x="4075" y="1693"/>
                </a:lnTo>
                <a:lnTo>
                  <a:pt x="4076" y="1691"/>
                </a:lnTo>
                <a:lnTo>
                  <a:pt x="4078" y="1690"/>
                </a:lnTo>
                <a:lnTo>
                  <a:pt x="4079" y="1689"/>
                </a:lnTo>
                <a:lnTo>
                  <a:pt x="4081" y="1689"/>
                </a:lnTo>
                <a:lnTo>
                  <a:pt x="4087" y="1689"/>
                </a:lnTo>
                <a:lnTo>
                  <a:pt x="4096" y="1690"/>
                </a:lnTo>
                <a:lnTo>
                  <a:pt x="4101" y="1679"/>
                </a:lnTo>
                <a:lnTo>
                  <a:pt x="4103" y="1676"/>
                </a:lnTo>
                <a:lnTo>
                  <a:pt x="4105" y="1674"/>
                </a:lnTo>
                <a:lnTo>
                  <a:pt x="4111" y="1671"/>
                </a:lnTo>
                <a:lnTo>
                  <a:pt x="4124" y="1667"/>
                </a:lnTo>
                <a:lnTo>
                  <a:pt x="4123" y="1666"/>
                </a:lnTo>
                <a:lnTo>
                  <a:pt x="4122" y="1665"/>
                </a:lnTo>
                <a:lnTo>
                  <a:pt x="4122" y="1662"/>
                </a:lnTo>
                <a:lnTo>
                  <a:pt x="4122" y="1652"/>
                </a:lnTo>
                <a:lnTo>
                  <a:pt x="4125" y="1643"/>
                </a:lnTo>
                <a:lnTo>
                  <a:pt x="4126" y="1636"/>
                </a:lnTo>
                <a:lnTo>
                  <a:pt x="4131" y="1636"/>
                </a:lnTo>
                <a:lnTo>
                  <a:pt x="4135" y="1636"/>
                </a:lnTo>
                <a:lnTo>
                  <a:pt x="4137" y="1631"/>
                </a:lnTo>
                <a:lnTo>
                  <a:pt x="4138" y="1625"/>
                </a:lnTo>
                <a:lnTo>
                  <a:pt x="4139" y="1619"/>
                </a:lnTo>
                <a:lnTo>
                  <a:pt x="4139" y="1617"/>
                </a:lnTo>
                <a:lnTo>
                  <a:pt x="4141" y="1614"/>
                </a:lnTo>
                <a:lnTo>
                  <a:pt x="4143" y="1610"/>
                </a:lnTo>
                <a:lnTo>
                  <a:pt x="4145" y="1607"/>
                </a:lnTo>
                <a:lnTo>
                  <a:pt x="4152" y="1599"/>
                </a:lnTo>
                <a:lnTo>
                  <a:pt x="4154" y="1595"/>
                </a:lnTo>
                <a:lnTo>
                  <a:pt x="4157" y="1590"/>
                </a:lnTo>
                <a:lnTo>
                  <a:pt x="4157" y="1588"/>
                </a:lnTo>
                <a:lnTo>
                  <a:pt x="4158" y="1585"/>
                </a:lnTo>
                <a:lnTo>
                  <a:pt x="4158" y="1583"/>
                </a:lnTo>
                <a:lnTo>
                  <a:pt x="4157" y="1580"/>
                </a:lnTo>
                <a:lnTo>
                  <a:pt x="4157" y="1579"/>
                </a:lnTo>
                <a:lnTo>
                  <a:pt x="4156" y="1579"/>
                </a:lnTo>
                <a:lnTo>
                  <a:pt x="4154" y="1578"/>
                </a:lnTo>
                <a:lnTo>
                  <a:pt x="4151" y="1578"/>
                </a:lnTo>
                <a:lnTo>
                  <a:pt x="4149" y="1577"/>
                </a:lnTo>
                <a:lnTo>
                  <a:pt x="4148" y="1576"/>
                </a:lnTo>
                <a:lnTo>
                  <a:pt x="4147" y="1573"/>
                </a:lnTo>
                <a:lnTo>
                  <a:pt x="4145" y="1566"/>
                </a:lnTo>
                <a:lnTo>
                  <a:pt x="4143" y="1559"/>
                </a:lnTo>
                <a:lnTo>
                  <a:pt x="4142" y="1556"/>
                </a:lnTo>
                <a:lnTo>
                  <a:pt x="4141" y="1555"/>
                </a:lnTo>
                <a:lnTo>
                  <a:pt x="4138" y="1553"/>
                </a:lnTo>
                <a:lnTo>
                  <a:pt x="4136" y="1552"/>
                </a:lnTo>
                <a:lnTo>
                  <a:pt x="4133" y="1551"/>
                </a:lnTo>
                <a:lnTo>
                  <a:pt x="4130" y="1550"/>
                </a:lnTo>
                <a:lnTo>
                  <a:pt x="4124" y="1549"/>
                </a:lnTo>
                <a:lnTo>
                  <a:pt x="4121" y="1548"/>
                </a:lnTo>
                <a:lnTo>
                  <a:pt x="4118" y="1546"/>
                </a:lnTo>
                <a:lnTo>
                  <a:pt x="4115" y="1544"/>
                </a:lnTo>
                <a:lnTo>
                  <a:pt x="4112" y="1541"/>
                </a:lnTo>
                <a:lnTo>
                  <a:pt x="4109" y="1539"/>
                </a:lnTo>
                <a:lnTo>
                  <a:pt x="4106" y="1535"/>
                </a:lnTo>
                <a:lnTo>
                  <a:pt x="4102" y="1528"/>
                </a:lnTo>
                <a:lnTo>
                  <a:pt x="4098" y="1520"/>
                </a:lnTo>
                <a:lnTo>
                  <a:pt x="4096" y="1515"/>
                </a:lnTo>
                <a:lnTo>
                  <a:pt x="4095" y="1510"/>
                </a:lnTo>
                <a:lnTo>
                  <a:pt x="4093" y="1504"/>
                </a:lnTo>
                <a:lnTo>
                  <a:pt x="4093" y="1498"/>
                </a:lnTo>
                <a:lnTo>
                  <a:pt x="4089" y="1502"/>
                </a:lnTo>
                <a:lnTo>
                  <a:pt x="4086" y="1505"/>
                </a:lnTo>
                <a:lnTo>
                  <a:pt x="4080" y="1514"/>
                </a:lnTo>
                <a:lnTo>
                  <a:pt x="4077" y="1518"/>
                </a:lnTo>
                <a:lnTo>
                  <a:pt x="4073" y="1521"/>
                </a:lnTo>
                <a:lnTo>
                  <a:pt x="4069" y="1525"/>
                </a:lnTo>
                <a:lnTo>
                  <a:pt x="4065" y="1529"/>
                </a:lnTo>
                <a:lnTo>
                  <a:pt x="4059" y="1532"/>
                </a:lnTo>
                <a:lnTo>
                  <a:pt x="4052" y="1535"/>
                </a:lnTo>
                <a:lnTo>
                  <a:pt x="4050" y="1541"/>
                </a:lnTo>
                <a:lnTo>
                  <a:pt x="4047" y="1541"/>
                </a:lnTo>
                <a:lnTo>
                  <a:pt x="4044" y="1540"/>
                </a:lnTo>
                <a:lnTo>
                  <a:pt x="4041" y="1538"/>
                </a:lnTo>
                <a:lnTo>
                  <a:pt x="4038" y="1536"/>
                </a:lnTo>
                <a:lnTo>
                  <a:pt x="4037" y="1535"/>
                </a:lnTo>
                <a:lnTo>
                  <a:pt x="4035" y="1535"/>
                </a:lnTo>
                <a:lnTo>
                  <a:pt x="4029" y="1535"/>
                </a:lnTo>
                <a:lnTo>
                  <a:pt x="4025" y="1536"/>
                </a:lnTo>
                <a:lnTo>
                  <a:pt x="4021" y="1537"/>
                </a:lnTo>
                <a:lnTo>
                  <a:pt x="4019" y="1537"/>
                </a:lnTo>
                <a:lnTo>
                  <a:pt x="4016" y="1537"/>
                </a:lnTo>
                <a:lnTo>
                  <a:pt x="4005" y="1535"/>
                </a:lnTo>
                <a:lnTo>
                  <a:pt x="4006" y="1524"/>
                </a:lnTo>
                <a:lnTo>
                  <a:pt x="4006" y="1514"/>
                </a:lnTo>
                <a:lnTo>
                  <a:pt x="4006" y="1505"/>
                </a:lnTo>
                <a:lnTo>
                  <a:pt x="4006" y="1501"/>
                </a:lnTo>
                <a:lnTo>
                  <a:pt x="4005" y="1499"/>
                </a:lnTo>
                <a:lnTo>
                  <a:pt x="4004" y="1498"/>
                </a:lnTo>
                <a:lnTo>
                  <a:pt x="4003" y="1498"/>
                </a:lnTo>
                <a:lnTo>
                  <a:pt x="4002" y="1498"/>
                </a:lnTo>
                <a:lnTo>
                  <a:pt x="4000" y="1500"/>
                </a:lnTo>
                <a:lnTo>
                  <a:pt x="3999" y="1502"/>
                </a:lnTo>
                <a:lnTo>
                  <a:pt x="3997" y="1507"/>
                </a:lnTo>
                <a:lnTo>
                  <a:pt x="3993" y="1518"/>
                </a:lnTo>
                <a:lnTo>
                  <a:pt x="3988" y="1518"/>
                </a:lnTo>
                <a:lnTo>
                  <a:pt x="3985" y="1509"/>
                </a:lnTo>
                <a:lnTo>
                  <a:pt x="3982" y="1501"/>
                </a:lnTo>
                <a:lnTo>
                  <a:pt x="3982" y="1499"/>
                </a:lnTo>
                <a:lnTo>
                  <a:pt x="3983" y="1497"/>
                </a:lnTo>
                <a:lnTo>
                  <a:pt x="3984" y="1494"/>
                </a:lnTo>
                <a:lnTo>
                  <a:pt x="3985" y="1491"/>
                </a:lnTo>
                <a:lnTo>
                  <a:pt x="3985" y="1489"/>
                </a:lnTo>
                <a:lnTo>
                  <a:pt x="3985" y="1487"/>
                </a:lnTo>
                <a:lnTo>
                  <a:pt x="3984" y="1486"/>
                </a:lnTo>
                <a:lnTo>
                  <a:pt x="3982" y="1484"/>
                </a:lnTo>
                <a:lnTo>
                  <a:pt x="3978" y="1481"/>
                </a:lnTo>
                <a:lnTo>
                  <a:pt x="3974" y="1479"/>
                </a:lnTo>
                <a:lnTo>
                  <a:pt x="3972" y="1477"/>
                </a:lnTo>
                <a:lnTo>
                  <a:pt x="3971" y="1476"/>
                </a:lnTo>
                <a:lnTo>
                  <a:pt x="3970" y="1474"/>
                </a:lnTo>
                <a:lnTo>
                  <a:pt x="3969" y="1472"/>
                </a:lnTo>
                <a:lnTo>
                  <a:pt x="3968" y="1467"/>
                </a:lnTo>
                <a:lnTo>
                  <a:pt x="3967" y="1463"/>
                </a:lnTo>
                <a:lnTo>
                  <a:pt x="3965" y="1459"/>
                </a:lnTo>
                <a:lnTo>
                  <a:pt x="3963" y="1457"/>
                </a:lnTo>
                <a:lnTo>
                  <a:pt x="3959" y="1455"/>
                </a:lnTo>
                <a:lnTo>
                  <a:pt x="3956" y="1453"/>
                </a:lnTo>
                <a:lnTo>
                  <a:pt x="3954" y="1451"/>
                </a:lnTo>
                <a:lnTo>
                  <a:pt x="3953" y="1448"/>
                </a:lnTo>
                <a:lnTo>
                  <a:pt x="3953" y="1446"/>
                </a:lnTo>
                <a:lnTo>
                  <a:pt x="3952" y="1441"/>
                </a:lnTo>
                <a:lnTo>
                  <a:pt x="3952" y="1436"/>
                </a:lnTo>
                <a:lnTo>
                  <a:pt x="3951" y="1431"/>
                </a:lnTo>
                <a:lnTo>
                  <a:pt x="3949" y="1427"/>
                </a:lnTo>
                <a:lnTo>
                  <a:pt x="3946" y="1424"/>
                </a:lnTo>
                <a:lnTo>
                  <a:pt x="3942" y="1420"/>
                </a:lnTo>
                <a:lnTo>
                  <a:pt x="3940" y="1417"/>
                </a:lnTo>
                <a:lnTo>
                  <a:pt x="3941" y="1415"/>
                </a:lnTo>
                <a:lnTo>
                  <a:pt x="3942" y="1414"/>
                </a:lnTo>
                <a:lnTo>
                  <a:pt x="3942" y="1411"/>
                </a:lnTo>
                <a:lnTo>
                  <a:pt x="3942" y="1407"/>
                </a:lnTo>
                <a:lnTo>
                  <a:pt x="3943" y="1403"/>
                </a:lnTo>
                <a:lnTo>
                  <a:pt x="3948" y="1404"/>
                </a:lnTo>
                <a:lnTo>
                  <a:pt x="3951" y="1404"/>
                </a:lnTo>
                <a:lnTo>
                  <a:pt x="3952" y="1403"/>
                </a:lnTo>
                <a:lnTo>
                  <a:pt x="3952" y="1402"/>
                </a:lnTo>
                <a:lnTo>
                  <a:pt x="3951" y="1400"/>
                </a:lnTo>
                <a:lnTo>
                  <a:pt x="3950" y="1398"/>
                </a:lnTo>
                <a:lnTo>
                  <a:pt x="3945" y="1391"/>
                </a:lnTo>
                <a:lnTo>
                  <a:pt x="3953" y="1395"/>
                </a:lnTo>
                <a:lnTo>
                  <a:pt x="3960" y="1400"/>
                </a:lnTo>
                <a:lnTo>
                  <a:pt x="3960" y="1398"/>
                </a:lnTo>
                <a:lnTo>
                  <a:pt x="3959" y="1396"/>
                </a:lnTo>
                <a:lnTo>
                  <a:pt x="3959" y="1395"/>
                </a:lnTo>
                <a:lnTo>
                  <a:pt x="3960" y="1394"/>
                </a:lnTo>
                <a:lnTo>
                  <a:pt x="3962" y="1394"/>
                </a:lnTo>
                <a:lnTo>
                  <a:pt x="3965" y="1396"/>
                </a:lnTo>
                <a:lnTo>
                  <a:pt x="3969" y="1399"/>
                </a:lnTo>
                <a:lnTo>
                  <a:pt x="3973" y="1402"/>
                </a:lnTo>
                <a:lnTo>
                  <a:pt x="3975" y="1402"/>
                </a:lnTo>
                <a:lnTo>
                  <a:pt x="3976" y="1403"/>
                </a:lnTo>
                <a:lnTo>
                  <a:pt x="3978" y="1402"/>
                </a:lnTo>
                <a:lnTo>
                  <a:pt x="3980" y="1400"/>
                </a:lnTo>
                <a:lnTo>
                  <a:pt x="3983" y="1398"/>
                </a:lnTo>
                <a:lnTo>
                  <a:pt x="3985" y="1397"/>
                </a:lnTo>
                <a:lnTo>
                  <a:pt x="3989" y="1406"/>
                </a:lnTo>
                <a:lnTo>
                  <a:pt x="3992" y="1415"/>
                </a:lnTo>
                <a:lnTo>
                  <a:pt x="3999" y="1434"/>
                </a:lnTo>
                <a:lnTo>
                  <a:pt x="4005" y="1436"/>
                </a:lnTo>
                <a:lnTo>
                  <a:pt x="4005" y="1438"/>
                </a:lnTo>
                <a:lnTo>
                  <a:pt x="4004" y="1441"/>
                </a:lnTo>
                <a:lnTo>
                  <a:pt x="4004" y="1443"/>
                </a:lnTo>
                <a:lnTo>
                  <a:pt x="4005" y="1445"/>
                </a:lnTo>
                <a:lnTo>
                  <a:pt x="4007" y="1446"/>
                </a:lnTo>
                <a:lnTo>
                  <a:pt x="4009" y="1446"/>
                </a:lnTo>
                <a:lnTo>
                  <a:pt x="4011" y="1446"/>
                </a:lnTo>
                <a:lnTo>
                  <a:pt x="4012" y="1447"/>
                </a:lnTo>
                <a:lnTo>
                  <a:pt x="4013" y="1448"/>
                </a:lnTo>
                <a:lnTo>
                  <a:pt x="4013" y="1450"/>
                </a:lnTo>
                <a:lnTo>
                  <a:pt x="4013" y="1453"/>
                </a:lnTo>
                <a:lnTo>
                  <a:pt x="4012" y="1456"/>
                </a:lnTo>
                <a:lnTo>
                  <a:pt x="4013" y="1458"/>
                </a:lnTo>
                <a:lnTo>
                  <a:pt x="4013" y="1459"/>
                </a:lnTo>
                <a:lnTo>
                  <a:pt x="4015" y="1460"/>
                </a:lnTo>
                <a:lnTo>
                  <a:pt x="4018" y="1462"/>
                </a:lnTo>
                <a:lnTo>
                  <a:pt x="4022" y="1463"/>
                </a:lnTo>
                <a:lnTo>
                  <a:pt x="4024" y="1465"/>
                </a:lnTo>
                <a:lnTo>
                  <a:pt x="4025" y="1466"/>
                </a:lnTo>
                <a:lnTo>
                  <a:pt x="4024" y="1469"/>
                </a:lnTo>
                <a:lnTo>
                  <a:pt x="4024" y="1471"/>
                </a:lnTo>
                <a:lnTo>
                  <a:pt x="4024" y="1473"/>
                </a:lnTo>
                <a:lnTo>
                  <a:pt x="4038" y="1484"/>
                </a:lnTo>
                <a:lnTo>
                  <a:pt x="4042" y="1486"/>
                </a:lnTo>
                <a:lnTo>
                  <a:pt x="4047" y="1487"/>
                </a:lnTo>
                <a:lnTo>
                  <a:pt x="4057" y="1489"/>
                </a:lnTo>
                <a:lnTo>
                  <a:pt x="4069" y="1490"/>
                </a:lnTo>
                <a:lnTo>
                  <a:pt x="4076" y="1486"/>
                </a:lnTo>
                <a:lnTo>
                  <a:pt x="4084" y="1483"/>
                </a:lnTo>
                <a:lnTo>
                  <a:pt x="4098" y="1476"/>
                </a:lnTo>
                <a:lnTo>
                  <a:pt x="4097" y="1475"/>
                </a:lnTo>
                <a:lnTo>
                  <a:pt x="4097" y="1474"/>
                </a:lnTo>
                <a:lnTo>
                  <a:pt x="4098" y="1473"/>
                </a:lnTo>
                <a:lnTo>
                  <a:pt x="4101" y="1473"/>
                </a:lnTo>
                <a:lnTo>
                  <a:pt x="4102" y="1474"/>
                </a:lnTo>
                <a:lnTo>
                  <a:pt x="4104" y="1475"/>
                </a:lnTo>
                <a:lnTo>
                  <a:pt x="4107" y="1477"/>
                </a:lnTo>
                <a:lnTo>
                  <a:pt x="4110" y="1479"/>
                </a:lnTo>
                <a:lnTo>
                  <a:pt x="4111" y="1480"/>
                </a:lnTo>
                <a:lnTo>
                  <a:pt x="4112" y="1481"/>
                </a:lnTo>
                <a:lnTo>
                  <a:pt x="4114" y="1485"/>
                </a:lnTo>
                <a:lnTo>
                  <a:pt x="4114" y="1488"/>
                </a:lnTo>
                <a:lnTo>
                  <a:pt x="4115" y="1495"/>
                </a:lnTo>
                <a:lnTo>
                  <a:pt x="4115" y="1498"/>
                </a:lnTo>
                <a:lnTo>
                  <a:pt x="4115" y="1502"/>
                </a:lnTo>
                <a:lnTo>
                  <a:pt x="4116" y="1504"/>
                </a:lnTo>
                <a:lnTo>
                  <a:pt x="4118" y="1507"/>
                </a:lnTo>
                <a:lnTo>
                  <a:pt x="4121" y="1509"/>
                </a:lnTo>
                <a:lnTo>
                  <a:pt x="4124" y="1511"/>
                </a:lnTo>
                <a:lnTo>
                  <a:pt x="4128" y="1513"/>
                </a:lnTo>
                <a:lnTo>
                  <a:pt x="4131" y="1514"/>
                </a:lnTo>
                <a:lnTo>
                  <a:pt x="4139" y="1515"/>
                </a:lnTo>
                <a:lnTo>
                  <a:pt x="4147" y="1515"/>
                </a:lnTo>
                <a:lnTo>
                  <a:pt x="4155" y="1515"/>
                </a:lnTo>
                <a:lnTo>
                  <a:pt x="4162" y="1515"/>
                </a:lnTo>
                <a:lnTo>
                  <a:pt x="4169" y="1515"/>
                </a:lnTo>
                <a:lnTo>
                  <a:pt x="4174" y="1515"/>
                </a:lnTo>
                <a:lnTo>
                  <a:pt x="4175" y="1516"/>
                </a:lnTo>
                <a:lnTo>
                  <a:pt x="4176" y="1517"/>
                </a:lnTo>
                <a:lnTo>
                  <a:pt x="4179" y="1520"/>
                </a:lnTo>
                <a:lnTo>
                  <a:pt x="4183" y="1524"/>
                </a:lnTo>
                <a:lnTo>
                  <a:pt x="4184" y="1524"/>
                </a:lnTo>
                <a:lnTo>
                  <a:pt x="4187" y="1523"/>
                </a:lnTo>
                <a:lnTo>
                  <a:pt x="4194" y="1523"/>
                </a:lnTo>
                <a:lnTo>
                  <a:pt x="4204" y="1521"/>
                </a:lnTo>
                <a:lnTo>
                  <a:pt x="4230" y="1517"/>
                </a:lnTo>
                <a:lnTo>
                  <a:pt x="4244" y="1514"/>
                </a:lnTo>
                <a:lnTo>
                  <a:pt x="4250" y="1514"/>
                </a:lnTo>
                <a:lnTo>
                  <a:pt x="4256" y="1513"/>
                </a:lnTo>
                <a:lnTo>
                  <a:pt x="4267" y="1513"/>
                </a:lnTo>
                <a:lnTo>
                  <a:pt x="4272" y="1514"/>
                </a:lnTo>
                <a:lnTo>
                  <a:pt x="4276" y="1515"/>
                </a:lnTo>
                <a:lnTo>
                  <a:pt x="4284" y="1527"/>
                </a:lnTo>
                <a:lnTo>
                  <a:pt x="4284" y="1528"/>
                </a:lnTo>
                <a:lnTo>
                  <a:pt x="4282" y="1530"/>
                </a:lnTo>
                <a:lnTo>
                  <a:pt x="4280" y="1532"/>
                </a:lnTo>
                <a:lnTo>
                  <a:pt x="4280" y="1534"/>
                </a:lnTo>
                <a:lnTo>
                  <a:pt x="4281" y="1535"/>
                </a:lnTo>
                <a:lnTo>
                  <a:pt x="4282" y="1535"/>
                </a:lnTo>
                <a:lnTo>
                  <a:pt x="4283" y="1536"/>
                </a:lnTo>
                <a:lnTo>
                  <a:pt x="4287" y="1535"/>
                </a:lnTo>
                <a:lnTo>
                  <a:pt x="4290" y="1535"/>
                </a:lnTo>
                <a:lnTo>
                  <a:pt x="4292" y="1535"/>
                </a:lnTo>
                <a:lnTo>
                  <a:pt x="4297" y="1538"/>
                </a:lnTo>
                <a:lnTo>
                  <a:pt x="4299" y="1539"/>
                </a:lnTo>
                <a:lnTo>
                  <a:pt x="4300" y="1540"/>
                </a:lnTo>
                <a:lnTo>
                  <a:pt x="4300" y="1544"/>
                </a:lnTo>
                <a:lnTo>
                  <a:pt x="4299" y="1548"/>
                </a:lnTo>
                <a:lnTo>
                  <a:pt x="4300" y="1550"/>
                </a:lnTo>
                <a:lnTo>
                  <a:pt x="4301" y="1552"/>
                </a:lnTo>
                <a:lnTo>
                  <a:pt x="4318" y="1557"/>
                </a:lnTo>
                <a:lnTo>
                  <a:pt x="4319" y="1559"/>
                </a:lnTo>
                <a:lnTo>
                  <a:pt x="4319" y="1561"/>
                </a:lnTo>
                <a:lnTo>
                  <a:pt x="4320" y="1565"/>
                </a:lnTo>
                <a:lnTo>
                  <a:pt x="4320" y="1570"/>
                </a:lnTo>
                <a:lnTo>
                  <a:pt x="4321" y="1574"/>
                </a:lnTo>
                <a:lnTo>
                  <a:pt x="4334" y="1578"/>
                </a:lnTo>
                <a:lnTo>
                  <a:pt x="4339" y="1579"/>
                </a:lnTo>
                <a:lnTo>
                  <a:pt x="4344" y="1579"/>
                </a:lnTo>
                <a:lnTo>
                  <a:pt x="4348" y="1578"/>
                </a:lnTo>
                <a:lnTo>
                  <a:pt x="4352" y="1576"/>
                </a:lnTo>
                <a:lnTo>
                  <a:pt x="4357" y="1573"/>
                </a:lnTo>
                <a:lnTo>
                  <a:pt x="4363" y="1569"/>
                </a:lnTo>
                <a:lnTo>
                  <a:pt x="4360" y="1574"/>
                </a:lnTo>
                <a:lnTo>
                  <a:pt x="4356" y="1581"/>
                </a:lnTo>
                <a:lnTo>
                  <a:pt x="4353" y="1587"/>
                </a:lnTo>
                <a:lnTo>
                  <a:pt x="4351" y="1589"/>
                </a:lnTo>
                <a:lnTo>
                  <a:pt x="4349" y="1591"/>
                </a:lnTo>
                <a:lnTo>
                  <a:pt x="4345" y="1593"/>
                </a:lnTo>
                <a:lnTo>
                  <a:pt x="4341" y="1593"/>
                </a:lnTo>
                <a:lnTo>
                  <a:pt x="4336" y="1593"/>
                </a:lnTo>
                <a:lnTo>
                  <a:pt x="4332" y="1594"/>
                </a:lnTo>
                <a:lnTo>
                  <a:pt x="4331" y="1596"/>
                </a:lnTo>
                <a:lnTo>
                  <a:pt x="4329" y="1599"/>
                </a:lnTo>
                <a:lnTo>
                  <a:pt x="4329" y="1601"/>
                </a:lnTo>
                <a:lnTo>
                  <a:pt x="4329" y="1602"/>
                </a:lnTo>
                <a:lnTo>
                  <a:pt x="4330" y="1603"/>
                </a:lnTo>
                <a:lnTo>
                  <a:pt x="4332" y="1602"/>
                </a:lnTo>
                <a:lnTo>
                  <a:pt x="4337" y="1611"/>
                </a:lnTo>
                <a:lnTo>
                  <a:pt x="4343" y="1619"/>
                </a:lnTo>
                <a:lnTo>
                  <a:pt x="4350" y="1626"/>
                </a:lnTo>
                <a:lnTo>
                  <a:pt x="4357" y="1633"/>
                </a:lnTo>
                <a:lnTo>
                  <a:pt x="4361" y="1632"/>
                </a:lnTo>
                <a:lnTo>
                  <a:pt x="4365" y="1630"/>
                </a:lnTo>
                <a:lnTo>
                  <a:pt x="4374" y="1627"/>
                </a:lnTo>
                <a:lnTo>
                  <a:pt x="4378" y="1625"/>
                </a:lnTo>
                <a:lnTo>
                  <a:pt x="4381" y="1623"/>
                </a:lnTo>
                <a:lnTo>
                  <a:pt x="4384" y="1620"/>
                </a:lnTo>
                <a:lnTo>
                  <a:pt x="4385" y="1617"/>
                </a:lnTo>
                <a:lnTo>
                  <a:pt x="4386" y="1614"/>
                </a:lnTo>
                <a:lnTo>
                  <a:pt x="4386" y="1612"/>
                </a:lnTo>
                <a:lnTo>
                  <a:pt x="4385" y="1607"/>
                </a:lnTo>
                <a:lnTo>
                  <a:pt x="4385" y="1602"/>
                </a:lnTo>
                <a:lnTo>
                  <a:pt x="4385" y="1599"/>
                </a:lnTo>
                <a:lnTo>
                  <a:pt x="4385" y="1597"/>
                </a:lnTo>
                <a:lnTo>
                  <a:pt x="4394" y="1591"/>
                </a:lnTo>
                <a:lnTo>
                  <a:pt x="4394" y="1594"/>
                </a:lnTo>
                <a:lnTo>
                  <a:pt x="4393" y="1596"/>
                </a:lnTo>
                <a:lnTo>
                  <a:pt x="4392" y="1599"/>
                </a:lnTo>
                <a:lnTo>
                  <a:pt x="4391" y="1603"/>
                </a:lnTo>
                <a:lnTo>
                  <a:pt x="4391" y="1605"/>
                </a:lnTo>
                <a:lnTo>
                  <a:pt x="4396" y="1608"/>
                </a:lnTo>
                <a:lnTo>
                  <a:pt x="4395" y="1612"/>
                </a:lnTo>
                <a:lnTo>
                  <a:pt x="4394" y="1616"/>
                </a:lnTo>
                <a:lnTo>
                  <a:pt x="4394" y="1619"/>
                </a:lnTo>
                <a:lnTo>
                  <a:pt x="4395" y="1621"/>
                </a:lnTo>
                <a:lnTo>
                  <a:pt x="4397" y="1623"/>
                </a:lnTo>
                <a:lnTo>
                  <a:pt x="4399" y="1626"/>
                </a:lnTo>
                <a:lnTo>
                  <a:pt x="4399" y="1628"/>
                </a:lnTo>
                <a:lnTo>
                  <a:pt x="4399" y="1631"/>
                </a:lnTo>
                <a:lnTo>
                  <a:pt x="4399" y="1633"/>
                </a:lnTo>
                <a:lnTo>
                  <a:pt x="4398" y="1636"/>
                </a:lnTo>
                <a:lnTo>
                  <a:pt x="4395" y="1642"/>
                </a:lnTo>
                <a:lnTo>
                  <a:pt x="4392" y="1649"/>
                </a:lnTo>
                <a:lnTo>
                  <a:pt x="4391" y="1652"/>
                </a:lnTo>
                <a:lnTo>
                  <a:pt x="4391" y="1656"/>
                </a:lnTo>
                <a:lnTo>
                  <a:pt x="4395" y="1664"/>
                </a:lnTo>
                <a:lnTo>
                  <a:pt x="4399" y="1673"/>
                </a:lnTo>
                <a:lnTo>
                  <a:pt x="4398" y="1673"/>
                </a:lnTo>
                <a:lnTo>
                  <a:pt x="4398" y="1674"/>
                </a:lnTo>
                <a:lnTo>
                  <a:pt x="4397" y="1676"/>
                </a:lnTo>
                <a:lnTo>
                  <a:pt x="4397" y="1680"/>
                </a:lnTo>
                <a:lnTo>
                  <a:pt x="4398" y="1685"/>
                </a:lnTo>
                <a:lnTo>
                  <a:pt x="4399" y="1690"/>
                </a:lnTo>
                <a:lnTo>
                  <a:pt x="4403" y="1704"/>
                </a:lnTo>
                <a:lnTo>
                  <a:pt x="4408" y="1726"/>
                </a:lnTo>
                <a:lnTo>
                  <a:pt x="4408" y="1730"/>
                </a:lnTo>
                <a:lnTo>
                  <a:pt x="4408" y="1735"/>
                </a:lnTo>
                <a:lnTo>
                  <a:pt x="4407" y="1739"/>
                </a:lnTo>
                <a:lnTo>
                  <a:pt x="4408" y="1743"/>
                </a:lnTo>
                <a:lnTo>
                  <a:pt x="4409" y="1748"/>
                </a:lnTo>
                <a:lnTo>
                  <a:pt x="4411" y="1752"/>
                </a:lnTo>
                <a:lnTo>
                  <a:pt x="4416" y="1761"/>
                </a:lnTo>
                <a:lnTo>
                  <a:pt x="4421" y="1771"/>
                </a:lnTo>
                <a:lnTo>
                  <a:pt x="4425" y="1780"/>
                </a:lnTo>
                <a:lnTo>
                  <a:pt x="4427" y="1792"/>
                </a:lnTo>
                <a:lnTo>
                  <a:pt x="4428" y="1804"/>
                </a:lnTo>
                <a:lnTo>
                  <a:pt x="4429" y="1810"/>
                </a:lnTo>
                <a:lnTo>
                  <a:pt x="4430" y="1816"/>
                </a:lnTo>
                <a:lnTo>
                  <a:pt x="4431" y="1822"/>
                </a:lnTo>
                <a:lnTo>
                  <a:pt x="4433" y="1828"/>
                </a:lnTo>
                <a:lnTo>
                  <a:pt x="4437" y="1833"/>
                </a:lnTo>
                <a:lnTo>
                  <a:pt x="4441" y="1840"/>
                </a:lnTo>
                <a:lnTo>
                  <a:pt x="4446" y="1846"/>
                </a:lnTo>
                <a:lnTo>
                  <a:pt x="4450" y="1853"/>
                </a:lnTo>
                <a:lnTo>
                  <a:pt x="4452" y="1858"/>
                </a:lnTo>
                <a:lnTo>
                  <a:pt x="4452" y="1863"/>
                </a:lnTo>
                <a:lnTo>
                  <a:pt x="4453" y="1868"/>
                </a:lnTo>
                <a:lnTo>
                  <a:pt x="4456" y="1873"/>
                </a:lnTo>
                <a:lnTo>
                  <a:pt x="4461" y="1875"/>
                </a:lnTo>
                <a:lnTo>
                  <a:pt x="4462" y="1878"/>
                </a:lnTo>
                <a:lnTo>
                  <a:pt x="4462" y="1880"/>
                </a:lnTo>
                <a:lnTo>
                  <a:pt x="4461" y="1882"/>
                </a:lnTo>
                <a:lnTo>
                  <a:pt x="4460" y="1883"/>
                </a:lnTo>
                <a:lnTo>
                  <a:pt x="4459" y="1885"/>
                </a:lnTo>
                <a:lnTo>
                  <a:pt x="4458" y="1887"/>
                </a:lnTo>
                <a:lnTo>
                  <a:pt x="4458" y="1889"/>
                </a:lnTo>
                <a:lnTo>
                  <a:pt x="4459" y="1890"/>
                </a:lnTo>
                <a:lnTo>
                  <a:pt x="4460" y="1892"/>
                </a:lnTo>
                <a:lnTo>
                  <a:pt x="4464" y="1896"/>
                </a:lnTo>
                <a:lnTo>
                  <a:pt x="4470" y="1903"/>
                </a:lnTo>
                <a:lnTo>
                  <a:pt x="4473" y="1908"/>
                </a:lnTo>
                <a:lnTo>
                  <a:pt x="4475" y="1912"/>
                </a:lnTo>
                <a:lnTo>
                  <a:pt x="4476" y="1914"/>
                </a:lnTo>
                <a:lnTo>
                  <a:pt x="4477" y="1916"/>
                </a:lnTo>
                <a:lnTo>
                  <a:pt x="4477" y="1918"/>
                </a:lnTo>
                <a:lnTo>
                  <a:pt x="4478" y="1920"/>
                </a:lnTo>
                <a:lnTo>
                  <a:pt x="4482" y="1920"/>
                </a:lnTo>
                <a:lnTo>
                  <a:pt x="4486" y="1920"/>
                </a:lnTo>
                <a:lnTo>
                  <a:pt x="4490" y="1912"/>
                </a:lnTo>
                <a:lnTo>
                  <a:pt x="4493" y="1906"/>
                </a:lnTo>
                <a:lnTo>
                  <a:pt x="4495" y="1903"/>
                </a:lnTo>
                <a:lnTo>
                  <a:pt x="4497" y="1903"/>
                </a:lnTo>
                <a:lnTo>
                  <a:pt x="4499" y="1902"/>
                </a:lnTo>
                <a:lnTo>
                  <a:pt x="4502" y="1902"/>
                </a:lnTo>
                <a:lnTo>
                  <a:pt x="4503" y="1902"/>
                </a:lnTo>
                <a:lnTo>
                  <a:pt x="4503" y="1901"/>
                </a:lnTo>
                <a:lnTo>
                  <a:pt x="4505" y="1898"/>
                </a:lnTo>
                <a:lnTo>
                  <a:pt x="4506" y="1894"/>
                </a:lnTo>
                <a:lnTo>
                  <a:pt x="4508" y="1888"/>
                </a:lnTo>
                <a:lnTo>
                  <a:pt x="4508" y="1885"/>
                </a:lnTo>
                <a:lnTo>
                  <a:pt x="4510" y="1882"/>
                </a:lnTo>
                <a:lnTo>
                  <a:pt x="4512" y="1880"/>
                </a:lnTo>
                <a:lnTo>
                  <a:pt x="4513" y="1879"/>
                </a:lnTo>
                <a:lnTo>
                  <a:pt x="4515" y="1878"/>
                </a:lnTo>
                <a:lnTo>
                  <a:pt x="4517" y="1878"/>
                </a:lnTo>
                <a:lnTo>
                  <a:pt x="4519" y="1878"/>
                </a:lnTo>
                <a:lnTo>
                  <a:pt x="4521" y="1879"/>
                </a:lnTo>
                <a:lnTo>
                  <a:pt x="4523" y="1878"/>
                </a:lnTo>
                <a:lnTo>
                  <a:pt x="4521" y="1861"/>
                </a:lnTo>
                <a:lnTo>
                  <a:pt x="4520" y="1850"/>
                </a:lnTo>
                <a:lnTo>
                  <a:pt x="4520" y="1842"/>
                </a:lnTo>
                <a:lnTo>
                  <a:pt x="4523" y="1837"/>
                </a:lnTo>
                <a:lnTo>
                  <a:pt x="4526" y="1832"/>
                </a:lnTo>
                <a:lnTo>
                  <a:pt x="4530" y="1826"/>
                </a:lnTo>
                <a:lnTo>
                  <a:pt x="4531" y="1824"/>
                </a:lnTo>
                <a:lnTo>
                  <a:pt x="4531" y="1822"/>
                </a:lnTo>
                <a:lnTo>
                  <a:pt x="4529" y="1815"/>
                </a:lnTo>
                <a:lnTo>
                  <a:pt x="4526" y="1808"/>
                </a:lnTo>
                <a:lnTo>
                  <a:pt x="4525" y="1801"/>
                </a:lnTo>
                <a:lnTo>
                  <a:pt x="4526" y="1788"/>
                </a:lnTo>
                <a:lnTo>
                  <a:pt x="4526" y="1782"/>
                </a:lnTo>
                <a:lnTo>
                  <a:pt x="4527" y="1776"/>
                </a:lnTo>
                <a:lnTo>
                  <a:pt x="4529" y="1771"/>
                </a:lnTo>
                <a:lnTo>
                  <a:pt x="4530" y="1769"/>
                </a:lnTo>
                <a:lnTo>
                  <a:pt x="4531" y="1768"/>
                </a:lnTo>
                <a:lnTo>
                  <a:pt x="4529" y="1762"/>
                </a:lnTo>
                <a:lnTo>
                  <a:pt x="4526" y="1754"/>
                </a:lnTo>
                <a:lnTo>
                  <a:pt x="4527" y="1754"/>
                </a:lnTo>
                <a:lnTo>
                  <a:pt x="4528" y="1752"/>
                </a:lnTo>
                <a:lnTo>
                  <a:pt x="4529" y="1750"/>
                </a:lnTo>
                <a:lnTo>
                  <a:pt x="4530" y="1748"/>
                </a:lnTo>
                <a:lnTo>
                  <a:pt x="4531" y="1746"/>
                </a:lnTo>
                <a:lnTo>
                  <a:pt x="4534" y="1745"/>
                </a:lnTo>
                <a:lnTo>
                  <a:pt x="4537" y="1746"/>
                </a:lnTo>
                <a:lnTo>
                  <a:pt x="4540" y="1746"/>
                </a:lnTo>
                <a:lnTo>
                  <a:pt x="4543" y="1746"/>
                </a:lnTo>
                <a:lnTo>
                  <a:pt x="4544" y="1745"/>
                </a:lnTo>
                <a:lnTo>
                  <a:pt x="4546" y="1744"/>
                </a:lnTo>
                <a:lnTo>
                  <a:pt x="4547" y="1741"/>
                </a:lnTo>
                <a:lnTo>
                  <a:pt x="4549" y="1737"/>
                </a:lnTo>
                <a:lnTo>
                  <a:pt x="4551" y="1735"/>
                </a:lnTo>
                <a:lnTo>
                  <a:pt x="4553" y="1734"/>
                </a:lnTo>
                <a:lnTo>
                  <a:pt x="4555" y="1733"/>
                </a:lnTo>
                <a:lnTo>
                  <a:pt x="4559" y="1732"/>
                </a:lnTo>
                <a:lnTo>
                  <a:pt x="4562" y="1731"/>
                </a:lnTo>
                <a:lnTo>
                  <a:pt x="4564" y="1731"/>
                </a:lnTo>
                <a:lnTo>
                  <a:pt x="4565" y="1729"/>
                </a:lnTo>
                <a:lnTo>
                  <a:pt x="4566" y="1727"/>
                </a:lnTo>
                <a:lnTo>
                  <a:pt x="4567" y="1725"/>
                </a:lnTo>
                <a:lnTo>
                  <a:pt x="4568" y="1720"/>
                </a:lnTo>
                <a:lnTo>
                  <a:pt x="4568" y="1718"/>
                </a:lnTo>
                <a:lnTo>
                  <a:pt x="4568" y="1716"/>
                </a:lnTo>
                <a:lnTo>
                  <a:pt x="4569" y="1714"/>
                </a:lnTo>
                <a:lnTo>
                  <a:pt x="4571" y="1712"/>
                </a:lnTo>
                <a:lnTo>
                  <a:pt x="4573" y="1711"/>
                </a:lnTo>
                <a:lnTo>
                  <a:pt x="4575" y="1711"/>
                </a:lnTo>
                <a:lnTo>
                  <a:pt x="4579" y="1711"/>
                </a:lnTo>
                <a:lnTo>
                  <a:pt x="4583" y="1711"/>
                </a:lnTo>
                <a:lnTo>
                  <a:pt x="4586" y="1710"/>
                </a:lnTo>
                <a:lnTo>
                  <a:pt x="4588" y="1709"/>
                </a:lnTo>
                <a:lnTo>
                  <a:pt x="4588" y="1704"/>
                </a:lnTo>
                <a:lnTo>
                  <a:pt x="4589" y="1702"/>
                </a:lnTo>
                <a:lnTo>
                  <a:pt x="4590" y="1701"/>
                </a:lnTo>
                <a:lnTo>
                  <a:pt x="4594" y="1699"/>
                </a:lnTo>
                <a:lnTo>
                  <a:pt x="4599" y="1697"/>
                </a:lnTo>
                <a:lnTo>
                  <a:pt x="4602" y="1695"/>
                </a:lnTo>
                <a:lnTo>
                  <a:pt x="4604" y="1693"/>
                </a:lnTo>
                <a:lnTo>
                  <a:pt x="4605" y="1689"/>
                </a:lnTo>
                <a:lnTo>
                  <a:pt x="4609" y="1682"/>
                </a:lnTo>
                <a:lnTo>
                  <a:pt x="4612" y="1675"/>
                </a:lnTo>
                <a:lnTo>
                  <a:pt x="4614" y="1672"/>
                </a:lnTo>
                <a:lnTo>
                  <a:pt x="4616" y="1670"/>
                </a:lnTo>
                <a:lnTo>
                  <a:pt x="4618" y="1669"/>
                </a:lnTo>
                <a:lnTo>
                  <a:pt x="4620" y="1669"/>
                </a:lnTo>
                <a:lnTo>
                  <a:pt x="4622" y="1668"/>
                </a:lnTo>
                <a:lnTo>
                  <a:pt x="4624" y="1667"/>
                </a:lnTo>
                <a:lnTo>
                  <a:pt x="4622" y="1664"/>
                </a:lnTo>
                <a:lnTo>
                  <a:pt x="4621" y="1663"/>
                </a:lnTo>
                <a:lnTo>
                  <a:pt x="4622" y="1662"/>
                </a:lnTo>
                <a:lnTo>
                  <a:pt x="4623" y="1661"/>
                </a:lnTo>
                <a:lnTo>
                  <a:pt x="4624" y="1661"/>
                </a:lnTo>
                <a:lnTo>
                  <a:pt x="4627" y="1661"/>
                </a:lnTo>
                <a:lnTo>
                  <a:pt x="4630" y="1662"/>
                </a:lnTo>
                <a:lnTo>
                  <a:pt x="4633" y="1662"/>
                </a:lnTo>
                <a:lnTo>
                  <a:pt x="4639" y="1659"/>
                </a:lnTo>
                <a:lnTo>
                  <a:pt x="4647" y="1653"/>
                </a:lnTo>
                <a:lnTo>
                  <a:pt x="4651" y="1650"/>
                </a:lnTo>
                <a:lnTo>
                  <a:pt x="4654" y="1647"/>
                </a:lnTo>
                <a:lnTo>
                  <a:pt x="4658" y="1642"/>
                </a:lnTo>
                <a:lnTo>
                  <a:pt x="4659" y="1639"/>
                </a:lnTo>
                <a:lnTo>
                  <a:pt x="4658" y="1636"/>
                </a:lnTo>
                <a:lnTo>
                  <a:pt x="4657" y="1635"/>
                </a:lnTo>
                <a:lnTo>
                  <a:pt x="4655" y="1633"/>
                </a:lnTo>
                <a:lnTo>
                  <a:pt x="4654" y="1632"/>
                </a:lnTo>
                <a:lnTo>
                  <a:pt x="4655" y="1631"/>
                </a:lnTo>
                <a:lnTo>
                  <a:pt x="4657" y="1631"/>
                </a:lnTo>
                <a:lnTo>
                  <a:pt x="4658" y="1631"/>
                </a:lnTo>
                <a:lnTo>
                  <a:pt x="4661" y="1625"/>
                </a:lnTo>
                <a:lnTo>
                  <a:pt x="4662" y="1623"/>
                </a:lnTo>
                <a:lnTo>
                  <a:pt x="4663" y="1621"/>
                </a:lnTo>
                <a:lnTo>
                  <a:pt x="4667" y="1619"/>
                </a:lnTo>
                <a:lnTo>
                  <a:pt x="4672" y="1617"/>
                </a:lnTo>
                <a:lnTo>
                  <a:pt x="4672" y="1611"/>
                </a:lnTo>
                <a:lnTo>
                  <a:pt x="4675" y="1611"/>
                </a:lnTo>
                <a:lnTo>
                  <a:pt x="4677" y="1611"/>
                </a:lnTo>
                <a:lnTo>
                  <a:pt x="4680" y="1613"/>
                </a:lnTo>
                <a:lnTo>
                  <a:pt x="4683" y="1614"/>
                </a:lnTo>
                <a:lnTo>
                  <a:pt x="4687" y="1618"/>
                </a:lnTo>
                <a:lnTo>
                  <a:pt x="4689" y="1619"/>
                </a:lnTo>
                <a:lnTo>
                  <a:pt x="4700" y="1613"/>
                </a:lnTo>
                <a:lnTo>
                  <a:pt x="4714" y="1605"/>
                </a:lnTo>
                <a:lnTo>
                  <a:pt x="4713" y="1606"/>
                </a:lnTo>
                <a:lnTo>
                  <a:pt x="4713" y="1607"/>
                </a:lnTo>
                <a:lnTo>
                  <a:pt x="4714" y="1608"/>
                </a:lnTo>
                <a:lnTo>
                  <a:pt x="4715" y="1608"/>
                </a:lnTo>
                <a:lnTo>
                  <a:pt x="4720" y="1608"/>
                </a:lnTo>
                <a:lnTo>
                  <a:pt x="4723" y="1594"/>
                </a:lnTo>
                <a:lnTo>
                  <a:pt x="4726" y="1580"/>
                </a:lnTo>
                <a:lnTo>
                  <a:pt x="4731" y="1583"/>
                </a:lnTo>
                <a:lnTo>
                  <a:pt x="4735" y="1586"/>
                </a:lnTo>
                <a:lnTo>
                  <a:pt x="4739" y="1589"/>
                </a:lnTo>
                <a:lnTo>
                  <a:pt x="4742" y="1591"/>
                </a:lnTo>
                <a:lnTo>
                  <a:pt x="4744" y="1594"/>
                </a:lnTo>
                <a:lnTo>
                  <a:pt x="4745" y="1597"/>
                </a:lnTo>
                <a:lnTo>
                  <a:pt x="4747" y="1602"/>
                </a:lnTo>
                <a:lnTo>
                  <a:pt x="4749" y="1615"/>
                </a:lnTo>
                <a:lnTo>
                  <a:pt x="4749" y="1619"/>
                </a:lnTo>
                <a:lnTo>
                  <a:pt x="4750" y="1623"/>
                </a:lnTo>
                <a:lnTo>
                  <a:pt x="4752" y="1628"/>
                </a:lnTo>
                <a:lnTo>
                  <a:pt x="4754" y="1633"/>
                </a:lnTo>
                <a:lnTo>
                  <a:pt x="4755" y="1635"/>
                </a:lnTo>
                <a:lnTo>
                  <a:pt x="4757" y="1636"/>
                </a:lnTo>
                <a:lnTo>
                  <a:pt x="4759" y="1637"/>
                </a:lnTo>
                <a:lnTo>
                  <a:pt x="4760" y="1638"/>
                </a:lnTo>
                <a:lnTo>
                  <a:pt x="4760" y="1639"/>
                </a:lnTo>
                <a:lnTo>
                  <a:pt x="4761" y="1642"/>
                </a:lnTo>
                <a:lnTo>
                  <a:pt x="4762" y="1645"/>
                </a:lnTo>
                <a:lnTo>
                  <a:pt x="4762" y="1650"/>
                </a:lnTo>
                <a:lnTo>
                  <a:pt x="4767" y="1650"/>
                </a:lnTo>
                <a:lnTo>
                  <a:pt x="4769" y="1649"/>
                </a:lnTo>
                <a:lnTo>
                  <a:pt x="4769" y="1648"/>
                </a:lnTo>
                <a:lnTo>
                  <a:pt x="4768" y="1647"/>
                </a:lnTo>
                <a:lnTo>
                  <a:pt x="4770" y="1647"/>
                </a:lnTo>
                <a:lnTo>
                  <a:pt x="4772" y="1647"/>
                </a:lnTo>
                <a:lnTo>
                  <a:pt x="4773" y="1646"/>
                </a:lnTo>
                <a:lnTo>
                  <a:pt x="4774" y="1645"/>
                </a:lnTo>
                <a:lnTo>
                  <a:pt x="4779" y="1645"/>
                </a:lnTo>
                <a:lnTo>
                  <a:pt x="4781" y="1654"/>
                </a:lnTo>
                <a:lnTo>
                  <a:pt x="4781" y="1663"/>
                </a:lnTo>
                <a:lnTo>
                  <a:pt x="4782" y="1672"/>
                </a:lnTo>
                <a:lnTo>
                  <a:pt x="4785" y="1681"/>
                </a:lnTo>
                <a:lnTo>
                  <a:pt x="4785" y="1683"/>
                </a:lnTo>
                <a:lnTo>
                  <a:pt x="4787" y="1684"/>
                </a:lnTo>
                <a:lnTo>
                  <a:pt x="4790" y="1687"/>
                </a:lnTo>
                <a:lnTo>
                  <a:pt x="4794" y="1691"/>
                </a:lnTo>
                <a:lnTo>
                  <a:pt x="4795" y="1693"/>
                </a:lnTo>
                <a:lnTo>
                  <a:pt x="4796" y="1695"/>
                </a:lnTo>
                <a:lnTo>
                  <a:pt x="4796" y="1699"/>
                </a:lnTo>
                <a:lnTo>
                  <a:pt x="4795" y="1703"/>
                </a:lnTo>
                <a:lnTo>
                  <a:pt x="4794" y="1706"/>
                </a:lnTo>
                <a:lnTo>
                  <a:pt x="4793" y="1710"/>
                </a:lnTo>
                <a:lnTo>
                  <a:pt x="4790" y="1716"/>
                </a:lnTo>
                <a:lnTo>
                  <a:pt x="4788" y="1718"/>
                </a:lnTo>
                <a:lnTo>
                  <a:pt x="4787" y="1721"/>
                </a:lnTo>
                <a:lnTo>
                  <a:pt x="4787" y="1725"/>
                </a:lnTo>
                <a:lnTo>
                  <a:pt x="4787" y="1729"/>
                </a:lnTo>
                <a:lnTo>
                  <a:pt x="4788" y="1733"/>
                </a:lnTo>
                <a:lnTo>
                  <a:pt x="4787" y="1738"/>
                </a:lnTo>
                <a:lnTo>
                  <a:pt x="4797" y="1738"/>
                </a:lnTo>
                <a:lnTo>
                  <a:pt x="4802" y="1739"/>
                </a:lnTo>
                <a:lnTo>
                  <a:pt x="4808" y="1738"/>
                </a:lnTo>
                <a:lnTo>
                  <a:pt x="4811" y="1738"/>
                </a:lnTo>
                <a:lnTo>
                  <a:pt x="4814" y="1737"/>
                </a:lnTo>
                <a:lnTo>
                  <a:pt x="4817" y="1736"/>
                </a:lnTo>
                <a:lnTo>
                  <a:pt x="4820" y="1735"/>
                </a:lnTo>
                <a:lnTo>
                  <a:pt x="4822" y="1733"/>
                </a:lnTo>
                <a:lnTo>
                  <a:pt x="4824" y="1731"/>
                </a:lnTo>
                <a:lnTo>
                  <a:pt x="4826" y="1729"/>
                </a:lnTo>
                <a:lnTo>
                  <a:pt x="4827" y="1726"/>
                </a:lnTo>
                <a:lnTo>
                  <a:pt x="4827" y="1724"/>
                </a:lnTo>
                <a:lnTo>
                  <a:pt x="4827" y="1721"/>
                </a:lnTo>
                <a:lnTo>
                  <a:pt x="4826" y="1718"/>
                </a:lnTo>
                <a:lnTo>
                  <a:pt x="4826" y="1716"/>
                </a:lnTo>
                <a:lnTo>
                  <a:pt x="4827" y="1715"/>
                </a:lnTo>
                <a:lnTo>
                  <a:pt x="4832" y="1715"/>
                </a:lnTo>
                <a:lnTo>
                  <a:pt x="4838" y="1722"/>
                </a:lnTo>
                <a:lnTo>
                  <a:pt x="4842" y="1727"/>
                </a:lnTo>
                <a:lnTo>
                  <a:pt x="4844" y="1729"/>
                </a:lnTo>
                <a:lnTo>
                  <a:pt x="4849" y="1729"/>
                </a:lnTo>
                <a:lnTo>
                  <a:pt x="4850" y="1732"/>
                </a:lnTo>
                <a:lnTo>
                  <a:pt x="4850" y="1734"/>
                </a:lnTo>
                <a:lnTo>
                  <a:pt x="4850" y="1736"/>
                </a:lnTo>
                <a:lnTo>
                  <a:pt x="4849" y="1738"/>
                </a:lnTo>
                <a:lnTo>
                  <a:pt x="4847" y="1742"/>
                </a:lnTo>
                <a:lnTo>
                  <a:pt x="4846" y="1744"/>
                </a:lnTo>
                <a:lnTo>
                  <a:pt x="4847" y="1746"/>
                </a:lnTo>
                <a:lnTo>
                  <a:pt x="4847" y="1747"/>
                </a:lnTo>
                <a:lnTo>
                  <a:pt x="4848" y="1748"/>
                </a:lnTo>
                <a:lnTo>
                  <a:pt x="4851" y="1750"/>
                </a:lnTo>
                <a:lnTo>
                  <a:pt x="4853" y="1753"/>
                </a:lnTo>
                <a:lnTo>
                  <a:pt x="4855" y="1754"/>
                </a:lnTo>
                <a:lnTo>
                  <a:pt x="4856" y="1758"/>
                </a:lnTo>
                <a:lnTo>
                  <a:pt x="4856" y="1762"/>
                </a:lnTo>
                <a:lnTo>
                  <a:pt x="4856" y="1769"/>
                </a:lnTo>
                <a:lnTo>
                  <a:pt x="4856" y="1776"/>
                </a:lnTo>
                <a:lnTo>
                  <a:pt x="4857" y="1779"/>
                </a:lnTo>
                <a:lnTo>
                  <a:pt x="4858" y="1783"/>
                </a:lnTo>
                <a:lnTo>
                  <a:pt x="4859" y="1785"/>
                </a:lnTo>
                <a:lnTo>
                  <a:pt x="4861" y="1791"/>
                </a:lnTo>
                <a:lnTo>
                  <a:pt x="4866" y="1791"/>
                </a:lnTo>
                <a:lnTo>
                  <a:pt x="4868" y="1798"/>
                </a:lnTo>
                <a:lnTo>
                  <a:pt x="4868" y="1804"/>
                </a:lnTo>
                <a:lnTo>
                  <a:pt x="4869" y="1810"/>
                </a:lnTo>
                <a:lnTo>
                  <a:pt x="4869" y="1816"/>
                </a:lnTo>
                <a:lnTo>
                  <a:pt x="4872" y="1816"/>
                </a:lnTo>
                <a:lnTo>
                  <a:pt x="4872" y="1819"/>
                </a:lnTo>
                <a:lnTo>
                  <a:pt x="4871" y="1822"/>
                </a:lnTo>
                <a:lnTo>
                  <a:pt x="4870" y="1825"/>
                </a:lnTo>
                <a:lnTo>
                  <a:pt x="4869" y="1827"/>
                </a:lnTo>
                <a:lnTo>
                  <a:pt x="4867" y="1830"/>
                </a:lnTo>
                <a:lnTo>
                  <a:pt x="4866" y="1833"/>
                </a:lnTo>
                <a:lnTo>
                  <a:pt x="4875" y="1836"/>
                </a:lnTo>
                <a:lnTo>
                  <a:pt x="4877" y="1847"/>
                </a:lnTo>
                <a:lnTo>
                  <a:pt x="4877" y="1852"/>
                </a:lnTo>
                <a:lnTo>
                  <a:pt x="4877" y="1858"/>
                </a:lnTo>
                <a:lnTo>
                  <a:pt x="4875" y="1858"/>
                </a:lnTo>
                <a:lnTo>
                  <a:pt x="4875" y="1870"/>
                </a:lnTo>
                <a:lnTo>
                  <a:pt x="4875" y="1884"/>
                </a:lnTo>
                <a:lnTo>
                  <a:pt x="4874" y="1886"/>
                </a:lnTo>
                <a:lnTo>
                  <a:pt x="4873" y="1887"/>
                </a:lnTo>
                <a:lnTo>
                  <a:pt x="4870" y="1892"/>
                </a:lnTo>
                <a:lnTo>
                  <a:pt x="4867" y="1897"/>
                </a:lnTo>
                <a:lnTo>
                  <a:pt x="4866" y="1900"/>
                </a:lnTo>
                <a:lnTo>
                  <a:pt x="4866" y="1903"/>
                </a:lnTo>
                <a:lnTo>
                  <a:pt x="4867" y="1906"/>
                </a:lnTo>
                <a:lnTo>
                  <a:pt x="4868" y="1908"/>
                </a:lnTo>
                <a:lnTo>
                  <a:pt x="4871" y="1914"/>
                </a:lnTo>
                <a:lnTo>
                  <a:pt x="4882" y="1926"/>
                </a:lnTo>
                <a:lnTo>
                  <a:pt x="4888" y="1932"/>
                </a:lnTo>
                <a:lnTo>
                  <a:pt x="4893" y="1939"/>
                </a:lnTo>
                <a:lnTo>
                  <a:pt x="4897" y="1945"/>
                </a:lnTo>
                <a:lnTo>
                  <a:pt x="4899" y="1948"/>
                </a:lnTo>
                <a:lnTo>
                  <a:pt x="4900" y="1951"/>
                </a:lnTo>
                <a:lnTo>
                  <a:pt x="4902" y="1960"/>
                </a:lnTo>
                <a:lnTo>
                  <a:pt x="4902" y="1967"/>
                </a:lnTo>
                <a:lnTo>
                  <a:pt x="4902" y="1980"/>
                </a:lnTo>
                <a:lnTo>
                  <a:pt x="4902" y="1986"/>
                </a:lnTo>
                <a:lnTo>
                  <a:pt x="4903" y="1994"/>
                </a:lnTo>
                <a:lnTo>
                  <a:pt x="4906" y="1994"/>
                </a:lnTo>
                <a:lnTo>
                  <a:pt x="4908" y="2008"/>
                </a:lnTo>
                <a:lnTo>
                  <a:pt x="4909" y="2015"/>
                </a:lnTo>
                <a:lnTo>
                  <a:pt x="4910" y="2019"/>
                </a:lnTo>
                <a:lnTo>
                  <a:pt x="4911" y="2022"/>
                </a:lnTo>
                <a:lnTo>
                  <a:pt x="4915" y="2025"/>
                </a:lnTo>
                <a:lnTo>
                  <a:pt x="4918" y="2028"/>
                </a:lnTo>
                <a:lnTo>
                  <a:pt x="4920" y="2030"/>
                </a:lnTo>
                <a:lnTo>
                  <a:pt x="4920" y="2033"/>
                </a:lnTo>
                <a:lnTo>
                  <a:pt x="4919" y="2036"/>
                </a:lnTo>
                <a:lnTo>
                  <a:pt x="4919" y="2039"/>
                </a:lnTo>
                <a:lnTo>
                  <a:pt x="4920" y="2041"/>
                </a:lnTo>
                <a:lnTo>
                  <a:pt x="4920" y="2042"/>
                </a:lnTo>
                <a:lnTo>
                  <a:pt x="4922" y="2043"/>
                </a:lnTo>
                <a:lnTo>
                  <a:pt x="4925" y="2044"/>
                </a:lnTo>
                <a:lnTo>
                  <a:pt x="4928" y="2045"/>
                </a:lnTo>
                <a:lnTo>
                  <a:pt x="4931" y="2047"/>
                </a:lnTo>
                <a:lnTo>
                  <a:pt x="4940" y="2057"/>
                </a:lnTo>
                <a:lnTo>
                  <a:pt x="4944" y="2060"/>
                </a:lnTo>
                <a:lnTo>
                  <a:pt x="4947" y="2062"/>
                </a:lnTo>
                <a:lnTo>
                  <a:pt x="4951" y="2064"/>
                </a:lnTo>
                <a:lnTo>
                  <a:pt x="4956" y="2064"/>
                </a:lnTo>
                <a:lnTo>
                  <a:pt x="4962" y="2063"/>
                </a:lnTo>
                <a:lnTo>
                  <a:pt x="4970" y="2061"/>
                </a:lnTo>
                <a:lnTo>
                  <a:pt x="4969" y="2055"/>
                </a:lnTo>
                <a:lnTo>
                  <a:pt x="4968" y="2050"/>
                </a:lnTo>
                <a:lnTo>
                  <a:pt x="4967" y="2044"/>
                </a:lnTo>
                <a:lnTo>
                  <a:pt x="4965" y="2039"/>
                </a:lnTo>
                <a:lnTo>
                  <a:pt x="4959" y="2039"/>
                </a:lnTo>
                <a:lnTo>
                  <a:pt x="4958" y="2028"/>
                </a:lnTo>
                <a:lnTo>
                  <a:pt x="4956" y="2016"/>
                </a:lnTo>
                <a:lnTo>
                  <a:pt x="4959" y="2016"/>
                </a:lnTo>
                <a:lnTo>
                  <a:pt x="4959" y="2010"/>
                </a:lnTo>
                <a:lnTo>
                  <a:pt x="4958" y="2003"/>
                </a:lnTo>
                <a:lnTo>
                  <a:pt x="4957" y="1997"/>
                </a:lnTo>
                <a:lnTo>
                  <a:pt x="4955" y="1990"/>
                </a:lnTo>
                <a:lnTo>
                  <a:pt x="4953" y="1984"/>
                </a:lnTo>
                <a:lnTo>
                  <a:pt x="4951" y="1978"/>
                </a:lnTo>
                <a:lnTo>
                  <a:pt x="4948" y="1973"/>
                </a:lnTo>
                <a:lnTo>
                  <a:pt x="4945" y="1968"/>
                </a:lnTo>
                <a:lnTo>
                  <a:pt x="4944" y="1967"/>
                </a:lnTo>
                <a:lnTo>
                  <a:pt x="4942" y="1966"/>
                </a:lnTo>
                <a:lnTo>
                  <a:pt x="4938" y="1964"/>
                </a:lnTo>
                <a:lnTo>
                  <a:pt x="4934" y="1962"/>
                </a:lnTo>
                <a:lnTo>
                  <a:pt x="4931" y="1960"/>
                </a:lnTo>
                <a:lnTo>
                  <a:pt x="4929" y="1957"/>
                </a:lnTo>
                <a:lnTo>
                  <a:pt x="4928" y="1955"/>
                </a:lnTo>
                <a:lnTo>
                  <a:pt x="4926" y="1949"/>
                </a:lnTo>
                <a:lnTo>
                  <a:pt x="4923" y="1944"/>
                </a:lnTo>
                <a:lnTo>
                  <a:pt x="4922" y="1942"/>
                </a:lnTo>
                <a:lnTo>
                  <a:pt x="4920" y="1940"/>
                </a:lnTo>
                <a:lnTo>
                  <a:pt x="4918" y="1939"/>
                </a:lnTo>
                <a:lnTo>
                  <a:pt x="4916" y="1938"/>
                </a:lnTo>
                <a:lnTo>
                  <a:pt x="4912" y="1938"/>
                </a:lnTo>
                <a:lnTo>
                  <a:pt x="4908" y="1936"/>
                </a:lnTo>
                <a:lnTo>
                  <a:pt x="4907" y="1936"/>
                </a:lnTo>
                <a:lnTo>
                  <a:pt x="4906" y="1934"/>
                </a:lnTo>
                <a:lnTo>
                  <a:pt x="4904" y="1932"/>
                </a:lnTo>
                <a:lnTo>
                  <a:pt x="4903" y="1929"/>
                </a:lnTo>
                <a:lnTo>
                  <a:pt x="4902" y="1924"/>
                </a:lnTo>
                <a:lnTo>
                  <a:pt x="4902" y="1918"/>
                </a:lnTo>
                <a:lnTo>
                  <a:pt x="4901" y="1915"/>
                </a:lnTo>
                <a:lnTo>
                  <a:pt x="4900" y="1912"/>
                </a:lnTo>
                <a:lnTo>
                  <a:pt x="4892" y="1912"/>
                </a:lnTo>
                <a:lnTo>
                  <a:pt x="4890" y="1906"/>
                </a:lnTo>
                <a:lnTo>
                  <a:pt x="4889" y="1902"/>
                </a:lnTo>
                <a:lnTo>
                  <a:pt x="4888" y="1899"/>
                </a:lnTo>
                <a:lnTo>
                  <a:pt x="4886" y="1895"/>
                </a:lnTo>
                <a:lnTo>
                  <a:pt x="4883" y="1895"/>
                </a:lnTo>
                <a:lnTo>
                  <a:pt x="4883" y="1891"/>
                </a:lnTo>
                <a:lnTo>
                  <a:pt x="4882" y="1888"/>
                </a:lnTo>
                <a:lnTo>
                  <a:pt x="4883" y="1879"/>
                </a:lnTo>
                <a:lnTo>
                  <a:pt x="4885" y="1870"/>
                </a:lnTo>
                <a:lnTo>
                  <a:pt x="4887" y="1861"/>
                </a:lnTo>
                <a:lnTo>
                  <a:pt x="4893" y="1844"/>
                </a:lnTo>
                <a:lnTo>
                  <a:pt x="4897" y="1830"/>
                </a:lnTo>
                <a:lnTo>
                  <a:pt x="4894" y="1808"/>
                </a:lnTo>
                <a:lnTo>
                  <a:pt x="4894" y="1802"/>
                </a:lnTo>
                <a:lnTo>
                  <a:pt x="4900" y="1801"/>
                </a:lnTo>
                <a:lnTo>
                  <a:pt x="4908" y="1799"/>
                </a:lnTo>
                <a:lnTo>
                  <a:pt x="4909" y="1802"/>
                </a:lnTo>
                <a:lnTo>
                  <a:pt x="4910" y="1802"/>
                </a:lnTo>
                <a:lnTo>
                  <a:pt x="4911" y="1802"/>
                </a:lnTo>
                <a:lnTo>
                  <a:pt x="4914" y="1802"/>
                </a:lnTo>
                <a:lnTo>
                  <a:pt x="4914" y="1807"/>
                </a:lnTo>
                <a:lnTo>
                  <a:pt x="4914" y="1810"/>
                </a:lnTo>
                <a:lnTo>
                  <a:pt x="4915" y="1814"/>
                </a:lnTo>
                <a:lnTo>
                  <a:pt x="4916" y="1815"/>
                </a:lnTo>
                <a:lnTo>
                  <a:pt x="4917" y="1816"/>
                </a:lnTo>
                <a:lnTo>
                  <a:pt x="4918" y="1817"/>
                </a:lnTo>
                <a:lnTo>
                  <a:pt x="4920" y="1817"/>
                </a:lnTo>
                <a:lnTo>
                  <a:pt x="4922" y="1817"/>
                </a:lnTo>
                <a:lnTo>
                  <a:pt x="4924" y="1816"/>
                </a:lnTo>
                <a:lnTo>
                  <a:pt x="4931" y="1813"/>
                </a:lnTo>
                <a:lnTo>
                  <a:pt x="4931" y="1814"/>
                </a:lnTo>
                <a:lnTo>
                  <a:pt x="4931" y="1815"/>
                </a:lnTo>
                <a:lnTo>
                  <a:pt x="4931" y="1817"/>
                </a:lnTo>
                <a:lnTo>
                  <a:pt x="4931" y="1820"/>
                </a:lnTo>
                <a:lnTo>
                  <a:pt x="4931" y="1822"/>
                </a:lnTo>
                <a:lnTo>
                  <a:pt x="4932" y="1823"/>
                </a:lnTo>
                <a:lnTo>
                  <a:pt x="4933" y="1824"/>
                </a:lnTo>
                <a:lnTo>
                  <a:pt x="4936" y="1825"/>
                </a:lnTo>
                <a:lnTo>
                  <a:pt x="4940" y="1826"/>
                </a:lnTo>
                <a:lnTo>
                  <a:pt x="4941" y="1827"/>
                </a:lnTo>
                <a:lnTo>
                  <a:pt x="4942" y="1828"/>
                </a:lnTo>
                <a:lnTo>
                  <a:pt x="4943" y="1829"/>
                </a:lnTo>
                <a:lnTo>
                  <a:pt x="4942" y="1832"/>
                </a:lnTo>
                <a:lnTo>
                  <a:pt x="4942" y="1834"/>
                </a:lnTo>
                <a:lnTo>
                  <a:pt x="4942" y="1836"/>
                </a:lnTo>
                <a:lnTo>
                  <a:pt x="4945" y="1836"/>
                </a:lnTo>
                <a:lnTo>
                  <a:pt x="4950" y="1847"/>
                </a:lnTo>
                <a:lnTo>
                  <a:pt x="4956" y="1858"/>
                </a:lnTo>
                <a:lnTo>
                  <a:pt x="4958" y="1857"/>
                </a:lnTo>
                <a:lnTo>
                  <a:pt x="4960" y="1856"/>
                </a:lnTo>
                <a:lnTo>
                  <a:pt x="4962" y="1855"/>
                </a:lnTo>
                <a:lnTo>
                  <a:pt x="4963" y="1855"/>
                </a:lnTo>
                <a:lnTo>
                  <a:pt x="4965" y="1856"/>
                </a:lnTo>
                <a:lnTo>
                  <a:pt x="4962" y="1864"/>
                </a:lnTo>
                <a:lnTo>
                  <a:pt x="4973" y="1868"/>
                </a:lnTo>
                <a:lnTo>
                  <a:pt x="4976" y="1868"/>
                </a:lnTo>
                <a:lnTo>
                  <a:pt x="4979" y="1870"/>
                </a:lnTo>
                <a:lnTo>
                  <a:pt x="4978" y="1880"/>
                </a:lnTo>
                <a:lnTo>
                  <a:pt x="4977" y="1884"/>
                </a:lnTo>
                <a:lnTo>
                  <a:pt x="4977" y="1889"/>
                </a:lnTo>
                <a:lnTo>
                  <a:pt x="4978" y="1892"/>
                </a:lnTo>
                <a:lnTo>
                  <a:pt x="4979" y="1896"/>
                </a:lnTo>
                <a:lnTo>
                  <a:pt x="4980" y="1897"/>
                </a:lnTo>
                <a:lnTo>
                  <a:pt x="4981" y="1898"/>
                </a:lnTo>
                <a:lnTo>
                  <a:pt x="4982" y="1900"/>
                </a:lnTo>
                <a:lnTo>
                  <a:pt x="4984" y="1901"/>
                </a:lnTo>
                <a:lnTo>
                  <a:pt x="4985" y="1901"/>
                </a:lnTo>
                <a:lnTo>
                  <a:pt x="4985" y="1902"/>
                </a:lnTo>
                <a:lnTo>
                  <a:pt x="4983" y="1903"/>
                </a:lnTo>
                <a:lnTo>
                  <a:pt x="4982" y="1904"/>
                </a:lnTo>
                <a:lnTo>
                  <a:pt x="4981" y="1905"/>
                </a:lnTo>
                <a:lnTo>
                  <a:pt x="4982" y="1906"/>
                </a:lnTo>
                <a:lnTo>
                  <a:pt x="4984" y="1904"/>
                </a:lnTo>
                <a:lnTo>
                  <a:pt x="4987" y="1903"/>
                </a:lnTo>
                <a:lnTo>
                  <a:pt x="4993" y="1901"/>
                </a:lnTo>
                <a:lnTo>
                  <a:pt x="4993" y="1895"/>
                </a:lnTo>
                <a:lnTo>
                  <a:pt x="4995" y="1895"/>
                </a:lnTo>
                <a:lnTo>
                  <a:pt x="4997" y="1895"/>
                </a:lnTo>
                <a:lnTo>
                  <a:pt x="4999" y="1895"/>
                </a:lnTo>
                <a:lnTo>
                  <a:pt x="5000" y="1895"/>
                </a:lnTo>
                <a:lnTo>
                  <a:pt x="5001" y="1895"/>
                </a:lnTo>
                <a:lnTo>
                  <a:pt x="5000" y="1893"/>
                </a:lnTo>
                <a:lnTo>
                  <a:pt x="4998" y="1889"/>
                </a:lnTo>
                <a:lnTo>
                  <a:pt x="4997" y="1884"/>
                </a:lnTo>
                <a:lnTo>
                  <a:pt x="4997" y="1882"/>
                </a:lnTo>
                <a:lnTo>
                  <a:pt x="4998" y="1881"/>
                </a:lnTo>
                <a:lnTo>
                  <a:pt x="5002" y="1884"/>
                </a:lnTo>
                <a:lnTo>
                  <a:pt x="5005" y="1886"/>
                </a:lnTo>
                <a:lnTo>
                  <a:pt x="5007" y="1887"/>
                </a:lnTo>
                <a:lnTo>
                  <a:pt x="5007" y="1885"/>
                </a:lnTo>
                <a:lnTo>
                  <a:pt x="5008" y="1883"/>
                </a:lnTo>
                <a:lnTo>
                  <a:pt x="5010" y="1878"/>
                </a:lnTo>
                <a:lnTo>
                  <a:pt x="5005" y="1876"/>
                </a:lnTo>
                <a:lnTo>
                  <a:pt x="5003" y="1875"/>
                </a:lnTo>
                <a:lnTo>
                  <a:pt x="5001" y="1873"/>
                </a:lnTo>
                <a:lnTo>
                  <a:pt x="4998" y="1868"/>
                </a:lnTo>
                <a:lnTo>
                  <a:pt x="4997" y="1865"/>
                </a:lnTo>
                <a:lnTo>
                  <a:pt x="4999" y="1865"/>
                </a:lnTo>
                <a:lnTo>
                  <a:pt x="5004" y="1867"/>
                </a:lnTo>
                <a:lnTo>
                  <a:pt x="5004" y="1870"/>
                </a:lnTo>
                <a:lnTo>
                  <a:pt x="5016" y="1870"/>
                </a:lnTo>
                <a:lnTo>
                  <a:pt x="5024" y="1870"/>
                </a:lnTo>
                <a:lnTo>
                  <a:pt x="5022" y="1867"/>
                </a:lnTo>
                <a:lnTo>
                  <a:pt x="5021" y="1865"/>
                </a:lnTo>
                <a:lnTo>
                  <a:pt x="5021" y="1864"/>
                </a:lnTo>
                <a:lnTo>
                  <a:pt x="5025" y="1863"/>
                </a:lnTo>
                <a:lnTo>
                  <a:pt x="5027" y="1864"/>
                </a:lnTo>
                <a:lnTo>
                  <a:pt x="5028" y="1864"/>
                </a:lnTo>
                <a:lnTo>
                  <a:pt x="5029" y="1864"/>
                </a:lnTo>
                <a:lnTo>
                  <a:pt x="5035" y="1861"/>
                </a:lnTo>
                <a:lnTo>
                  <a:pt x="5041" y="1858"/>
                </a:lnTo>
                <a:lnTo>
                  <a:pt x="5046" y="1854"/>
                </a:lnTo>
                <a:lnTo>
                  <a:pt x="5051" y="1850"/>
                </a:lnTo>
                <a:lnTo>
                  <a:pt x="5055" y="1846"/>
                </a:lnTo>
                <a:lnTo>
                  <a:pt x="5058" y="1842"/>
                </a:lnTo>
                <a:lnTo>
                  <a:pt x="5061" y="1838"/>
                </a:lnTo>
                <a:lnTo>
                  <a:pt x="5063" y="1833"/>
                </a:lnTo>
                <a:lnTo>
                  <a:pt x="5064" y="1828"/>
                </a:lnTo>
                <a:lnTo>
                  <a:pt x="5065" y="1823"/>
                </a:lnTo>
                <a:lnTo>
                  <a:pt x="5066" y="1818"/>
                </a:lnTo>
                <a:lnTo>
                  <a:pt x="5066" y="1812"/>
                </a:lnTo>
                <a:lnTo>
                  <a:pt x="5065" y="1806"/>
                </a:lnTo>
                <a:lnTo>
                  <a:pt x="5063" y="1794"/>
                </a:lnTo>
                <a:lnTo>
                  <a:pt x="5060" y="1780"/>
                </a:lnTo>
                <a:lnTo>
                  <a:pt x="5055" y="1757"/>
                </a:lnTo>
                <a:lnTo>
                  <a:pt x="5054" y="1756"/>
                </a:lnTo>
                <a:lnTo>
                  <a:pt x="5052" y="1755"/>
                </a:lnTo>
                <a:lnTo>
                  <a:pt x="5049" y="1753"/>
                </a:lnTo>
                <a:lnTo>
                  <a:pt x="5045" y="1751"/>
                </a:lnTo>
                <a:lnTo>
                  <a:pt x="5044" y="1750"/>
                </a:lnTo>
                <a:lnTo>
                  <a:pt x="5043" y="1749"/>
                </a:lnTo>
                <a:lnTo>
                  <a:pt x="5043" y="1746"/>
                </a:lnTo>
                <a:lnTo>
                  <a:pt x="5044" y="1743"/>
                </a:lnTo>
                <a:lnTo>
                  <a:pt x="5044" y="1740"/>
                </a:lnTo>
                <a:lnTo>
                  <a:pt x="5043" y="1738"/>
                </a:lnTo>
                <a:lnTo>
                  <a:pt x="5035" y="1730"/>
                </a:lnTo>
                <a:lnTo>
                  <a:pt x="5030" y="1725"/>
                </a:lnTo>
                <a:lnTo>
                  <a:pt x="5028" y="1722"/>
                </a:lnTo>
                <a:lnTo>
                  <a:pt x="5027" y="1721"/>
                </a:lnTo>
                <a:lnTo>
                  <a:pt x="5026" y="1719"/>
                </a:lnTo>
                <a:lnTo>
                  <a:pt x="5027" y="1716"/>
                </a:lnTo>
                <a:lnTo>
                  <a:pt x="5027" y="1714"/>
                </a:lnTo>
                <a:lnTo>
                  <a:pt x="5027" y="1713"/>
                </a:lnTo>
                <a:lnTo>
                  <a:pt x="5027" y="1712"/>
                </a:lnTo>
                <a:lnTo>
                  <a:pt x="5025" y="1711"/>
                </a:lnTo>
                <a:lnTo>
                  <a:pt x="5024" y="1710"/>
                </a:lnTo>
                <a:lnTo>
                  <a:pt x="5020" y="1709"/>
                </a:lnTo>
                <a:lnTo>
                  <a:pt x="5015" y="1708"/>
                </a:lnTo>
                <a:lnTo>
                  <a:pt x="5012" y="1707"/>
                </a:lnTo>
                <a:lnTo>
                  <a:pt x="5012" y="1705"/>
                </a:lnTo>
                <a:lnTo>
                  <a:pt x="5011" y="1704"/>
                </a:lnTo>
                <a:lnTo>
                  <a:pt x="5011" y="1701"/>
                </a:lnTo>
                <a:lnTo>
                  <a:pt x="5011" y="1698"/>
                </a:lnTo>
                <a:lnTo>
                  <a:pt x="5010" y="1695"/>
                </a:lnTo>
                <a:lnTo>
                  <a:pt x="5008" y="1694"/>
                </a:lnTo>
                <a:lnTo>
                  <a:pt x="5005" y="1692"/>
                </a:lnTo>
                <a:lnTo>
                  <a:pt x="5003" y="1691"/>
                </a:lnTo>
                <a:lnTo>
                  <a:pt x="5001" y="1690"/>
                </a:lnTo>
                <a:lnTo>
                  <a:pt x="4999" y="1686"/>
                </a:lnTo>
                <a:lnTo>
                  <a:pt x="4998" y="1681"/>
                </a:lnTo>
                <a:lnTo>
                  <a:pt x="4997" y="1676"/>
                </a:lnTo>
                <a:lnTo>
                  <a:pt x="4997" y="1671"/>
                </a:lnTo>
                <a:lnTo>
                  <a:pt x="4997" y="1666"/>
                </a:lnTo>
                <a:lnTo>
                  <a:pt x="4998" y="1660"/>
                </a:lnTo>
                <a:lnTo>
                  <a:pt x="4999" y="1655"/>
                </a:lnTo>
                <a:lnTo>
                  <a:pt x="5001" y="1650"/>
                </a:lnTo>
                <a:lnTo>
                  <a:pt x="5003" y="1649"/>
                </a:lnTo>
                <a:lnTo>
                  <a:pt x="5005" y="1649"/>
                </a:lnTo>
                <a:lnTo>
                  <a:pt x="5008" y="1648"/>
                </a:lnTo>
                <a:lnTo>
                  <a:pt x="5010" y="1647"/>
                </a:lnTo>
                <a:lnTo>
                  <a:pt x="5011" y="1645"/>
                </a:lnTo>
                <a:lnTo>
                  <a:pt x="5013" y="1643"/>
                </a:lnTo>
                <a:lnTo>
                  <a:pt x="5015" y="1638"/>
                </a:lnTo>
                <a:lnTo>
                  <a:pt x="5018" y="1632"/>
                </a:lnTo>
                <a:lnTo>
                  <a:pt x="5019" y="1630"/>
                </a:lnTo>
                <a:lnTo>
                  <a:pt x="5021" y="1628"/>
                </a:lnTo>
                <a:lnTo>
                  <a:pt x="5030" y="1619"/>
                </a:lnTo>
                <a:lnTo>
                  <a:pt x="5035" y="1616"/>
                </a:lnTo>
                <a:lnTo>
                  <a:pt x="5040" y="1613"/>
                </a:lnTo>
                <a:lnTo>
                  <a:pt x="5044" y="1612"/>
                </a:lnTo>
                <a:lnTo>
                  <a:pt x="5047" y="1611"/>
                </a:lnTo>
                <a:lnTo>
                  <a:pt x="5054" y="1609"/>
                </a:lnTo>
                <a:lnTo>
                  <a:pt x="5062" y="1608"/>
                </a:lnTo>
                <a:lnTo>
                  <a:pt x="5072" y="1608"/>
                </a:lnTo>
                <a:lnTo>
                  <a:pt x="5069" y="1619"/>
                </a:lnTo>
                <a:lnTo>
                  <a:pt x="5070" y="1626"/>
                </a:lnTo>
                <a:lnTo>
                  <a:pt x="5070" y="1629"/>
                </a:lnTo>
                <a:lnTo>
                  <a:pt x="5072" y="1633"/>
                </a:lnTo>
                <a:lnTo>
                  <a:pt x="5077" y="1642"/>
                </a:lnTo>
                <a:lnTo>
                  <a:pt x="5081" y="1639"/>
                </a:lnTo>
                <a:lnTo>
                  <a:pt x="5083" y="1638"/>
                </a:lnTo>
                <a:lnTo>
                  <a:pt x="5084" y="1638"/>
                </a:lnTo>
                <a:lnTo>
                  <a:pt x="5086" y="1639"/>
                </a:lnTo>
                <a:lnTo>
                  <a:pt x="5085" y="1635"/>
                </a:lnTo>
                <a:lnTo>
                  <a:pt x="5086" y="1631"/>
                </a:lnTo>
                <a:lnTo>
                  <a:pt x="5085" y="1631"/>
                </a:lnTo>
                <a:lnTo>
                  <a:pt x="5084" y="1631"/>
                </a:lnTo>
                <a:lnTo>
                  <a:pt x="5082" y="1629"/>
                </a:lnTo>
                <a:lnTo>
                  <a:pt x="5080" y="1625"/>
                </a:lnTo>
                <a:lnTo>
                  <a:pt x="5084" y="1623"/>
                </a:lnTo>
                <a:lnTo>
                  <a:pt x="5088" y="1621"/>
                </a:lnTo>
                <a:lnTo>
                  <a:pt x="5097" y="1617"/>
                </a:lnTo>
                <a:lnTo>
                  <a:pt x="5098" y="1615"/>
                </a:lnTo>
                <a:lnTo>
                  <a:pt x="5100" y="1612"/>
                </a:lnTo>
                <a:lnTo>
                  <a:pt x="5101" y="1610"/>
                </a:lnTo>
                <a:lnTo>
                  <a:pt x="5102" y="1608"/>
                </a:lnTo>
                <a:lnTo>
                  <a:pt x="5106" y="1607"/>
                </a:lnTo>
                <a:lnTo>
                  <a:pt x="5110" y="1606"/>
                </a:lnTo>
                <a:lnTo>
                  <a:pt x="5117" y="1605"/>
                </a:lnTo>
                <a:lnTo>
                  <a:pt x="5125" y="1605"/>
                </a:lnTo>
                <a:lnTo>
                  <a:pt x="5129" y="1604"/>
                </a:lnTo>
                <a:lnTo>
                  <a:pt x="5133" y="1602"/>
                </a:lnTo>
                <a:lnTo>
                  <a:pt x="5135" y="1601"/>
                </a:lnTo>
                <a:lnTo>
                  <a:pt x="5137" y="1599"/>
                </a:lnTo>
                <a:lnTo>
                  <a:pt x="5140" y="1595"/>
                </a:lnTo>
                <a:lnTo>
                  <a:pt x="5145" y="1586"/>
                </a:lnTo>
                <a:lnTo>
                  <a:pt x="5153" y="1594"/>
                </a:lnTo>
                <a:lnTo>
                  <a:pt x="5155" y="1593"/>
                </a:lnTo>
                <a:lnTo>
                  <a:pt x="5158" y="1591"/>
                </a:lnTo>
                <a:lnTo>
                  <a:pt x="5161" y="1589"/>
                </a:lnTo>
                <a:lnTo>
                  <a:pt x="5162" y="1588"/>
                </a:lnTo>
                <a:lnTo>
                  <a:pt x="5168" y="1587"/>
                </a:lnTo>
                <a:lnTo>
                  <a:pt x="5173" y="1586"/>
                </a:lnTo>
                <a:lnTo>
                  <a:pt x="5178" y="1586"/>
                </a:lnTo>
                <a:lnTo>
                  <a:pt x="5184" y="1586"/>
                </a:lnTo>
                <a:lnTo>
                  <a:pt x="5190" y="1583"/>
                </a:lnTo>
                <a:lnTo>
                  <a:pt x="5190" y="1580"/>
                </a:lnTo>
                <a:lnTo>
                  <a:pt x="5190" y="1576"/>
                </a:lnTo>
                <a:lnTo>
                  <a:pt x="5190" y="1569"/>
                </a:lnTo>
                <a:lnTo>
                  <a:pt x="5204" y="1561"/>
                </a:lnTo>
                <a:lnTo>
                  <a:pt x="5218" y="1555"/>
                </a:lnTo>
                <a:lnTo>
                  <a:pt x="5217" y="1549"/>
                </a:lnTo>
                <a:lnTo>
                  <a:pt x="5218" y="1543"/>
                </a:lnTo>
                <a:lnTo>
                  <a:pt x="5220" y="1542"/>
                </a:lnTo>
                <a:lnTo>
                  <a:pt x="5223" y="1542"/>
                </a:lnTo>
                <a:lnTo>
                  <a:pt x="5228" y="1542"/>
                </a:lnTo>
                <a:lnTo>
                  <a:pt x="5233" y="1542"/>
                </a:lnTo>
                <a:lnTo>
                  <a:pt x="5235" y="1542"/>
                </a:lnTo>
                <a:lnTo>
                  <a:pt x="5237" y="1541"/>
                </a:lnTo>
                <a:lnTo>
                  <a:pt x="5235" y="1532"/>
                </a:lnTo>
                <a:lnTo>
                  <a:pt x="5239" y="1530"/>
                </a:lnTo>
                <a:lnTo>
                  <a:pt x="5241" y="1529"/>
                </a:lnTo>
                <a:lnTo>
                  <a:pt x="5240" y="1529"/>
                </a:lnTo>
                <a:lnTo>
                  <a:pt x="5237" y="1529"/>
                </a:lnTo>
                <a:lnTo>
                  <a:pt x="5237" y="1524"/>
                </a:lnTo>
                <a:lnTo>
                  <a:pt x="5243" y="1524"/>
                </a:lnTo>
                <a:lnTo>
                  <a:pt x="5246" y="1524"/>
                </a:lnTo>
                <a:lnTo>
                  <a:pt x="5249" y="1524"/>
                </a:lnTo>
                <a:lnTo>
                  <a:pt x="5248" y="1517"/>
                </a:lnTo>
                <a:lnTo>
                  <a:pt x="5249" y="1511"/>
                </a:lnTo>
                <a:lnTo>
                  <a:pt x="5249" y="1507"/>
                </a:lnTo>
                <a:lnTo>
                  <a:pt x="5249" y="1504"/>
                </a:lnTo>
                <a:lnTo>
                  <a:pt x="5247" y="1503"/>
                </a:lnTo>
                <a:lnTo>
                  <a:pt x="5245" y="1502"/>
                </a:lnTo>
                <a:lnTo>
                  <a:pt x="5244" y="1501"/>
                </a:lnTo>
                <a:lnTo>
                  <a:pt x="5243" y="1500"/>
                </a:lnTo>
                <a:lnTo>
                  <a:pt x="5243" y="1498"/>
                </a:lnTo>
                <a:lnTo>
                  <a:pt x="5246" y="1498"/>
                </a:lnTo>
                <a:lnTo>
                  <a:pt x="5247" y="1495"/>
                </a:lnTo>
                <a:lnTo>
                  <a:pt x="5247" y="1492"/>
                </a:lnTo>
                <a:lnTo>
                  <a:pt x="5247" y="1488"/>
                </a:lnTo>
                <a:lnTo>
                  <a:pt x="5249" y="1484"/>
                </a:lnTo>
                <a:lnTo>
                  <a:pt x="5250" y="1484"/>
                </a:lnTo>
                <a:lnTo>
                  <a:pt x="5253" y="1484"/>
                </a:lnTo>
                <a:lnTo>
                  <a:pt x="5255" y="1484"/>
                </a:lnTo>
                <a:lnTo>
                  <a:pt x="5257" y="1484"/>
                </a:lnTo>
                <a:lnTo>
                  <a:pt x="5259" y="1482"/>
                </a:lnTo>
                <a:lnTo>
                  <a:pt x="5261" y="1479"/>
                </a:lnTo>
                <a:lnTo>
                  <a:pt x="5263" y="1475"/>
                </a:lnTo>
                <a:lnTo>
                  <a:pt x="5266" y="1473"/>
                </a:lnTo>
                <a:lnTo>
                  <a:pt x="5268" y="1473"/>
                </a:lnTo>
                <a:lnTo>
                  <a:pt x="5269" y="1472"/>
                </a:lnTo>
                <a:lnTo>
                  <a:pt x="5269" y="1471"/>
                </a:lnTo>
                <a:lnTo>
                  <a:pt x="5269" y="1468"/>
                </a:lnTo>
                <a:lnTo>
                  <a:pt x="5268" y="1464"/>
                </a:lnTo>
                <a:lnTo>
                  <a:pt x="5268" y="1462"/>
                </a:lnTo>
                <a:lnTo>
                  <a:pt x="5270" y="1460"/>
                </a:lnTo>
                <a:lnTo>
                  <a:pt x="5272" y="1457"/>
                </a:lnTo>
                <a:lnTo>
                  <a:pt x="5275" y="1454"/>
                </a:lnTo>
                <a:lnTo>
                  <a:pt x="5277" y="1451"/>
                </a:lnTo>
                <a:lnTo>
                  <a:pt x="5280" y="1451"/>
                </a:lnTo>
                <a:lnTo>
                  <a:pt x="5281" y="1452"/>
                </a:lnTo>
                <a:lnTo>
                  <a:pt x="5282" y="1452"/>
                </a:lnTo>
                <a:lnTo>
                  <a:pt x="5285" y="1451"/>
                </a:lnTo>
                <a:lnTo>
                  <a:pt x="5283" y="1443"/>
                </a:lnTo>
                <a:lnTo>
                  <a:pt x="5282" y="1439"/>
                </a:lnTo>
                <a:lnTo>
                  <a:pt x="5283" y="1437"/>
                </a:lnTo>
                <a:lnTo>
                  <a:pt x="5283" y="1434"/>
                </a:lnTo>
                <a:lnTo>
                  <a:pt x="5282" y="1428"/>
                </a:lnTo>
                <a:lnTo>
                  <a:pt x="5291" y="1428"/>
                </a:lnTo>
                <a:lnTo>
                  <a:pt x="5293" y="1423"/>
                </a:lnTo>
                <a:lnTo>
                  <a:pt x="5293" y="1420"/>
                </a:lnTo>
                <a:lnTo>
                  <a:pt x="5293" y="1418"/>
                </a:lnTo>
                <a:lnTo>
                  <a:pt x="5292" y="1418"/>
                </a:lnTo>
                <a:lnTo>
                  <a:pt x="5290" y="1418"/>
                </a:lnTo>
                <a:lnTo>
                  <a:pt x="5288" y="1418"/>
                </a:lnTo>
                <a:lnTo>
                  <a:pt x="5297" y="1411"/>
                </a:lnTo>
                <a:lnTo>
                  <a:pt x="5293" y="1407"/>
                </a:lnTo>
                <a:lnTo>
                  <a:pt x="5290" y="1404"/>
                </a:lnTo>
                <a:lnTo>
                  <a:pt x="5288" y="1403"/>
                </a:lnTo>
                <a:lnTo>
                  <a:pt x="5285" y="1403"/>
                </a:lnTo>
                <a:lnTo>
                  <a:pt x="5280" y="1404"/>
                </a:lnTo>
                <a:lnTo>
                  <a:pt x="5277" y="1405"/>
                </a:lnTo>
                <a:lnTo>
                  <a:pt x="5277" y="1406"/>
                </a:lnTo>
                <a:lnTo>
                  <a:pt x="5276" y="1406"/>
                </a:lnTo>
                <a:lnTo>
                  <a:pt x="5275" y="1406"/>
                </a:lnTo>
                <a:lnTo>
                  <a:pt x="5273" y="1404"/>
                </a:lnTo>
                <a:lnTo>
                  <a:pt x="5272" y="1401"/>
                </a:lnTo>
                <a:lnTo>
                  <a:pt x="5271" y="1400"/>
                </a:lnTo>
                <a:lnTo>
                  <a:pt x="5284" y="1392"/>
                </a:lnTo>
                <a:lnTo>
                  <a:pt x="5286" y="1390"/>
                </a:lnTo>
                <a:lnTo>
                  <a:pt x="5288" y="1389"/>
                </a:lnTo>
                <a:lnTo>
                  <a:pt x="5289" y="1387"/>
                </a:lnTo>
                <a:lnTo>
                  <a:pt x="5289" y="1386"/>
                </a:lnTo>
                <a:lnTo>
                  <a:pt x="5290" y="1385"/>
                </a:lnTo>
                <a:lnTo>
                  <a:pt x="5290" y="1383"/>
                </a:lnTo>
                <a:lnTo>
                  <a:pt x="5290" y="1382"/>
                </a:lnTo>
                <a:lnTo>
                  <a:pt x="5289" y="1380"/>
                </a:lnTo>
                <a:lnTo>
                  <a:pt x="5288" y="1377"/>
                </a:lnTo>
                <a:lnTo>
                  <a:pt x="5284" y="1372"/>
                </a:lnTo>
                <a:lnTo>
                  <a:pt x="5277" y="1366"/>
                </a:lnTo>
                <a:lnTo>
                  <a:pt x="5282" y="1366"/>
                </a:lnTo>
                <a:lnTo>
                  <a:pt x="5282" y="1362"/>
                </a:lnTo>
                <a:lnTo>
                  <a:pt x="5282" y="1358"/>
                </a:lnTo>
                <a:lnTo>
                  <a:pt x="5278" y="1352"/>
                </a:lnTo>
                <a:lnTo>
                  <a:pt x="5272" y="1347"/>
                </a:lnTo>
                <a:lnTo>
                  <a:pt x="5266" y="1341"/>
                </a:lnTo>
                <a:lnTo>
                  <a:pt x="5264" y="1338"/>
                </a:lnTo>
                <a:lnTo>
                  <a:pt x="5263" y="1335"/>
                </a:lnTo>
                <a:lnTo>
                  <a:pt x="5263" y="1333"/>
                </a:lnTo>
                <a:lnTo>
                  <a:pt x="5263" y="1329"/>
                </a:lnTo>
                <a:lnTo>
                  <a:pt x="5263" y="1326"/>
                </a:lnTo>
                <a:lnTo>
                  <a:pt x="5263" y="1325"/>
                </a:lnTo>
                <a:lnTo>
                  <a:pt x="5263" y="1324"/>
                </a:lnTo>
                <a:lnTo>
                  <a:pt x="5262" y="1323"/>
                </a:lnTo>
                <a:lnTo>
                  <a:pt x="5261" y="1323"/>
                </a:lnTo>
                <a:lnTo>
                  <a:pt x="5259" y="1322"/>
                </a:lnTo>
                <a:lnTo>
                  <a:pt x="5256" y="1322"/>
                </a:lnTo>
                <a:lnTo>
                  <a:pt x="5254" y="1321"/>
                </a:lnTo>
                <a:lnTo>
                  <a:pt x="5253" y="1320"/>
                </a:lnTo>
                <a:lnTo>
                  <a:pt x="5254" y="1319"/>
                </a:lnTo>
                <a:lnTo>
                  <a:pt x="5256" y="1318"/>
                </a:lnTo>
                <a:lnTo>
                  <a:pt x="5258" y="1317"/>
                </a:lnTo>
                <a:lnTo>
                  <a:pt x="5258" y="1316"/>
                </a:lnTo>
                <a:lnTo>
                  <a:pt x="5257" y="1315"/>
                </a:lnTo>
                <a:lnTo>
                  <a:pt x="5254" y="1313"/>
                </a:lnTo>
                <a:lnTo>
                  <a:pt x="5252" y="1310"/>
                </a:lnTo>
                <a:lnTo>
                  <a:pt x="5249" y="1307"/>
                </a:lnTo>
                <a:lnTo>
                  <a:pt x="5247" y="1302"/>
                </a:lnTo>
                <a:lnTo>
                  <a:pt x="5246" y="1298"/>
                </a:lnTo>
                <a:lnTo>
                  <a:pt x="5245" y="1293"/>
                </a:lnTo>
                <a:lnTo>
                  <a:pt x="5245" y="1287"/>
                </a:lnTo>
                <a:lnTo>
                  <a:pt x="5246" y="1282"/>
                </a:lnTo>
                <a:lnTo>
                  <a:pt x="5247" y="1280"/>
                </a:lnTo>
                <a:lnTo>
                  <a:pt x="5248" y="1278"/>
                </a:lnTo>
                <a:lnTo>
                  <a:pt x="5252" y="1275"/>
                </a:lnTo>
                <a:lnTo>
                  <a:pt x="5257" y="1273"/>
                </a:lnTo>
                <a:lnTo>
                  <a:pt x="5259" y="1272"/>
                </a:lnTo>
                <a:lnTo>
                  <a:pt x="5260" y="1270"/>
                </a:lnTo>
                <a:lnTo>
                  <a:pt x="5260" y="1269"/>
                </a:lnTo>
                <a:lnTo>
                  <a:pt x="5259" y="1268"/>
                </a:lnTo>
                <a:lnTo>
                  <a:pt x="5257" y="1265"/>
                </a:lnTo>
                <a:lnTo>
                  <a:pt x="5269" y="1253"/>
                </a:lnTo>
                <a:lnTo>
                  <a:pt x="5276" y="1247"/>
                </a:lnTo>
                <a:lnTo>
                  <a:pt x="5282" y="1242"/>
                </a:lnTo>
                <a:lnTo>
                  <a:pt x="5287" y="1241"/>
                </a:lnTo>
                <a:lnTo>
                  <a:pt x="5294" y="1240"/>
                </a:lnTo>
                <a:lnTo>
                  <a:pt x="5301" y="1238"/>
                </a:lnTo>
                <a:lnTo>
                  <a:pt x="5305" y="1237"/>
                </a:lnTo>
                <a:lnTo>
                  <a:pt x="5306" y="1236"/>
                </a:lnTo>
                <a:lnTo>
                  <a:pt x="5306" y="1234"/>
                </a:lnTo>
                <a:lnTo>
                  <a:pt x="5306" y="1230"/>
                </a:lnTo>
                <a:lnTo>
                  <a:pt x="5307" y="1225"/>
                </a:lnTo>
                <a:lnTo>
                  <a:pt x="5307" y="1224"/>
                </a:lnTo>
                <a:lnTo>
                  <a:pt x="5308" y="1223"/>
                </a:lnTo>
                <a:lnTo>
                  <a:pt x="5296" y="1223"/>
                </a:lnTo>
                <a:lnTo>
                  <a:pt x="5289" y="1223"/>
                </a:lnTo>
                <a:lnTo>
                  <a:pt x="5282" y="1223"/>
                </a:lnTo>
                <a:lnTo>
                  <a:pt x="5280" y="1221"/>
                </a:lnTo>
                <a:lnTo>
                  <a:pt x="5279" y="1220"/>
                </a:lnTo>
                <a:lnTo>
                  <a:pt x="5276" y="1219"/>
                </a:lnTo>
                <a:lnTo>
                  <a:pt x="5270" y="1217"/>
                </a:lnTo>
                <a:lnTo>
                  <a:pt x="5267" y="1217"/>
                </a:lnTo>
                <a:lnTo>
                  <a:pt x="5263" y="1217"/>
                </a:lnTo>
                <a:lnTo>
                  <a:pt x="5261" y="1218"/>
                </a:lnTo>
                <a:lnTo>
                  <a:pt x="5259" y="1219"/>
                </a:lnTo>
                <a:lnTo>
                  <a:pt x="5255" y="1224"/>
                </a:lnTo>
                <a:lnTo>
                  <a:pt x="5252" y="1228"/>
                </a:lnTo>
                <a:lnTo>
                  <a:pt x="5249" y="1231"/>
                </a:lnTo>
                <a:lnTo>
                  <a:pt x="5244" y="1232"/>
                </a:lnTo>
                <a:lnTo>
                  <a:pt x="5241" y="1233"/>
                </a:lnTo>
                <a:lnTo>
                  <a:pt x="5238" y="1233"/>
                </a:lnTo>
                <a:lnTo>
                  <a:pt x="5235" y="1234"/>
                </a:lnTo>
                <a:lnTo>
                  <a:pt x="5229" y="1223"/>
                </a:lnTo>
                <a:lnTo>
                  <a:pt x="5223" y="1213"/>
                </a:lnTo>
                <a:lnTo>
                  <a:pt x="5218" y="1202"/>
                </a:lnTo>
                <a:lnTo>
                  <a:pt x="5215" y="1197"/>
                </a:lnTo>
                <a:lnTo>
                  <a:pt x="5212" y="1192"/>
                </a:lnTo>
                <a:lnTo>
                  <a:pt x="5214" y="1191"/>
                </a:lnTo>
                <a:lnTo>
                  <a:pt x="5214" y="1190"/>
                </a:lnTo>
                <a:lnTo>
                  <a:pt x="5215" y="1189"/>
                </a:lnTo>
                <a:lnTo>
                  <a:pt x="5215" y="1187"/>
                </a:lnTo>
                <a:lnTo>
                  <a:pt x="5216" y="1185"/>
                </a:lnTo>
                <a:lnTo>
                  <a:pt x="5217" y="1184"/>
                </a:lnTo>
                <a:lnTo>
                  <a:pt x="5218" y="1183"/>
                </a:lnTo>
                <a:lnTo>
                  <a:pt x="5223" y="1183"/>
                </a:lnTo>
                <a:lnTo>
                  <a:pt x="5228" y="1183"/>
                </a:lnTo>
                <a:lnTo>
                  <a:pt x="5233" y="1184"/>
                </a:lnTo>
                <a:lnTo>
                  <a:pt x="5235" y="1184"/>
                </a:lnTo>
                <a:lnTo>
                  <a:pt x="5237" y="1183"/>
                </a:lnTo>
                <a:lnTo>
                  <a:pt x="5239" y="1181"/>
                </a:lnTo>
                <a:lnTo>
                  <a:pt x="5240" y="1177"/>
                </a:lnTo>
                <a:lnTo>
                  <a:pt x="5242" y="1172"/>
                </a:lnTo>
                <a:lnTo>
                  <a:pt x="5243" y="1169"/>
                </a:lnTo>
                <a:lnTo>
                  <a:pt x="5245" y="1168"/>
                </a:lnTo>
                <a:lnTo>
                  <a:pt x="5247" y="1167"/>
                </a:lnTo>
                <a:lnTo>
                  <a:pt x="5253" y="1165"/>
                </a:lnTo>
                <a:lnTo>
                  <a:pt x="5258" y="1163"/>
                </a:lnTo>
                <a:lnTo>
                  <a:pt x="5263" y="1161"/>
                </a:lnTo>
                <a:lnTo>
                  <a:pt x="5265" y="1159"/>
                </a:lnTo>
                <a:lnTo>
                  <a:pt x="5267" y="1155"/>
                </a:lnTo>
                <a:lnTo>
                  <a:pt x="5272" y="1147"/>
                </a:lnTo>
                <a:lnTo>
                  <a:pt x="5280" y="1133"/>
                </a:lnTo>
                <a:lnTo>
                  <a:pt x="5290" y="1135"/>
                </a:lnTo>
                <a:lnTo>
                  <a:pt x="5296" y="1138"/>
                </a:lnTo>
                <a:lnTo>
                  <a:pt x="5300" y="1140"/>
                </a:lnTo>
                <a:lnTo>
                  <a:pt x="5300" y="1141"/>
                </a:lnTo>
                <a:lnTo>
                  <a:pt x="5301" y="1142"/>
                </a:lnTo>
                <a:lnTo>
                  <a:pt x="5300" y="1145"/>
                </a:lnTo>
                <a:lnTo>
                  <a:pt x="5298" y="1148"/>
                </a:lnTo>
                <a:lnTo>
                  <a:pt x="5294" y="1154"/>
                </a:lnTo>
                <a:lnTo>
                  <a:pt x="5291" y="1161"/>
                </a:lnTo>
                <a:lnTo>
                  <a:pt x="5288" y="1166"/>
                </a:lnTo>
                <a:lnTo>
                  <a:pt x="5285" y="1175"/>
                </a:lnTo>
                <a:lnTo>
                  <a:pt x="5284" y="1179"/>
                </a:lnTo>
                <a:lnTo>
                  <a:pt x="5284" y="1180"/>
                </a:lnTo>
                <a:lnTo>
                  <a:pt x="5284" y="1181"/>
                </a:lnTo>
                <a:lnTo>
                  <a:pt x="5285" y="1181"/>
                </a:lnTo>
                <a:lnTo>
                  <a:pt x="5286" y="1181"/>
                </a:lnTo>
                <a:lnTo>
                  <a:pt x="5291" y="1178"/>
                </a:lnTo>
                <a:lnTo>
                  <a:pt x="5289" y="1180"/>
                </a:lnTo>
                <a:lnTo>
                  <a:pt x="5287" y="1186"/>
                </a:lnTo>
                <a:lnTo>
                  <a:pt x="5286" y="1189"/>
                </a:lnTo>
                <a:lnTo>
                  <a:pt x="5286" y="1191"/>
                </a:lnTo>
                <a:lnTo>
                  <a:pt x="5286" y="1192"/>
                </a:lnTo>
                <a:lnTo>
                  <a:pt x="5288" y="1192"/>
                </a:lnTo>
                <a:lnTo>
                  <a:pt x="5290" y="1191"/>
                </a:lnTo>
                <a:lnTo>
                  <a:pt x="5292" y="1189"/>
                </a:lnTo>
                <a:lnTo>
                  <a:pt x="5297" y="1184"/>
                </a:lnTo>
                <a:lnTo>
                  <a:pt x="5307" y="1173"/>
                </a:lnTo>
                <a:lnTo>
                  <a:pt x="5313" y="1168"/>
                </a:lnTo>
                <a:lnTo>
                  <a:pt x="5317" y="1166"/>
                </a:lnTo>
                <a:lnTo>
                  <a:pt x="5320" y="1164"/>
                </a:lnTo>
                <a:lnTo>
                  <a:pt x="5326" y="1161"/>
                </a:lnTo>
                <a:lnTo>
                  <a:pt x="5330" y="1161"/>
                </a:lnTo>
                <a:lnTo>
                  <a:pt x="5333" y="1161"/>
                </a:lnTo>
                <a:lnTo>
                  <a:pt x="5335" y="1162"/>
                </a:lnTo>
                <a:lnTo>
                  <a:pt x="5337" y="1164"/>
                </a:lnTo>
                <a:lnTo>
                  <a:pt x="5339" y="1165"/>
                </a:lnTo>
                <a:lnTo>
                  <a:pt x="5341" y="1166"/>
                </a:lnTo>
                <a:lnTo>
                  <a:pt x="5344" y="1166"/>
                </a:lnTo>
                <a:lnTo>
                  <a:pt x="5347" y="1165"/>
                </a:lnTo>
                <a:lnTo>
                  <a:pt x="5351" y="1168"/>
                </a:lnTo>
                <a:lnTo>
                  <a:pt x="5354" y="1170"/>
                </a:lnTo>
                <a:lnTo>
                  <a:pt x="5356" y="1172"/>
                </a:lnTo>
                <a:lnTo>
                  <a:pt x="5356" y="1174"/>
                </a:lnTo>
                <a:lnTo>
                  <a:pt x="5356" y="1176"/>
                </a:lnTo>
                <a:lnTo>
                  <a:pt x="5355" y="1179"/>
                </a:lnTo>
                <a:lnTo>
                  <a:pt x="5353" y="1181"/>
                </a:lnTo>
                <a:lnTo>
                  <a:pt x="5353" y="1183"/>
                </a:lnTo>
                <a:lnTo>
                  <a:pt x="5354" y="1185"/>
                </a:lnTo>
                <a:lnTo>
                  <a:pt x="5356" y="1187"/>
                </a:lnTo>
                <a:lnTo>
                  <a:pt x="5358" y="1189"/>
                </a:lnTo>
                <a:lnTo>
                  <a:pt x="5358" y="1191"/>
                </a:lnTo>
                <a:lnTo>
                  <a:pt x="5358" y="1192"/>
                </a:lnTo>
                <a:lnTo>
                  <a:pt x="5350" y="1192"/>
                </a:lnTo>
                <a:lnTo>
                  <a:pt x="5349" y="1195"/>
                </a:lnTo>
                <a:lnTo>
                  <a:pt x="5348" y="1196"/>
                </a:lnTo>
                <a:lnTo>
                  <a:pt x="5347" y="1197"/>
                </a:lnTo>
                <a:lnTo>
                  <a:pt x="5344" y="1197"/>
                </a:lnTo>
                <a:lnTo>
                  <a:pt x="5345" y="1202"/>
                </a:lnTo>
                <a:lnTo>
                  <a:pt x="5344" y="1206"/>
                </a:lnTo>
                <a:lnTo>
                  <a:pt x="5347" y="1207"/>
                </a:lnTo>
                <a:lnTo>
                  <a:pt x="5350" y="1207"/>
                </a:lnTo>
                <a:lnTo>
                  <a:pt x="5353" y="1207"/>
                </a:lnTo>
                <a:lnTo>
                  <a:pt x="5354" y="1208"/>
                </a:lnTo>
                <a:lnTo>
                  <a:pt x="5356" y="1209"/>
                </a:lnTo>
                <a:lnTo>
                  <a:pt x="5353" y="1217"/>
                </a:lnTo>
                <a:lnTo>
                  <a:pt x="5360" y="1218"/>
                </a:lnTo>
                <a:lnTo>
                  <a:pt x="5364" y="1218"/>
                </a:lnTo>
                <a:lnTo>
                  <a:pt x="5365" y="1218"/>
                </a:lnTo>
                <a:lnTo>
                  <a:pt x="5364" y="1217"/>
                </a:lnTo>
                <a:lnTo>
                  <a:pt x="5372" y="1217"/>
                </a:lnTo>
                <a:lnTo>
                  <a:pt x="5381" y="1217"/>
                </a:lnTo>
                <a:lnTo>
                  <a:pt x="5384" y="1226"/>
                </a:lnTo>
                <a:lnTo>
                  <a:pt x="5385" y="1231"/>
                </a:lnTo>
                <a:lnTo>
                  <a:pt x="5385" y="1233"/>
                </a:lnTo>
                <a:lnTo>
                  <a:pt x="5384" y="1235"/>
                </a:lnTo>
                <a:lnTo>
                  <a:pt x="5382" y="1237"/>
                </a:lnTo>
                <a:lnTo>
                  <a:pt x="5378" y="1240"/>
                </a:lnTo>
                <a:lnTo>
                  <a:pt x="5387" y="1248"/>
                </a:lnTo>
                <a:lnTo>
                  <a:pt x="5387" y="1249"/>
                </a:lnTo>
                <a:lnTo>
                  <a:pt x="5386" y="1251"/>
                </a:lnTo>
                <a:lnTo>
                  <a:pt x="5384" y="1254"/>
                </a:lnTo>
                <a:lnTo>
                  <a:pt x="5383" y="1254"/>
                </a:lnTo>
                <a:lnTo>
                  <a:pt x="5383" y="1256"/>
                </a:lnTo>
                <a:lnTo>
                  <a:pt x="5383" y="1259"/>
                </a:lnTo>
                <a:lnTo>
                  <a:pt x="5384" y="1262"/>
                </a:lnTo>
                <a:lnTo>
                  <a:pt x="5384" y="1261"/>
                </a:lnTo>
                <a:lnTo>
                  <a:pt x="5385" y="1262"/>
                </a:lnTo>
                <a:lnTo>
                  <a:pt x="5385" y="1263"/>
                </a:lnTo>
                <a:lnTo>
                  <a:pt x="5386" y="1266"/>
                </a:lnTo>
                <a:lnTo>
                  <a:pt x="5387" y="1273"/>
                </a:lnTo>
                <a:lnTo>
                  <a:pt x="5385" y="1274"/>
                </a:lnTo>
                <a:lnTo>
                  <a:pt x="5382" y="1275"/>
                </a:lnTo>
                <a:lnTo>
                  <a:pt x="5378" y="1276"/>
                </a:lnTo>
                <a:lnTo>
                  <a:pt x="5377" y="1285"/>
                </a:lnTo>
                <a:lnTo>
                  <a:pt x="5377" y="1292"/>
                </a:lnTo>
                <a:lnTo>
                  <a:pt x="5377" y="1299"/>
                </a:lnTo>
                <a:lnTo>
                  <a:pt x="5375" y="1307"/>
                </a:lnTo>
                <a:lnTo>
                  <a:pt x="5378" y="1307"/>
                </a:lnTo>
                <a:lnTo>
                  <a:pt x="5380" y="1307"/>
                </a:lnTo>
                <a:lnTo>
                  <a:pt x="5382" y="1309"/>
                </a:lnTo>
                <a:lnTo>
                  <a:pt x="5384" y="1310"/>
                </a:lnTo>
                <a:lnTo>
                  <a:pt x="5393" y="1301"/>
                </a:lnTo>
                <a:lnTo>
                  <a:pt x="5398" y="1296"/>
                </a:lnTo>
                <a:lnTo>
                  <a:pt x="5403" y="1293"/>
                </a:lnTo>
                <a:lnTo>
                  <a:pt x="5410" y="1291"/>
                </a:lnTo>
                <a:lnTo>
                  <a:pt x="5418" y="1289"/>
                </a:lnTo>
                <a:lnTo>
                  <a:pt x="5421" y="1287"/>
                </a:lnTo>
                <a:lnTo>
                  <a:pt x="5424" y="1286"/>
                </a:lnTo>
                <a:lnTo>
                  <a:pt x="5427" y="1284"/>
                </a:lnTo>
                <a:lnTo>
                  <a:pt x="5429" y="1282"/>
                </a:lnTo>
                <a:lnTo>
                  <a:pt x="5430" y="1279"/>
                </a:lnTo>
                <a:lnTo>
                  <a:pt x="5430" y="1274"/>
                </a:lnTo>
                <a:lnTo>
                  <a:pt x="5432" y="1261"/>
                </a:lnTo>
                <a:lnTo>
                  <a:pt x="5432" y="1247"/>
                </a:lnTo>
                <a:lnTo>
                  <a:pt x="5432" y="1237"/>
                </a:lnTo>
                <a:lnTo>
                  <a:pt x="5430" y="1235"/>
                </a:lnTo>
                <a:lnTo>
                  <a:pt x="5427" y="1233"/>
                </a:lnTo>
                <a:lnTo>
                  <a:pt x="5425" y="1230"/>
                </a:lnTo>
                <a:lnTo>
                  <a:pt x="5423" y="1228"/>
                </a:lnTo>
                <a:lnTo>
                  <a:pt x="5423" y="1226"/>
                </a:lnTo>
                <a:lnTo>
                  <a:pt x="5423" y="1224"/>
                </a:lnTo>
                <a:lnTo>
                  <a:pt x="5423" y="1222"/>
                </a:lnTo>
                <a:lnTo>
                  <a:pt x="5423" y="1220"/>
                </a:lnTo>
                <a:lnTo>
                  <a:pt x="5417" y="1220"/>
                </a:lnTo>
                <a:lnTo>
                  <a:pt x="5417" y="1217"/>
                </a:lnTo>
                <a:lnTo>
                  <a:pt x="5417" y="1214"/>
                </a:lnTo>
                <a:lnTo>
                  <a:pt x="5418" y="1212"/>
                </a:lnTo>
                <a:lnTo>
                  <a:pt x="5417" y="1209"/>
                </a:lnTo>
                <a:lnTo>
                  <a:pt x="5414" y="1206"/>
                </a:lnTo>
                <a:lnTo>
                  <a:pt x="5413" y="1205"/>
                </a:lnTo>
                <a:lnTo>
                  <a:pt x="5411" y="1203"/>
                </a:lnTo>
                <a:lnTo>
                  <a:pt x="5410" y="1202"/>
                </a:lnTo>
                <a:lnTo>
                  <a:pt x="5409" y="1201"/>
                </a:lnTo>
                <a:lnTo>
                  <a:pt x="5409" y="1200"/>
                </a:lnTo>
                <a:lnTo>
                  <a:pt x="5409" y="1198"/>
                </a:lnTo>
                <a:lnTo>
                  <a:pt x="5409" y="1197"/>
                </a:lnTo>
                <a:lnTo>
                  <a:pt x="5411" y="1195"/>
                </a:lnTo>
                <a:lnTo>
                  <a:pt x="5412" y="1193"/>
                </a:lnTo>
                <a:lnTo>
                  <a:pt x="5412" y="1192"/>
                </a:lnTo>
                <a:lnTo>
                  <a:pt x="5410" y="1190"/>
                </a:lnTo>
                <a:lnTo>
                  <a:pt x="5408" y="1188"/>
                </a:lnTo>
                <a:lnTo>
                  <a:pt x="5403" y="1187"/>
                </a:lnTo>
                <a:lnTo>
                  <a:pt x="5398" y="1185"/>
                </a:lnTo>
                <a:lnTo>
                  <a:pt x="5395" y="1184"/>
                </a:lnTo>
                <a:lnTo>
                  <a:pt x="5392" y="1183"/>
                </a:lnTo>
                <a:lnTo>
                  <a:pt x="5395" y="1173"/>
                </a:lnTo>
                <a:lnTo>
                  <a:pt x="5398" y="1164"/>
                </a:lnTo>
                <a:lnTo>
                  <a:pt x="5399" y="1163"/>
                </a:lnTo>
                <a:lnTo>
                  <a:pt x="5400" y="1162"/>
                </a:lnTo>
                <a:lnTo>
                  <a:pt x="5404" y="1161"/>
                </a:lnTo>
                <a:lnTo>
                  <a:pt x="5409" y="1159"/>
                </a:lnTo>
                <a:lnTo>
                  <a:pt x="5412" y="1158"/>
                </a:lnTo>
                <a:lnTo>
                  <a:pt x="5413" y="1156"/>
                </a:lnTo>
                <a:lnTo>
                  <a:pt x="5415" y="1152"/>
                </a:lnTo>
                <a:lnTo>
                  <a:pt x="5416" y="1149"/>
                </a:lnTo>
                <a:lnTo>
                  <a:pt x="5417" y="1147"/>
                </a:lnTo>
                <a:lnTo>
                  <a:pt x="5419" y="1146"/>
                </a:lnTo>
                <a:lnTo>
                  <a:pt x="5420" y="1146"/>
                </a:lnTo>
                <a:lnTo>
                  <a:pt x="5425" y="1145"/>
                </a:lnTo>
                <a:lnTo>
                  <a:pt x="5429" y="1145"/>
                </a:lnTo>
                <a:lnTo>
                  <a:pt x="5431" y="1144"/>
                </a:lnTo>
                <a:lnTo>
                  <a:pt x="5432" y="1144"/>
                </a:lnTo>
                <a:lnTo>
                  <a:pt x="5433" y="1141"/>
                </a:lnTo>
                <a:lnTo>
                  <a:pt x="5434" y="1139"/>
                </a:lnTo>
                <a:lnTo>
                  <a:pt x="5435" y="1134"/>
                </a:lnTo>
                <a:lnTo>
                  <a:pt x="5436" y="1128"/>
                </a:lnTo>
                <a:lnTo>
                  <a:pt x="5437" y="1121"/>
                </a:lnTo>
                <a:lnTo>
                  <a:pt x="5432" y="1121"/>
                </a:lnTo>
                <a:lnTo>
                  <a:pt x="5430" y="1120"/>
                </a:lnTo>
                <a:lnTo>
                  <a:pt x="5429" y="1119"/>
                </a:lnTo>
                <a:lnTo>
                  <a:pt x="5428" y="1116"/>
                </a:lnTo>
                <a:lnTo>
                  <a:pt x="5429" y="1114"/>
                </a:lnTo>
                <a:lnTo>
                  <a:pt x="5429" y="1112"/>
                </a:lnTo>
                <a:lnTo>
                  <a:pt x="5429" y="1111"/>
                </a:lnTo>
                <a:lnTo>
                  <a:pt x="5429" y="1110"/>
                </a:lnTo>
                <a:lnTo>
                  <a:pt x="5442" y="1098"/>
                </a:lnTo>
                <a:lnTo>
                  <a:pt x="5456" y="1087"/>
                </a:lnTo>
                <a:lnTo>
                  <a:pt x="5468" y="1076"/>
                </a:lnTo>
                <a:lnTo>
                  <a:pt x="5470" y="1072"/>
                </a:lnTo>
                <a:lnTo>
                  <a:pt x="5471" y="1068"/>
                </a:lnTo>
                <a:lnTo>
                  <a:pt x="5474" y="1067"/>
                </a:lnTo>
                <a:lnTo>
                  <a:pt x="5479" y="1068"/>
                </a:lnTo>
                <a:lnTo>
                  <a:pt x="5488" y="1068"/>
                </a:lnTo>
                <a:lnTo>
                  <a:pt x="5487" y="1074"/>
                </a:lnTo>
                <a:lnTo>
                  <a:pt x="5485" y="1082"/>
                </a:lnTo>
                <a:lnTo>
                  <a:pt x="5493" y="1087"/>
                </a:lnTo>
                <a:lnTo>
                  <a:pt x="5496" y="1089"/>
                </a:lnTo>
                <a:lnTo>
                  <a:pt x="5500" y="1090"/>
                </a:lnTo>
                <a:lnTo>
                  <a:pt x="5504" y="1091"/>
                </a:lnTo>
                <a:lnTo>
                  <a:pt x="5507" y="1091"/>
                </a:lnTo>
                <a:lnTo>
                  <a:pt x="5512" y="1090"/>
                </a:lnTo>
                <a:lnTo>
                  <a:pt x="5516" y="1088"/>
                </a:lnTo>
                <a:lnTo>
                  <a:pt x="5516" y="1082"/>
                </a:lnTo>
                <a:lnTo>
                  <a:pt x="5520" y="1079"/>
                </a:lnTo>
                <a:lnTo>
                  <a:pt x="5523" y="1076"/>
                </a:lnTo>
                <a:lnTo>
                  <a:pt x="5527" y="1070"/>
                </a:lnTo>
                <a:lnTo>
                  <a:pt x="5530" y="1065"/>
                </a:lnTo>
                <a:lnTo>
                  <a:pt x="5532" y="1063"/>
                </a:lnTo>
                <a:lnTo>
                  <a:pt x="5533" y="1062"/>
                </a:lnTo>
                <a:lnTo>
                  <a:pt x="5538" y="1062"/>
                </a:lnTo>
                <a:lnTo>
                  <a:pt x="5540" y="1060"/>
                </a:lnTo>
                <a:lnTo>
                  <a:pt x="5540" y="1058"/>
                </a:lnTo>
                <a:lnTo>
                  <a:pt x="5541" y="1053"/>
                </a:lnTo>
                <a:lnTo>
                  <a:pt x="5542" y="1049"/>
                </a:lnTo>
                <a:lnTo>
                  <a:pt x="5543" y="1047"/>
                </a:lnTo>
                <a:lnTo>
                  <a:pt x="5544" y="1045"/>
                </a:lnTo>
                <a:lnTo>
                  <a:pt x="5545" y="1044"/>
                </a:lnTo>
                <a:lnTo>
                  <a:pt x="5547" y="1043"/>
                </a:lnTo>
                <a:lnTo>
                  <a:pt x="5551" y="1041"/>
                </a:lnTo>
                <a:lnTo>
                  <a:pt x="5555" y="1039"/>
                </a:lnTo>
                <a:lnTo>
                  <a:pt x="5558" y="1037"/>
                </a:lnTo>
                <a:lnTo>
                  <a:pt x="5559" y="1035"/>
                </a:lnTo>
                <a:lnTo>
                  <a:pt x="5560" y="1033"/>
                </a:lnTo>
                <a:lnTo>
                  <a:pt x="5561" y="1028"/>
                </a:lnTo>
                <a:lnTo>
                  <a:pt x="5562" y="1024"/>
                </a:lnTo>
                <a:lnTo>
                  <a:pt x="5564" y="1020"/>
                </a:lnTo>
                <a:lnTo>
                  <a:pt x="5566" y="1018"/>
                </a:lnTo>
                <a:lnTo>
                  <a:pt x="5569" y="1016"/>
                </a:lnTo>
                <a:lnTo>
                  <a:pt x="5575" y="1011"/>
                </a:lnTo>
                <a:lnTo>
                  <a:pt x="5582" y="1006"/>
                </a:lnTo>
                <a:lnTo>
                  <a:pt x="5584" y="1003"/>
                </a:lnTo>
                <a:lnTo>
                  <a:pt x="5586" y="1000"/>
                </a:lnTo>
                <a:lnTo>
                  <a:pt x="5588" y="997"/>
                </a:lnTo>
                <a:lnTo>
                  <a:pt x="5589" y="992"/>
                </a:lnTo>
                <a:lnTo>
                  <a:pt x="5591" y="983"/>
                </a:lnTo>
                <a:lnTo>
                  <a:pt x="5593" y="974"/>
                </a:lnTo>
                <a:lnTo>
                  <a:pt x="5595" y="970"/>
                </a:lnTo>
                <a:lnTo>
                  <a:pt x="5597" y="967"/>
                </a:lnTo>
                <a:lnTo>
                  <a:pt x="5599" y="966"/>
                </a:lnTo>
                <a:lnTo>
                  <a:pt x="5602" y="965"/>
                </a:lnTo>
                <a:lnTo>
                  <a:pt x="5606" y="964"/>
                </a:lnTo>
                <a:lnTo>
                  <a:pt x="5607" y="962"/>
                </a:lnTo>
                <a:lnTo>
                  <a:pt x="5607" y="960"/>
                </a:lnTo>
                <a:lnTo>
                  <a:pt x="5607" y="957"/>
                </a:lnTo>
                <a:lnTo>
                  <a:pt x="5607" y="953"/>
                </a:lnTo>
                <a:lnTo>
                  <a:pt x="5608" y="951"/>
                </a:lnTo>
                <a:lnTo>
                  <a:pt x="5609" y="950"/>
                </a:lnTo>
                <a:lnTo>
                  <a:pt x="5612" y="946"/>
                </a:lnTo>
                <a:lnTo>
                  <a:pt x="5618" y="943"/>
                </a:lnTo>
                <a:lnTo>
                  <a:pt x="5623" y="939"/>
                </a:lnTo>
                <a:lnTo>
                  <a:pt x="5624" y="938"/>
                </a:lnTo>
                <a:lnTo>
                  <a:pt x="5626" y="936"/>
                </a:lnTo>
                <a:lnTo>
                  <a:pt x="5626" y="933"/>
                </a:lnTo>
                <a:lnTo>
                  <a:pt x="5625" y="930"/>
                </a:lnTo>
                <a:lnTo>
                  <a:pt x="5625" y="927"/>
                </a:lnTo>
                <a:lnTo>
                  <a:pt x="5625" y="926"/>
                </a:lnTo>
                <a:lnTo>
                  <a:pt x="5626" y="924"/>
                </a:lnTo>
                <a:lnTo>
                  <a:pt x="5631" y="924"/>
                </a:lnTo>
                <a:lnTo>
                  <a:pt x="5626" y="916"/>
                </a:lnTo>
                <a:lnTo>
                  <a:pt x="5630" y="909"/>
                </a:lnTo>
                <a:lnTo>
                  <a:pt x="5633" y="905"/>
                </a:lnTo>
                <a:lnTo>
                  <a:pt x="5634" y="903"/>
                </a:lnTo>
                <a:lnTo>
                  <a:pt x="5634" y="902"/>
                </a:lnTo>
                <a:lnTo>
                  <a:pt x="5633" y="897"/>
                </a:lnTo>
                <a:lnTo>
                  <a:pt x="5631" y="891"/>
                </a:lnTo>
                <a:lnTo>
                  <a:pt x="5629" y="885"/>
                </a:lnTo>
                <a:lnTo>
                  <a:pt x="5628" y="882"/>
                </a:lnTo>
                <a:lnTo>
                  <a:pt x="5628" y="879"/>
                </a:lnTo>
                <a:lnTo>
                  <a:pt x="5629" y="878"/>
                </a:lnTo>
                <a:lnTo>
                  <a:pt x="5631" y="876"/>
                </a:lnTo>
                <a:lnTo>
                  <a:pt x="5633" y="873"/>
                </a:lnTo>
                <a:lnTo>
                  <a:pt x="5634" y="871"/>
                </a:lnTo>
                <a:lnTo>
                  <a:pt x="5632" y="865"/>
                </a:lnTo>
                <a:lnTo>
                  <a:pt x="5631" y="863"/>
                </a:lnTo>
                <a:lnTo>
                  <a:pt x="5631" y="862"/>
                </a:lnTo>
                <a:lnTo>
                  <a:pt x="5633" y="860"/>
                </a:lnTo>
                <a:lnTo>
                  <a:pt x="5635" y="859"/>
                </a:lnTo>
                <a:lnTo>
                  <a:pt x="5638" y="857"/>
                </a:lnTo>
                <a:lnTo>
                  <a:pt x="5640" y="856"/>
                </a:lnTo>
                <a:lnTo>
                  <a:pt x="5641" y="854"/>
                </a:lnTo>
                <a:lnTo>
                  <a:pt x="5642" y="852"/>
                </a:lnTo>
                <a:lnTo>
                  <a:pt x="5643" y="848"/>
                </a:lnTo>
                <a:lnTo>
                  <a:pt x="5643" y="844"/>
                </a:lnTo>
                <a:lnTo>
                  <a:pt x="5643" y="840"/>
                </a:lnTo>
                <a:lnTo>
                  <a:pt x="5641" y="832"/>
                </a:lnTo>
                <a:lnTo>
                  <a:pt x="5640" y="822"/>
                </a:lnTo>
                <a:lnTo>
                  <a:pt x="5644" y="822"/>
                </a:lnTo>
                <a:lnTo>
                  <a:pt x="5647" y="822"/>
                </a:lnTo>
                <a:lnTo>
                  <a:pt x="5650" y="822"/>
                </a:lnTo>
                <a:lnTo>
                  <a:pt x="5654" y="822"/>
                </a:lnTo>
                <a:lnTo>
                  <a:pt x="5654" y="819"/>
                </a:lnTo>
                <a:lnTo>
                  <a:pt x="5651" y="818"/>
                </a:lnTo>
                <a:lnTo>
                  <a:pt x="5648" y="818"/>
                </a:lnTo>
                <a:lnTo>
                  <a:pt x="5646" y="817"/>
                </a:lnTo>
                <a:lnTo>
                  <a:pt x="5642" y="817"/>
                </a:lnTo>
                <a:lnTo>
                  <a:pt x="5642" y="811"/>
                </a:lnTo>
                <a:lnTo>
                  <a:pt x="5641" y="811"/>
                </a:lnTo>
                <a:lnTo>
                  <a:pt x="5640" y="811"/>
                </a:lnTo>
                <a:lnTo>
                  <a:pt x="5640" y="812"/>
                </a:lnTo>
                <a:lnTo>
                  <a:pt x="5639" y="813"/>
                </a:lnTo>
                <a:lnTo>
                  <a:pt x="5639" y="814"/>
                </a:lnTo>
                <a:lnTo>
                  <a:pt x="5638" y="814"/>
                </a:lnTo>
                <a:lnTo>
                  <a:pt x="5637" y="814"/>
                </a:lnTo>
                <a:lnTo>
                  <a:pt x="5634" y="811"/>
                </a:lnTo>
                <a:lnTo>
                  <a:pt x="5631" y="808"/>
                </a:lnTo>
                <a:lnTo>
                  <a:pt x="5626" y="800"/>
                </a:lnTo>
                <a:lnTo>
                  <a:pt x="5621" y="793"/>
                </a:lnTo>
                <a:lnTo>
                  <a:pt x="5618" y="790"/>
                </a:lnTo>
                <a:lnTo>
                  <a:pt x="5614" y="788"/>
                </a:lnTo>
                <a:lnTo>
                  <a:pt x="5605" y="786"/>
                </a:lnTo>
                <a:lnTo>
                  <a:pt x="5602" y="785"/>
                </a:lnTo>
                <a:lnTo>
                  <a:pt x="5600" y="785"/>
                </a:lnTo>
                <a:lnTo>
                  <a:pt x="5598" y="786"/>
                </a:lnTo>
                <a:lnTo>
                  <a:pt x="5597" y="787"/>
                </a:lnTo>
                <a:lnTo>
                  <a:pt x="5596" y="788"/>
                </a:lnTo>
                <a:lnTo>
                  <a:pt x="5596" y="790"/>
                </a:lnTo>
                <a:lnTo>
                  <a:pt x="5596" y="793"/>
                </a:lnTo>
                <a:lnTo>
                  <a:pt x="5597" y="796"/>
                </a:lnTo>
                <a:lnTo>
                  <a:pt x="5597" y="798"/>
                </a:lnTo>
                <a:lnTo>
                  <a:pt x="5597" y="800"/>
                </a:lnTo>
                <a:lnTo>
                  <a:pt x="5592" y="800"/>
                </a:lnTo>
                <a:lnTo>
                  <a:pt x="5593" y="798"/>
                </a:lnTo>
                <a:lnTo>
                  <a:pt x="5593" y="797"/>
                </a:lnTo>
                <a:lnTo>
                  <a:pt x="5592" y="797"/>
                </a:lnTo>
                <a:lnTo>
                  <a:pt x="5589" y="797"/>
                </a:lnTo>
                <a:lnTo>
                  <a:pt x="5587" y="800"/>
                </a:lnTo>
                <a:lnTo>
                  <a:pt x="5586" y="803"/>
                </a:lnTo>
                <a:lnTo>
                  <a:pt x="5585" y="805"/>
                </a:lnTo>
                <a:lnTo>
                  <a:pt x="5584" y="806"/>
                </a:lnTo>
                <a:lnTo>
                  <a:pt x="5582" y="807"/>
                </a:lnTo>
                <a:lnTo>
                  <a:pt x="5581" y="808"/>
                </a:lnTo>
                <a:lnTo>
                  <a:pt x="5579" y="808"/>
                </a:lnTo>
                <a:lnTo>
                  <a:pt x="5577" y="808"/>
                </a:lnTo>
                <a:lnTo>
                  <a:pt x="5576" y="807"/>
                </a:lnTo>
                <a:lnTo>
                  <a:pt x="5575" y="806"/>
                </a:lnTo>
                <a:lnTo>
                  <a:pt x="5574" y="805"/>
                </a:lnTo>
                <a:lnTo>
                  <a:pt x="5575" y="804"/>
                </a:lnTo>
                <a:lnTo>
                  <a:pt x="5576" y="803"/>
                </a:lnTo>
                <a:lnTo>
                  <a:pt x="5578" y="802"/>
                </a:lnTo>
                <a:lnTo>
                  <a:pt x="5581" y="794"/>
                </a:lnTo>
                <a:lnTo>
                  <a:pt x="5579" y="794"/>
                </a:lnTo>
                <a:lnTo>
                  <a:pt x="5578" y="794"/>
                </a:lnTo>
                <a:lnTo>
                  <a:pt x="5576" y="791"/>
                </a:lnTo>
                <a:lnTo>
                  <a:pt x="5575" y="789"/>
                </a:lnTo>
                <a:lnTo>
                  <a:pt x="5574" y="788"/>
                </a:lnTo>
                <a:lnTo>
                  <a:pt x="5572" y="788"/>
                </a:lnTo>
                <a:lnTo>
                  <a:pt x="5572" y="794"/>
                </a:lnTo>
                <a:lnTo>
                  <a:pt x="5571" y="794"/>
                </a:lnTo>
                <a:lnTo>
                  <a:pt x="5570" y="794"/>
                </a:lnTo>
                <a:lnTo>
                  <a:pt x="5569" y="794"/>
                </a:lnTo>
                <a:lnTo>
                  <a:pt x="5569" y="795"/>
                </a:lnTo>
                <a:lnTo>
                  <a:pt x="5569" y="800"/>
                </a:lnTo>
                <a:lnTo>
                  <a:pt x="5564" y="800"/>
                </a:lnTo>
                <a:lnTo>
                  <a:pt x="5564" y="772"/>
                </a:lnTo>
                <a:lnTo>
                  <a:pt x="5550" y="772"/>
                </a:lnTo>
                <a:lnTo>
                  <a:pt x="5543" y="772"/>
                </a:lnTo>
                <a:lnTo>
                  <a:pt x="5536" y="772"/>
                </a:lnTo>
                <a:lnTo>
                  <a:pt x="5537" y="768"/>
                </a:lnTo>
                <a:lnTo>
                  <a:pt x="5538" y="764"/>
                </a:lnTo>
                <a:lnTo>
                  <a:pt x="5539" y="761"/>
                </a:lnTo>
                <a:lnTo>
                  <a:pt x="5540" y="759"/>
                </a:lnTo>
                <a:lnTo>
                  <a:pt x="5541" y="757"/>
                </a:lnTo>
                <a:lnTo>
                  <a:pt x="5575" y="726"/>
                </a:lnTo>
                <a:lnTo>
                  <a:pt x="5581" y="726"/>
                </a:lnTo>
                <a:lnTo>
                  <a:pt x="5581" y="725"/>
                </a:lnTo>
                <a:lnTo>
                  <a:pt x="5581" y="722"/>
                </a:lnTo>
                <a:lnTo>
                  <a:pt x="5580" y="720"/>
                </a:lnTo>
                <a:lnTo>
                  <a:pt x="5581" y="718"/>
                </a:lnTo>
                <a:lnTo>
                  <a:pt x="5582" y="717"/>
                </a:lnTo>
                <a:lnTo>
                  <a:pt x="5585" y="717"/>
                </a:lnTo>
                <a:lnTo>
                  <a:pt x="5587" y="716"/>
                </a:lnTo>
                <a:lnTo>
                  <a:pt x="5588" y="716"/>
                </a:lnTo>
                <a:lnTo>
                  <a:pt x="5589" y="715"/>
                </a:lnTo>
                <a:lnTo>
                  <a:pt x="5591" y="712"/>
                </a:lnTo>
                <a:lnTo>
                  <a:pt x="5592" y="709"/>
                </a:lnTo>
                <a:lnTo>
                  <a:pt x="5593" y="706"/>
                </a:lnTo>
                <a:lnTo>
                  <a:pt x="5593" y="703"/>
                </a:lnTo>
                <a:lnTo>
                  <a:pt x="5594" y="697"/>
                </a:lnTo>
                <a:lnTo>
                  <a:pt x="5595" y="693"/>
                </a:lnTo>
                <a:lnTo>
                  <a:pt x="5597" y="695"/>
                </a:lnTo>
                <a:lnTo>
                  <a:pt x="5599" y="696"/>
                </a:lnTo>
                <a:lnTo>
                  <a:pt x="5600" y="696"/>
                </a:lnTo>
                <a:lnTo>
                  <a:pt x="5603" y="693"/>
                </a:lnTo>
                <a:lnTo>
                  <a:pt x="5605" y="690"/>
                </a:lnTo>
                <a:lnTo>
                  <a:pt x="5607" y="687"/>
                </a:lnTo>
                <a:lnTo>
                  <a:pt x="5609" y="684"/>
                </a:lnTo>
                <a:lnTo>
                  <a:pt x="5626" y="676"/>
                </a:lnTo>
                <a:lnTo>
                  <a:pt x="5626" y="671"/>
                </a:lnTo>
                <a:lnTo>
                  <a:pt x="5626" y="667"/>
                </a:lnTo>
                <a:lnTo>
                  <a:pt x="5628" y="667"/>
                </a:lnTo>
                <a:lnTo>
                  <a:pt x="5631" y="668"/>
                </a:lnTo>
                <a:lnTo>
                  <a:pt x="5635" y="668"/>
                </a:lnTo>
                <a:lnTo>
                  <a:pt x="5636" y="668"/>
                </a:lnTo>
                <a:lnTo>
                  <a:pt x="5637" y="667"/>
                </a:lnTo>
                <a:lnTo>
                  <a:pt x="5638" y="664"/>
                </a:lnTo>
                <a:lnTo>
                  <a:pt x="5639" y="659"/>
                </a:lnTo>
                <a:lnTo>
                  <a:pt x="5639" y="655"/>
                </a:lnTo>
                <a:lnTo>
                  <a:pt x="5639" y="653"/>
                </a:lnTo>
                <a:lnTo>
                  <a:pt x="5639" y="652"/>
                </a:lnTo>
                <a:lnTo>
                  <a:pt x="5640" y="651"/>
                </a:lnTo>
                <a:lnTo>
                  <a:pt x="5641" y="648"/>
                </a:lnTo>
                <a:lnTo>
                  <a:pt x="5644" y="644"/>
                </a:lnTo>
                <a:lnTo>
                  <a:pt x="5652" y="635"/>
                </a:lnTo>
                <a:lnTo>
                  <a:pt x="5661" y="627"/>
                </a:lnTo>
                <a:lnTo>
                  <a:pt x="5668" y="622"/>
                </a:lnTo>
                <a:lnTo>
                  <a:pt x="5668" y="620"/>
                </a:lnTo>
                <a:lnTo>
                  <a:pt x="5672" y="620"/>
                </a:lnTo>
                <a:lnTo>
                  <a:pt x="5676" y="620"/>
                </a:lnTo>
                <a:lnTo>
                  <a:pt x="5677" y="619"/>
                </a:lnTo>
                <a:lnTo>
                  <a:pt x="5677" y="618"/>
                </a:lnTo>
                <a:lnTo>
                  <a:pt x="5676" y="615"/>
                </a:lnTo>
                <a:lnTo>
                  <a:pt x="5676" y="613"/>
                </a:lnTo>
                <a:lnTo>
                  <a:pt x="5676" y="612"/>
                </a:lnTo>
                <a:lnTo>
                  <a:pt x="5676" y="611"/>
                </a:lnTo>
                <a:lnTo>
                  <a:pt x="5679" y="611"/>
                </a:lnTo>
                <a:lnTo>
                  <a:pt x="5681" y="612"/>
                </a:lnTo>
                <a:lnTo>
                  <a:pt x="5683" y="613"/>
                </a:lnTo>
                <a:lnTo>
                  <a:pt x="5684" y="615"/>
                </a:lnTo>
                <a:lnTo>
                  <a:pt x="5687" y="618"/>
                </a:lnTo>
                <a:lnTo>
                  <a:pt x="5687" y="620"/>
                </a:lnTo>
                <a:lnTo>
                  <a:pt x="5692" y="620"/>
                </a:lnTo>
                <a:lnTo>
                  <a:pt x="5697" y="620"/>
                </a:lnTo>
                <a:lnTo>
                  <a:pt x="5711" y="620"/>
                </a:lnTo>
                <a:lnTo>
                  <a:pt x="5726" y="619"/>
                </a:lnTo>
                <a:lnTo>
                  <a:pt x="5736" y="620"/>
                </a:lnTo>
                <a:lnTo>
                  <a:pt x="5735" y="621"/>
                </a:lnTo>
                <a:lnTo>
                  <a:pt x="5735" y="622"/>
                </a:lnTo>
                <a:lnTo>
                  <a:pt x="5735" y="625"/>
                </a:lnTo>
                <a:lnTo>
                  <a:pt x="5736" y="631"/>
                </a:lnTo>
                <a:lnTo>
                  <a:pt x="5738" y="630"/>
                </a:lnTo>
                <a:lnTo>
                  <a:pt x="5741" y="629"/>
                </a:lnTo>
                <a:lnTo>
                  <a:pt x="5743" y="629"/>
                </a:lnTo>
                <a:lnTo>
                  <a:pt x="5745" y="628"/>
                </a:lnTo>
                <a:lnTo>
                  <a:pt x="5745" y="627"/>
                </a:lnTo>
                <a:lnTo>
                  <a:pt x="5746" y="626"/>
                </a:lnTo>
                <a:lnTo>
                  <a:pt x="5746" y="624"/>
                </a:lnTo>
                <a:lnTo>
                  <a:pt x="5747" y="621"/>
                </a:lnTo>
                <a:lnTo>
                  <a:pt x="5748" y="620"/>
                </a:lnTo>
                <a:lnTo>
                  <a:pt x="5751" y="622"/>
                </a:lnTo>
                <a:lnTo>
                  <a:pt x="5753" y="624"/>
                </a:lnTo>
                <a:lnTo>
                  <a:pt x="5756" y="627"/>
                </a:lnTo>
                <a:lnTo>
                  <a:pt x="5759" y="628"/>
                </a:lnTo>
                <a:lnTo>
                  <a:pt x="5762" y="629"/>
                </a:lnTo>
                <a:lnTo>
                  <a:pt x="5765" y="628"/>
                </a:lnTo>
                <a:lnTo>
                  <a:pt x="5772" y="627"/>
                </a:lnTo>
                <a:lnTo>
                  <a:pt x="5777" y="626"/>
                </a:lnTo>
                <a:lnTo>
                  <a:pt x="5780" y="625"/>
                </a:lnTo>
                <a:lnTo>
                  <a:pt x="5781" y="625"/>
                </a:lnTo>
                <a:lnTo>
                  <a:pt x="5782" y="626"/>
                </a:lnTo>
                <a:lnTo>
                  <a:pt x="5783" y="627"/>
                </a:lnTo>
                <a:lnTo>
                  <a:pt x="5785" y="629"/>
                </a:lnTo>
                <a:lnTo>
                  <a:pt x="5786" y="630"/>
                </a:lnTo>
                <a:lnTo>
                  <a:pt x="5788" y="631"/>
                </a:lnTo>
                <a:lnTo>
                  <a:pt x="5790" y="631"/>
                </a:lnTo>
                <a:lnTo>
                  <a:pt x="5793" y="631"/>
                </a:lnTo>
                <a:lnTo>
                  <a:pt x="5793" y="611"/>
                </a:lnTo>
                <a:lnTo>
                  <a:pt x="5801" y="613"/>
                </a:lnTo>
                <a:lnTo>
                  <a:pt x="5810" y="613"/>
                </a:lnTo>
                <a:lnTo>
                  <a:pt x="5817" y="613"/>
                </a:lnTo>
                <a:lnTo>
                  <a:pt x="5820" y="613"/>
                </a:lnTo>
                <a:lnTo>
                  <a:pt x="5824" y="614"/>
                </a:lnTo>
                <a:lnTo>
                  <a:pt x="5824" y="615"/>
                </a:lnTo>
                <a:lnTo>
                  <a:pt x="5824" y="618"/>
                </a:lnTo>
                <a:lnTo>
                  <a:pt x="5824" y="619"/>
                </a:lnTo>
                <a:lnTo>
                  <a:pt x="5825" y="620"/>
                </a:lnTo>
                <a:lnTo>
                  <a:pt x="5827" y="620"/>
                </a:lnTo>
                <a:lnTo>
                  <a:pt x="5829" y="620"/>
                </a:lnTo>
                <a:lnTo>
                  <a:pt x="5829" y="614"/>
                </a:lnTo>
                <a:lnTo>
                  <a:pt x="5836" y="613"/>
                </a:lnTo>
                <a:lnTo>
                  <a:pt x="5838" y="612"/>
                </a:lnTo>
                <a:lnTo>
                  <a:pt x="5840" y="611"/>
                </a:lnTo>
                <a:lnTo>
                  <a:pt x="5842" y="614"/>
                </a:lnTo>
                <a:lnTo>
                  <a:pt x="5843" y="618"/>
                </a:lnTo>
                <a:lnTo>
                  <a:pt x="5845" y="622"/>
                </a:lnTo>
                <a:lnTo>
                  <a:pt x="5846" y="625"/>
                </a:lnTo>
                <a:lnTo>
                  <a:pt x="5849" y="625"/>
                </a:lnTo>
                <a:lnTo>
                  <a:pt x="5850" y="625"/>
                </a:lnTo>
                <a:lnTo>
                  <a:pt x="5851" y="626"/>
                </a:lnTo>
                <a:lnTo>
                  <a:pt x="5851" y="627"/>
                </a:lnTo>
                <a:lnTo>
                  <a:pt x="5851" y="629"/>
                </a:lnTo>
                <a:lnTo>
                  <a:pt x="5851" y="630"/>
                </a:lnTo>
                <a:lnTo>
                  <a:pt x="5852" y="631"/>
                </a:lnTo>
                <a:lnTo>
                  <a:pt x="5842" y="630"/>
                </a:lnTo>
                <a:lnTo>
                  <a:pt x="5837" y="630"/>
                </a:lnTo>
                <a:lnTo>
                  <a:pt x="5832" y="631"/>
                </a:lnTo>
                <a:lnTo>
                  <a:pt x="5835" y="645"/>
                </a:lnTo>
                <a:lnTo>
                  <a:pt x="5845" y="644"/>
                </a:lnTo>
                <a:lnTo>
                  <a:pt x="5850" y="644"/>
                </a:lnTo>
                <a:lnTo>
                  <a:pt x="5854" y="645"/>
                </a:lnTo>
                <a:lnTo>
                  <a:pt x="5854" y="644"/>
                </a:lnTo>
                <a:lnTo>
                  <a:pt x="5853" y="644"/>
                </a:lnTo>
                <a:lnTo>
                  <a:pt x="5854" y="642"/>
                </a:lnTo>
                <a:lnTo>
                  <a:pt x="5855" y="641"/>
                </a:lnTo>
                <a:lnTo>
                  <a:pt x="5857" y="636"/>
                </a:lnTo>
                <a:lnTo>
                  <a:pt x="5859" y="638"/>
                </a:lnTo>
                <a:lnTo>
                  <a:pt x="5861" y="640"/>
                </a:lnTo>
                <a:lnTo>
                  <a:pt x="5863" y="641"/>
                </a:lnTo>
                <a:lnTo>
                  <a:pt x="5866" y="642"/>
                </a:lnTo>
                <a:lnTo>
                  <a:pt x="5866" y="641"/>
                </a:lnTo>
                <a:lnTo>
                  <a:pt x="5866" y="640"/>
                </a:lnTo>
                <a:lnTo>
                  <a:pt x="5866" y="638"/>
                </a:lnTo>
                <a:lnTo>
                  <a:pt x="5865" y="636"/>
                </a:lnTo>
                <a:lnTo>
                  <a:pt x="5865" y="635"/>
                </a:lnTo>
                <a:lnTo>
                  <a:pt x="5866" y="634"/>
                </a:lnTo>
                <a:lnTo>
                  <a:pt x="5871" y="634"/>
                </a:lnTo>
                <a:lnTo>
                  <a:pt x="5874" y="625"/>
                </a:lnTo>
                <a:lnTo>
                  <a:pt x="5877" y="626"/>
                </a:lnTo>
                <a:lnTo>
                  <a:pt x="5880" y="626"/>
                </a:lnTo>
                <a:lnTo>
                  <a:pt x="5885" y="625"/>
                </a:lnTo>
                <a:lnTo>
                  <a:pt x="5891" y="625"/>
                </a:lnTo>
                <a:lnTo>
                  <a:pt x="5895" y="625"/>
                </a:lnTo>
                <a:lnTo>
                  <a:pt x="5899" y="625"/>
                </a:lnTo>
                <a:lnTo>
                  <a:pt x="5898" y="624"/>
                </a:lnTo>
                <a:lnTo>
                  <a:pt x="5899" y="623"/>
                </a:lnTo>
                <a:lnTo>
                  <a:pt x="5900" y="623"/>
                </a:lnTo>
                <a:lnTo>
                  <a:pt x="5905" y="622"/>
                </a:lnTo>
                <a:lnTo>
                  <a:pt x="5902" y="614"/>
                </a:lnTo>
                <a:lnTo>
                  <a:pt x="5898" y="614"/>
                </a:lnTo>
                <a:lnTo>
                  <a:pt x="5891" y="614"/>
                </a:lnTo>
                <a:lnTo>
                  <a:pt x="5891" y="617"/>
                </a:lnTo>
                <a:lnTo>
                  <a:pt x="5890" y="617"/>
                </a:lnTo>
                <a:lnTo>
                  <a:pt x="5888" y="617"/>
                </a:lnTo>
                <a:lnTo>
                  <a:pt x="5885" y="617"/>
                </a:lnTo>
                <a:lnTo>
                  <a:pt x="5886" y="607"/>
                </a:lnTo>
                <a:lnTo>
                  <a:pt x="5886" y="602"/>
                </a:lnTo>
                <a:lnTo>
                  <a:pt x="5885" y="597"/>
                </a:lnTo>
                <a:lnTo>
                  <a:pt x="5888" y="599"/>
                </a:lnTo>
                <a:lnTo>
                  <a:pt x="5890" y="600"/>
                </a:lnTo>
                <a:lnTo>
                  <a:pt x="5891" y="600"/>
                </a:lnTo>
                <a:lnTo>
                  <a:pt x="5892" y="598"/>
                </a:lnTo>
                <a:lnTo>
                  <a:pt x="5892" y="596"/>
                </a:lnTo>
                <a:lnTo>
                  <a:pt x="5892" y="592"/>
                </a:lnTo>
                <a:lnTo>
                  <a:pt x="5892" y="589"/>
                </a:lnTo>
                <a:lnTo>
                  <a:pt x="5893" y="587"/>
                </a:lnTo>
                <a:lnTo>
                  <a:pt x="5894" y="586"/>
                </a:lnTo>
                <a:lnTo>
                  <a:pt x="5895" y="585"/>
                </a:lnTo>
                <a:lnTo>
                  <a:pt x="5897" y="583"/>
                </a:lnTo>
                <a:lnTo>
                  <a:pt x="5900" y="582"/>
                </a:lnTo>
                <a:lnTo>
                  <a:pt x="5908" y="579"/>
                </a:lnTo>
                <a:lnTo>
                  <a:pt x="5915" y="576"/>
                </a:lnTo>
                <a:lnTo>
                  <a:pt x="5919" y="574"/>
                </a:lnTo>
                <a:lnTo>
                  <a:pt x="5922" y="572"/>
                </a:lnTo>
                <a:lnTo>
                  <a:pt x="5922" y="570"/>
                </a:lnTo>
                <a:lnTo>
                  <a:pt x="5922" y="568"/>
                </a:lnTo>
                <a:lnTo>
                  <a:pt x="5922" y="565"/>
                </a:lnTo>
                <a:lnTo>
                  <a:pt x="5922" y="563"/>
                </a:lnTo>
                <a:lnTo>
                  <a:pt x="5925" y="563"/>
                </a:lnTo>
                <a:lnTo>
                  <a:pt x="5927" y="561"/>
                </a:lnTo>
                <a:lnTo>
                  <a:pt x="5930" y="557"/>
                </a:lnTo>
                <a:lnTo>
                  <a:pt x="5933" y="552"/>
                </a:lnTo>
                <a:lnTo>
                  <a:pt x="5936" y="550"/>
                </a:lnTo>
                <a:lnTo>
                  <a:pt x="5940" y="549"/>
                </a:lnTo>
                <a:lnTo>
                  <a:pt x="5943" y="548"/>
                </a:lnTo>
                <a:lnTo>
                  <a:pt x="5946" y="548"/>
                </a:lnTo>
                <a:lnTo>
                  <a:pt x="5953" y="547"/>
                </a:lnTo>
                <a:lnTo>
                  <a:pt x="5961" y="546"/>
                </a:lnTo>
                <a:lnTo>
                  <a:pt x="5965" y="545"/>
                </a:lnTo>
                <a:lnTo>
                  <a:pt x="5969" y="543"/>
                </a:lnTo>
                <a:lnTo>
                  <a:pt x="5974" y="541"/>
                </a:lnTo>
                <a:lnTo>
                  <a:pt x="5976" y="541"/>
                </a:lnTo>
                <a:lnTo>
                  <a:pt x="5978" y="541"/>
                </a:lnTo>
                <a:lnTo>
                  <a:pt x="5981" y="549"/>
                </a:lnTo>
                <a:lnTo>
                  <a:pt x="5983" y="550"/>
                </a:lnTo>
                <a:lnTo>
                  <a:pt x="5985" y="551"/>
                </a:lnTo>
                <a:lnTo>
                  <a:pt x="5988" y="551"/>
                </a:lnTo>
                <a:lnTo>
                  <a:pt x="5989" y="552"/>
                </a:lnTo>
                <a:lnTo>
                  <a:pt x="5989" y="549"/>
                </a:lnTo>
                <a:lnTo>
                  <a:pt x="6001" y="544"/>
                </a:lnTo>
                <a:lnTo>
                  <a:pt x="5998" y="550"/>
                </a:lnTo>
                <a:lnTo>
                  <a:pt x="5997" y="557"/>
                </a:lnTo>
                <a:lnTo>
                  <a:pt x="5996" y="559"/>
                </a:lnTo>
                <a:lnTo>
                  <a:pt x="5994" y="562"/>
                </a:lnTo>
                <a:lnTo>
                  <a:pt x="5992" y="564"/>
                </a:lnTo>
                <a:lnTo>
                  <a:pt x="5989" y="566"/>
                </a:lnTo>
                <a:lnTo>
                  <a:pt x="5989" y="567"/>
                </a:lnTo>
                <a:lnTo>
                  <a:pt x="5990" y="568"/>
                </a:lnTo>
                <a:lnTo>
                  <a:pt x="5992" y="570"/>
                </a:lnTo>
                <a:lnTo>
                  <a:pt x="5992" y="571"/>
                </a:lnTo>
                <a:lnTo>
                  <a:pt x="5992" y="572"/>
                </a:lnTo>
                <a:lnTo>
                  <a:pt x="5997" y="570"/>
                </a:lnTo>
                <a:lnTo>
                  <a:pt x="6001" y="569"/>
                </a:lnTo>
                <a:lnTo>
                  <a:pt x="6000" y="570"/>
                </a:lnTo>
                <a:lnTo>
                  <a:pt x="6000" y="571"/>
                </a:lnTo>
                <a:lnTo>
                  <a:pt x="5999" y="575"/>
                </a:lnTo>
                <a:lnTo>
                  <a:pt x="5998" y="583"/>
                </a:lnTo>
                <a:lnTo>
                  <a:pt x="6002" y="579"/>
                </a:lnTo>
                <a:lnTo>
                  <a:pt x="6004" y="576"/>
                </a:lnTo>
                <a:lnTo>
                  <a:pt x="6006" y="575"/>
                </a:lnTo>
                <a:lnTo>
                  <a:pt x="6010" y="572"/>
                </a:lnTo>
                <a:lnTo>
                  <a:pt x="6013" y="568"/>
                </a:lnTo>
                <a:lnTo>
                  <a:pt x="6020" y="561"/>
                </a:lnTo>
                <a:lnTo>
                  <a:pt x="6026" y="553"/>
                </a:lnTo>
                <a:lnTo>
                  <a:pt x="6029" y="551"/>
                </a:lnTo>
                <a:lnTo>
                  <a:pt x="6032" y="549"/>
                </a:lnTo>
                <a:lnTo>
                  <a:pt x="6036" y="548"/>
                </a:lnTo>
                <a:lnTo>
                  <a:pt x="6040" y="547"/>
                </a:lnTo>
                <a:lnTo>
                  <a:pt x="6044" y="548"/>
                </a:lnTo>
                <a:lnTo>
                  <a:pt x="6046" y="548"/>
                </a:lnTo>
                <a:lnTo>
                  <a:pt x="6048" y="550"/>
                </a:lnTo>
                <a:lnTo>
                  <a:pt x="6049" y="551"/>
                </a:lnTo>
                <a:lnTo>
                  <a:pt x="6049" y="552"/>
                </a:lnTo>
                <a:lnTo>
                  <a:pt x="6050" y="551"/>
                </a:lnTo>
                <a:lnTo>
                  <a:pt x="6052" y="550"/>
                </a:lnTo>
                <a:lnTo>
                  <a:pt x="6053" y="549"/>
                </a:lnTo>
                <a:lnTo>
                  <a:pt x="6054" y="549"/>
                </a:lnTo>
                <a:lnTo>
                  <a:pt x="6057" y="549"/>
                </a:lnTo>
                <a:lnTo>
                  <a:pt x="6054" y="542"/>
                </a:lnTo>
                <a:lnTo>
                  <a:pt x="6054" y="540"/>
                </a:lnTo>
                <a:lnTo>
                  <a:pt x="6053" y="538"/>
                </a:lnTo>
                <a:lnTo>
                  <a:pt x="6053" y="536"/>
                </a:lnTo>
                <a:lnTo>
                  <a:pt x="6054" y="535"/>
                </a:lnTo>
                <a:lnTo>
                  <a:pt x="6053" y="536"/>
                </a:lnTo>
                <a:lnTo>
                  <a:pt x="6052" y="537"/>
                </a:lnTo>
                <a:lnTo>
                  <a:pt x="6052" y="536"/>
                </a:lnTo>
                <a:lnTo>
                  <a:pt x="6052" y="534"/>
                </a:lnTo>
                <a:lnTo>
                  <a:pt x="6051" y="530"/>
                </a:lnTo>
                <a:lnTo>
                  <a:pt x="6063" y="520"/>
                </a:lnTo>
                <a:lnTo>
                  <a:pt x="6067" y="518"/>
                </a:lnTo>
                <a:lnTo>
                  <a:pt x="6070" y="517"/>
                </a:lnTo>
                <a:lnTo>
                  <a:pt x="6073" y="518"/>
                </a:lnTo>
                <a:lnTo>
                  <a:pt x="6076" y="519"/>
                </a:lnTo>
                <a:lnTo>
                  <a:pt x="6082" y="521"/>
                </a:lnTo>
                <a:lnTo>
                  <a:pt x="6091" y="524"/>
                </a:lnTo>
                <a:lnTo>
                  <a:pt x="6091" y="527"/>
                </a:lnTo>
                <a:lnTo>
                  <a:pt x="6082" y="527"/>
                </a:lnTo>
                <a:lnTo>
                  <a:pt x="6083" y="526"/>
                </a:lnTo>
                <a:lnTo>
                  <a:pt x="6083" y="525"/>
                </a:lnTo>
                <a:lnTo>
                  <a:pt x="6082" y="525"/>
                </a:lnTo>
                <a:lnTo>
                  <a:pt x="6080" y="524"/>
                </a:lnTo>
                <a:lnTo>
                  <a:pt x="6076" y="524"/>
                </a:lnTo>
                <a:lnTo>
                  <a:pt x="6074" y="524"/>
                </a:lnTo>
                <a:lnTo>
                  <a:pt x="6071" y="530"/>
                </a:lnTo>
                <a:lnTo>
                  <a:pt x="6068" y="530"/>
                </a:lnTo>
                <a:lnTo>
                  <a:pt x="6067" y="545"/>
                </a:lnTo>
                <a:lnTo>
                  <a:pt x="6065" y="558"/>
                </a:lnTo>
                <a:lnTo>
                  <a:pt x="6064" y="562"/>
                </a:lnTo>
                <a:lnTo>
                  <a:pt x="6063" y="566"/>
                </a:lnTo>
                <a:lnTo>
                  <a:pt x="6062" y="569"/>
                </a:lnTo>
                <a:lnTo>
                  <a:pt x="6061" y="572"/>
                </a:lnTo>
                <a:lnTo>
                  <a:pt x="6059" y="573"/>
                </a:lnTo>
                <a:lnTo>
                  <a:pt x="6058" y="575"/>
                </a:lnTo>
                <a:lnTo>
                  <a:pt x="6056" y="576"/>
                </a:lnTo>
                <a:lnTo>
                  <a:pt x="6054" y="576"/>
                </a:lnTo>
                <a:lnTo>
                  <a:pt x="6049" y="577"/>
                </a:lnTo>
                <a:lnTo>
                  <a:pt x="6042" y="577"/>
                </a:lnTo>
                <a:lnTo>
                  <a:pt x="6035" y="578"/>
                </a:lnTo>
                <a:lnTo>
                  <a:pt x="6026" y="580"/>
                </a:lnTo>
                <a:lnTo>
                  <a:pt x="6026" y="583"/>
                </a:lnTo>
                <a:lnTo>
                  <a:pt x="6027" y="586"/>
                </a:lnTo>
                <a:lnTo>
                  <a:pt x="6027" y="590"/>
                </a:lnTo>
                <a:lnTo>
                  <a:pt x="6027" y="592"/>
                </a:lnTo>
                <a:lnTo>
                  <a:pt x="6026" y="594"/>
                </a:lnTo>
                <a:lnTo>
                  <a:pt x="6025" y="595"/>
                </a:lnTo>
                <a:lnTo>
                  <a:pt x="6022" y="596"/>
                </a:lnTo>
                <a:lnTo>
                  <a:pt x="6019" y="596"/>
                </a:lnTo>
                <a:lnTo>
                  <a:pt x="6018" y="597"/>
                </a:lnTo>
                <a:lnTo>
                  <a:pt x="6017" y="599"/>
                </a:lnTo>
                <a:lnTo>
                  <a:pt x="6017" y="601"/>
                </a:lnTo>
                <a:lnTo>
                  <a:pt x="6018" y="604"/>
                </a:lnTo>
                <a:lnTo>
                  <a:pt x="6018" y="606"/>
                </a:lnTo>
                <a:lnTo>
                  <a:pt x="6016" y="607"/>
                </a:lnTo>
                <a:lnTo>
                  <a:pt x="6014" y="609"/>
                </a:lnTo>
                <a:lnTo>
                  <a:pt x="6006" y="615"/>
                </a:lnTo>
                <a:lnTo>
                  <a:pt x="5997" y="621"/>
                </a:lnTo>
                <a:lnTo>
                  <a:pt x="5994" y="623"/>
                </a:lnTo>
                <a:lnTo>
                  <a:pt x="5992" y="625"/>
                </a:lnTo>
                <a:lnTo>
                  <a:pt x="5986" y="635"/>
                </a:lnTo>
                <a:lnTo>
                  <a:pt x="5980" y="644"/>
                </a:lnTo>
                <a:lnTo>
                  <a:pt x="5977" y="648"/>
                </a:lnTo>
                <a:lnTo>
                  <a:pt x="5973" y="652"/>
                </a:lnTo>
                <a:lnTo>
                  <a:pt x="5969" y="656"/>
                </a:lnTo>
                <a:lnTo>
                  <a:pt x="5967" y="657"/>
                </a:lnTo>
                <a:lnTo>
                  <a:pt x="5964" y="659"/>
                </a:lnTo>
                <a:lnTo>
                  <a:pt x="5964" y="662"/>
                </a:lnTo>
                <a:lnTo>
                  <a:pt x="5962" y="663"/>
                </a:lnTo>
                <a:lnTo>
                  <a:pt x="5961" y="663"/>
                </a:lnTo>
                <a:lnTo>
                  <a:pt x="5959" y="661"/>
                </a:lnTo>
                <a:lnTo>
                  <a:pt x="5958" y="660"/>
                </a:lnTo>
                <a:lnTo>
                  <a:pt x="5957" y="659"/>
                </a:lnTo>
                <a:lnTo>
                  <a:pt x="5956" y="659"/>
                </a:lnTo>
                <a:lnTo>
                  <a:pt x="5955" y="659"/>
                </a:lnTo>
                <a:lnTo>
                  <a:pt x="5954" y="660"/>
                </a:lnTo>
                <a:lnTo>
                  <a:pt x="5953" y="663"/>
                </a:lnTo>
                <a:lnTo>
                  <a:pt x="5951" y="666"/>
                </a:lnTo>
                <a:lnTo>
                  <a:pt x="5951" y="667"/>
                </a:lnTo>
                <a:lnTo>
                  <a:pt x="5950" y="667"/>
                </a:lnTo>
                <a:lnTo>
                  <a:pt x="5948" y="668"/>
                </a:lnTo>
                <a:lnTo>
                  <a:pt x="5946" y="668"/>
                </a:lnTo>
                <a:lnTo>
                  <a:pt x="5942" y="668"/>
                </a:lnTo>
                <a:lnTo>
                  <a:pt x="5937" y="667"/>
                </a:lnTo>
                <a:lnTo>
                  <a:pt x="5933" y="667"/>
                </a:lnTo>
                <a:lnTo>
                  <a:pt x="5934" y="671"/>
                </a:lnTo>
                <a:lnTo>
                  <a:pt x="5934" y="672"/>
                </a:lnTo>
                <a:lnTo>
                  <a:pt x="5936" y="672"/>
                </a:lnTo>
                <a:lnTo>
                  <a:pt x="5939" y="673"/>
                </a:lnTo>
                <a:lnTo>
                  <a:pt x="5937" y="681"/>
                </a:lnTo>
                <a:lnTo>
                  <a:pt x="5936" y="687"/>
                </a:lnTo>
                <a:lnTo>
                  <a:pt x="5935" y="690"/>
                </a:lnTo>
                <a:lnTo>
                  <a:pt x="5933" y="692"/>
                </a:lnTo>
                <a:lnTo>
                  <a:pt x="5931" y="694"/>
                </a:lnTo>
                <a:lnTo>
                  <a:pt x="5928" y="696"/>
                </a:lnTo>
                <a:lnTo>
                  <a:pt x="5925" y="696"/>
                </a:lnTo>
                <a:lnTo>
                  <a:pt x="5923" y="696"/>
                </a:lnTo>
                <a:lnTo>
                  <a:pt x="5921" y="697"/>
                </a:lnTo>
                <a:lnTo>
                  <a:pt x="5919" y="698"/>
                </a:lnTo>
                <a:lnTo>
                  <a:pt x="5917" y="701"/>
                </a:lnTo>
                <a:lnTo>
                  <a:pt x="5916" y="705"/>
                </a:lnTo>
                <a:lnTo>
                  <a:pt x="5914" y="713"/>
                </a:lnTo>
                <a:lnTo>
                  <a:pt x="5913" y="722"/>
                </a:lnTo>
                <a:lnTo>
                  <a:pt x="5912" y="732"/>
                </a:lnTo>
                <a:lnTo>
                  <a:pt x="5913" y="743"/>
                </a:lnTo>
                <a:lnTo>
                  <a:pt x="5914" y="755"/>
                </a:lnTo>
                <a:lnTo>
                  <a:pt x="5915" y="767"/>
                </a:lnTo>
                <a:lnTo>
                  <a:pt x="5917" y="780"/>
                </a:lnTo>
                <a:lnTo>
                  <a:pt x="5921" y="805"/>
                </a:lnTo>
                <a:lnTo>
                  <a:pt x="5926" y="828"/>
                </a:lnTo>
                <a:lnTo>
                  <a:pt x="5930" y="850"/>
                </a:lnTo>
                <a:lnTo>
                  <a:pt x="5933" y="868"/>
                </a:lnTo>
                <a:lnTo>
                  <a:pt x="5950" y="855"/>
                </a:lnTo>
                <a:lnTo>
                  <a:pt x="5959" y="847"/>
                </a:lnTo>
                <a:lnTo>
                  <a:pt x="5963" y="844"/>
                </a:lnTo>
                <a:lnTo>
                  <a:pt x="5964" y="842"/>
                </a:lnTo>
                <a:lnTo>
                  <a:pt x="5967" y="833"/>
                </a:lnTo>
                <a:lnTo>
                  <a:pt x="5967" y="829"/>
                </a:lnTo>
                <a:lnTo>
                  <a:pt x="5967" y="826"/>
                </a:lnTo>
                <a:lnTo>
                  <a:pt x="5966" y="819"/>
                </a:lnTo>
                <a:lnTo>
                  <a:pt x="5966" y="818"/>
                </a:lnTo>
                <a:lnTo>
                  <a:pt x="5967" y="817"/>
                </a:lnTo>
                <a:lnTo>
                  <a:pt x="5970" y="816"/>
                </a:lnTo>
                <a:lnTo>
                  <a:pt x="5987" y="811"/>
                </a:lnTo>
                <a:lnTo>
                  <a:pt x="5986" y="801"/>
                </a:lnTo>
                <a:lnTo>
                  <a:pt x="5985" y="797"/>
                </a:lnTo>
                <a:lnTo>
                  <a:pt x="5985" y="793"/>
                </a:lnTo>
                <a:lnTo>
                  <a:pt x="5986" y="790"/>
                </a:lnTo>
                <a:lnTo>
                  <a:pt x="5987" y="786"/>
                </a:lnTo>
                <a:lnTo>
                  <a:pt x="5989" y="783"/>
                </a:lnTo>
                <a:lnTo>
                  <a:pt x="5992" y="780"/>
                </a:lnTo>
                <a:lnTo>
                  <a:pt x="5998" y="777"/>
                </a:lnTo>
                <a:lnTo>
                  <a:pt x="5998" y="772"/>
                </a:lnTo>
                <a:lnTo>
                  <a:pt x="6003" y="769"/>
                </a:lnTo>
                <a:lnTo>
                  <a:pt x="6006" y="768"/>
                </a:lnTo>
                <a:lnTo>
                  <a:pt x="6009" y="768"/>
                </a:lnTo>
                <a:lnTo>
                  <a:pt x="6012" y="768"/>
                </a:lnTo>
                <a:lnTo>
                  <a:pt x="6016" y="771"/>
                </a:lnTo>
                <a:lnTo>
                  <a:pt x="6018" y="771"/>
                </a:lnTo>
                <a:lnTo>
                  <a:pt x="6020" y="772"/>
                </a:lnTo>
                <a:lnTo>
                  <a:pt x="6026" y="766"/>
                </a:lnTo>
                <a:lnTo>
                  <a:pt x="6032" y="760"/>
                </a:lnTo>
                <a:lnTo>
                  <a:pt x="6025" y="751"/>
                </a:lnTo>
                <a:lnTo>
                  <a:pt x="6023" y="747"/>
                </a:lnTo>
                <a:lnTo>
                  <a:pt x="6022" y="743"/>
                </a:lnTo>
                <a:lnTo>
                  <a:pt x="6021" y="739"/>
                </a:lnTo>
                <a:lnTo>
                  <a:pt x="6021" y="735"/>
                </a:lnTo>
                <a:lnTo>
                  <a:pt x="6021" y="732"/>
                </a:lnTo>
                <a:lnTo>
                  <a:pt x="6022" y="728"/>
                </a:lnTo>
                <a:lnTo>
                  <a:pt x="6024" y="726"/>
                </a:lnTo>
                <a:lnTo>
                  <a:pt x="6026" y="723"/>
                </a:lnTo>
                <a:lnTo>
                  <a:pt x="6029" y="721"/>
                </a:lnTo>
                <a:lnTo>
                  <a:pt x="6032" y="719"/>
                </a:lnTo>
                <a:lnTo>
                  <a:pt x="6036" y="718"/>
                </a:lnTo>
                <a:lnTo>
                  <a:pt x="6040" y="716"/>
                </a:lnTo>
                <a:lnTo>
                  <a:pt x="6046" y="716"/>
                </a:lnTo>
                <a:lnTo>
                  <a:pt x="6051" y="715"/>
                </a:lnTo>
                <a:lnTo>
                  <a:pt x="6051" y="710"/>
                </a:lnTo>
                <a:lnTo>
                  <a:pt x="6051" y="704"/>
                </a:lnTo>
                <a:lnTo>
                  <a:pt x="6050" y="704"/>
                </a:lnTo>
                <a:lnTo>
                  <a:pt x="6049" y="704"/>
                </a:lnTo>
                <a:lnTo>
                  <a:pt x="6046" y="704"/>
                </a:lnTo>
                <a:lnTo>
                  <a:pt x="6040" y="707"/>
                </a:lnTo>
                <a:lnTo>
                  <a:pt x="6038" y="702"/>
                </a:lnTo>
                <a:lnTo>
                  <a:pt x="6036" y="697"/>
                </a:lnTo>
                <a:lnTo>
                  <a:pt x="6034" y="693"/>
                </a:lnTo>
                <a:lnTo>
                  <a:pt x="6034" y="687"/>
                </a:lnTo>
                <a:lnTo>
                  <a:pt x="6037" y="687"/>
                </a:lnTo>
                <a:lnTo>
                  <a:pt x="6040" y="679"/>
                </a:lnTo>
                <a:lnTo>
                  <a:pt x="6046" y="679"/>
                </a:lnTo>
                <a:lnTo>
                  <a:pt x="6046" y="678"/>
                </a:lnTo>
                <a:lnTo>
                  <a:pt x="6046" y="676"/>
                </a:lnTo>
                <a:lnTo>
                  <a:pt x="6045" y="674"/>
                </a:lnTo>
                <a:lnTo>
                  <a:pt x="6045" y="672"/>
                </a:lnTo>
                <a:lnTo>
                  <a:pt x="6046" y="670"/>
                </a:lnTo>
                <a:lnTo>
                  <a:pt x="6047" y="671"/>
                </a:lnTo>
                <a:lnTo>
                  <a:pt x="6048" y="670"/>
                </a:lnTo>
                <a:lnTo>
                  <a:pt x="6049" y="669"/>
                </a:lnTo>
                <a:lnTo>
                  <a:pt x="6048" y="667"/>
                </a:lnTo>
                <a:lnTo>
                  <a:pt x="6049" y="665"/>
                </a:lnTo>
                <a:lnTo>
                  <a:pt x="6044" y="665"/>
                </a:lnTo>
                <a:lnTo>
                  <a:pt x="6040" y="665"/>
                </a:lnTo>
                <a:lnTo>
                  <a:pt x="6035" y="663"/>
                </a:lnTo>
                <a:lnTo>
                  <a:pt x="6029" y="662"/>
                </a:lnTo>
                <a:lnTo>
                  <a:pt x="6028" y="652"/>
                </a:lnTo>
                <a:lnTo>
                  <a:pt x="6028" y="647"/>
                </a:lnTo>
                <a:lnTo>
                  <a:pt x="6028" y="644"/>
                </a:lnTo>
                <a:lnTo>
                  <a:pt x="6029" y="642"/>
                </a:lnTo>
                <a:lnTo>
                  <a:pt x="6039" y="633"/>
                </a:lnTo>
                <a:lnTo>
                  <a:pt x="6049" y="625"/>
                </a:lnTo>
                <a:lnTo>
                  <a:pt x="6049" y="624"/>
                </a:lnTo>
                <a:lnTo>
                  <a:pt x="6049" y="623"/>
                </a:lnTo>
                <a:lnTo>
                  <a:pt x="6049" y="621"/>
                </a:lnTo>
                <a:lnTo>
                  <a:pt x="6048" y="619"/>
                </a:lnTo>
                <a:lnTo>
                  <a:pt x="6048" y="618"/>
                </a:lnTo>
                <a:lnTo>
                  <a:pt x="6049" y="617"/>
                </a:lnTo>
                <a:lnTo>
                  <a:pt x="6054" y="617"/>
                </a:lnTo>
                <a:lnTo>
                  <a:pt x="6054" y="613"/>
                </a:lnTo>
                <a:lnTo>
                  <a:pt x="6054" y="612"/>
                </a:lnTo>
                <a:lnTo>
                  <a:pt x="6053" y="612"/>
                </a:lnTo>
                <a:lnTo>
                  <a:pt x="6052" y="611"/>
                </a:lnTo>
                <a:lnTo>
                  <a:pt x="6051" y="610"/>
                </a:lnTo>
                <a:lnTo>
                  <a:pt x="6051" y="608"/>
                </a:lnTo>
                <a:lnTo>
                  <a:pt x="6052" y="607"/>
                </a:lnTo>
                <a:lnTo>
                  <a:pt x="6054" y="605"/>
                </a:lnTo>
                <a:lnTo>
                  <a:pt x="6056" y="603"/>
                </a:lnTo>
                <a:lnTo>
                  <a:pt x="6057" y="600"/>
                </a:lnTo>
                <a:lnTo>
                  <a:pt x="6085" y="603"/>
                </a:lnTo>
                <a:lnTo>
                  <a:pt x="6085" y="601"/>
                </a:lnTo>
                <a:lnTo>
                  <a:pt x="6085" y="599"/>
                </a:lnTo>
                <a:lnTo>
                  <a:pt x="6085" y="596"/>
                </a:lnTo>
                <a:lnTo>
                  <a:pt x="6085" y="594"/>
                </a:lnTo>
                <a:lnTo>
                  <a:pt x="6105" y="583"/>
                </a:lnTo>
                <a:lnTo>
                  <a:pt x="6103" y="589"/>
                </a:lnTo>
                <a:lnTo>
                  <a:pt x="6102" y="597"/>
                </a:lnTo>
                <a:lnTo>
                  <a:pt x="6102" y="601"/>
                </a:lnTo>
                <a:lnTo>
                  <a:pt x="6102" y="602"/>
                </a:lnTo>
                <a:lnTo>
                  <a:pt x="6102" y="603"/>
                </a:lnTo>
                <a:lnTo>
                  <a:pt x="6103" y="605"/>
                </a:lnTo>
                <a:lnTo>
                  <a:pt x="6104" y="605"/>
                </a:lnTo>
                <a:lnTo>
                  <a:pt x="6106" y="606"/>
                </a:lnTo>
                <a:lnTo>
                  <a:pt x="6108" y="606"/>
                </a:lnTo>
                <a:lnTo>
                  <a:pt x="6109" y="603"/>
                </a:lnTo>
                <a:lnTo>
                  <a:pt x="6110" y="603"/>
                </a:lnTo>
                <a:lnTo>
                  <a:pt x="6111" y="602"/>
                </a:lnTo>
                <a:lnTo>
                  <a:pt x="6112" y="602"/>
                </a:lnTo>
                <a:lnTo>
                  <a:pt x="6113" y="603"/>
                </a:lnTo>
                <a:lnTo>
                  <a:pt x="6115" y="600"/>
                </a:lnTo>
                <a:lnTo>
                  <a:pt x="6116" y="598"/>
                </a:lnTo>
                <a:lnTo>
                  <a:pt x="6119" y="592"/>
                </a:lnTo>
                <a:lnTo>
                  <a:pt x="6121" y="587"/>
                </a:lnTo>
                <a:lnTo>
                  <a:pt x="6123" y="585"/>
                </a:lnTo>
                <a:lnTo>
                  <a:pt x="6124" y="583"/>
                </a:lnTo>
                <a:lnTo>
                  <a:pt x="6130" y="579"/>
                </a:lnTo>
                <a:lnTo>
                  <a:pt x="6135" y="577"/>
                </a:lnTo>
                <a:lnTo>
                  <a:pt x="6139" y="576"/>
                </a:lnTo>
                <a:lnTo>
                  <a:pt x="6144" y="577"/>
                </a:lnTo>
                <a:lnTo>
                  <a:pt x="6149" y="578"/>
                </a:lnTo>
                <a:lnTo>
                  <a:pt x="6153" y="580"/>
                </a:lnTo>
                <a:lnTo>
                  <a:pt x="6164" y="586"/>
                </a:lnTo>
                <a:lnTo>
                  <a:pt x="6164" y="590"/>
                </a:lnTo>
                <a:lnTo>
                  <a:pt x="6164" y="594"/>
                </a:lnTo>
                <a:lnTo>
                  <a:pt x="6168" y="597"/>
                </a:lnTo>
                <a:lnTo>
                  <a:pt x="6172" y="599"/>
                </a:lnTo>
                <a:lnTo>
                  <a:pt x="6177" y="600"/>
                </a:lnTo>
                <a:lnTo>
                  <a:pt x="6181" y="603"/>
                </a:lnTo>
                <a:lnTo>
                  <a:pt x="6184" y="595"/>
                </a:lnTo>
                <a:lnTo>
                  <a:pt x="6187" y="588"/>
                </a:lnTo>
                <a:lnTo>
                  <a:pt x="6191" y="582"/>
                </a:lnTo>
                <a:lnTo>
                  <a:pt x="6193" y="580"/>
                </a:lnTo>
                <a:lnTo>
                  <a:pt x="6195" y="578"/>
                </a:lnTo>
                <a:lnTo>
                  <a:pt x="6200" y="574"/>
                </a:lnTo>
                <a:lnTo>
                  <a:pt x="6206" y="570"/>
                </a:lnTo>
                <a:lnTo>
                  <a:pt x="6212" y="567"/>
                </a:lnTo>
                <a:lnTo>
                  <a:pt x="6220" y="563"/>
                </a:lnTo>
                <a:lnTo>
                  <a:pt x="6220" y="559"/>
                </a:lnTo>
                <a:lnTo>
                  <a:pt x="6220" y="557"/>
                </a:lnTo>
                <a:lnTo>
                  <a:pt x="6219" y="557"/>
                </a:lnTo>
                <a:lnTo>
                  <a:pt x="6217" y="558"/>
                </a:lnTo>
                <a:lnTo>
                  <a:pt x="6217" y="555"/>
                </a:lnTo>
                <a:lnTo>
                  <a:pt x="6220" y="554"/>
                </a:lnTo>
                <a:lnTo>
                  <a:pt x="6222" y="555"/>
                </a:lnTo>
                <a:lnTo>
                  <a:pt x="6225" y="556"/>
                </a:lnTo>
                <a:lnTo>
                  <a:pt x="6228" y="558"/>
                </a:lnTo>
                <a:lnTo>
                  <a:pt x="6229" y="558"/>
                </a:lnTo>
                <a:lnTo>
                  <a:pt x="6231" y="558"/>
                </a:lnTo>
                <a:lnTo>
                  <a:pt x="6232" y="557"/>
                </a:lnTo>
                <a:lnTo>
                  <a:pt x="6233" y="555"/>
                </a:lnTo>
                <a:lnTo>
                  <a:pt x="6234" y="552"/>
                </a:lnTo>
                <a:lnTo>
                  <a:pt x="6233" y="548"/>
                </a:lnTo>
                <a:lnTo>
                  <a:pt x="6232" y="547"/>
                </a:lnTo>
                <a:lnTo>
                  <a:pt x="6231" y="546"/>
                </a:lnTo>
                <a:lnTo>
                  <a:pt x="6233" y="546"/>
                </a:lnTo>
                <a:lnTo>
                  <a:pt x="6235" y="546"/>
                </a:lnTo>
                <a:lnTo>
                  <a:pt x="6237" y="548"/>
                </a:lnTo>
                <a:lnTo>
                  <a:pt x="6239" y="549"/>
                </a:lnTo>
                <a:lnTo>
                  <a:pt x="6240" y="550"/>
                </a:lnTo>
                <a:lnTo>
                  <a:pt x="6243" y="549"/>
                </a:lnTo>
                <a:lnTo>
                  <a:pt x="6245" y="545"/>
                </a:lnTo>
                <a:lnTo>
                  <a:pt x="6247" y="542"/>
                </a:lnTo>
                <a:lnTo>
                  <a:pt x="6248" y="541"/>
                </a:lnTo>
                <a:lnTo>
                  <a:pt x="6252" y="539"/>
                </a:lnTo>
                <a:lnTo>
                  <a:pt x="6256" y="539"/>
                </a:lnTo>
                <a:lnTo>
                  <a:pt x="6261" y="539"/>
                </a:lnTo>
                <a:lnTo>
                  <a:pt x="6263" y="539"/>
                </a:lnTo>
                <a:lnTo>
                  <a:pt x="6265" y="538"/>
                </a:lnTo>
                <a:lnTo>
                  <a:pt x="6268" y="537"/>
                </a:lnTo>
                <a:lnTo>
                  <a:pt x="6271" y="535"/>
                </a:lnTo>
                <a:lnTo>
                  <a:pt x="6277" y="530"/>
                </a:lnTo>
                <a:lnTo>
                  <a:pt x="6284" y="526"/>
                </a:lnTo>
                <a:lnTo>
                  <a:pt x="6287" y="525"/>
                </a:lnTo>
                <a:lnTo>
                  <a:pt x="6290" y="524"/>
                </a:lnTo>
                <a:lnTo>
                  <a:pt x="6294" y="523"/>
                </a:lnTo>
                <a:lnTo>
                  <a:pt x="6297" y="523"/>
                </a:lnTo>
                <a:lnTo>
                  <a:pt x="6303" y="524"/>
                </a:lnTo>
                <a:lnTo>
                  <a:pt x="6308" y="525"/>
                </a:lnTo>
                <a:lnTo>
                  <a:pt x="6314" y="526"/>
                </a:lnTo>
                <a:lnTo>
                  <a:pt x="6324" y="529"/>
                </a:lnTo>
                <a:lnTo>
                  <a:pt x="6329" y="530"/>
                </a:lnTo>
                <a:lnTo>
                  <a:pt x="6333" y="530"/>
                </a:lnTo>
                <a:lnTo>
                  <a:pt x="6338" y="524"/>
                </a:lnTo>
                <a:lnTo>
                  <a:pt x="6341" y="521"/>
                </a:lnTo>
                <a:lnTo>
                  <a:pt x="6339" y="516"/>
                </a:lnTo>
                <a:lnTo>
                  <a:pt x="6339" y="512"/>
                </a:lnTo>
                <a:lnTo>
                  <a:pt x="6340" y="511"/>
                </a:lnTo>
                <a:lnTo>
                  <a:pt x="6341" y="510"/>
                </a:lnTo>
                <a:lnTo>
                  <a:pt x="6340" y="509"/>
                </a:lnTo>
                <a:lnTo>
                  <a:pt x="6339" y="509"/>
                </a:lnTo>
                <a:lnTo>
                  <a:pt x="6337" y="508"/>
                </a:lnTo>
                <a:lnTo>
                  <a:pt x="6335" y="508"/>
                </a:lnTo>
                <a:lnTo>
                  <a:pt x="6333" y="507"/>
                </a:lnTo>
                <a:lnTo>
                  <a:pt x="6331" y="502"/>
                </a:lnTo>
                <a:lnTo>
                  <a:pt x="6327" y="492"/>
                </a:lnTo>
                <a:lnTo>
                  <a:pt x="6321" y="476"/>
                </a:lnTo>
                <a:lnTo>
                  <a:pt x="6319" y="476"/>
                </a:lnTo>
                <a:lnTo>
                  <a:pt x="6318" y="475"/>
                </a:lnTo>
                <a:lnTo>
                  <a:pt x="6319" y="473"/>
                </a:lnTo>
                <a:lnTo>
                  <a:pt x="6319" y="470"/>
                </a:lnTo>
                <a:lnTo>
                  <a:pt x="6315" y="471"/>
                </a:lnTo>
                <a:lnTo>
                  <a:pt x="6310" y="473"/>
                </a:lnTo>
                <a:lnTo>
                  <a:pt x="6311" y="474"/>
                </a:lnTo>
                <a:lnTo>
                  <a:pt x="6309" y="475"/>
                </a:lnTo>
                <a:lnTo>
                  <a:pt x="6304" y="476"/>
                </a:lnTo>
                <a:lnTo>
                  <a:pt x="6304" y="470"/>
                </a:lnTo>
                <a:lnTo>
                  <a:pt x="6307" y="468"/>
                </a:lnTo>
                <a:lnTo>
                  <a:pt x="6310" y="462"/>
                </a:lnTo>
                <a:lnTo>
                  <a:pt x="6304" y="462"/>
                </a:lnTo>
                <a:lnTo>
                  <a:pt x="6297" y="462"/>
                </a:lnTo>
                <a:lnTo>
                  <a:pt x="6291" y="462"/>
                </a:lnTo>
                <a:lnTo>
                  <a:pt x="6285" y="462"/>
                </a:lnTo>
                <a:lnTo>
                  <a:pt x="6285" y="456"/>
                </a:lnTo>
                <a:lnTo>
                  <a:pt x="6298" y="455"/>
                </a:lnTo>
                <a:lnTo>
                  <a:pt x="6304" y="454"/>
                </a:lnTo>
                <a:lnTo>
                  <a:pt x="6307" y="454"/>
                </a:lnTo>
                <a:lnTo>
                  <a:pt x="6313" y="459"/>
                </a:lnTo>
                <a:lnTo>
                  <a:pt x="6316" y="460"/>
                </a:lnTo>
                <a:lnTo>
                  <a:pt x="6321" y="461"/>
                </a:lnTo>
                <a:lnTo>
                  <a:pt x="6332" y="461"/>
                </a:lnTo>
                <a:lnTo>
                  <a:pt x="6347" y="462"/>
                </a:lnTo>
                <a:lnTo>
                  <a:pt x="6358" y="454"/>
                </a:lnTo>
                <a:lnTo>
                  <a:pt x="6360" y="451"/>
                </a:lnTo>
                <a:lnTo>
                  <a:pt x="6361" y="448"/>
                </a:lnTo>
                <a:lnTo>
                  <a:pt x="6362" y="442"/>
                </a:lnTo>
                <a:lnTo>
                  <a:pt x="6363" y="436"/>
                </a:lnTo>
                <a:lnTo>
                  <a:pt x="6364" y="431"/>
                </a:lnTo>
                <a:lnTo>
                  <a:pt x="6355" y="428"/>
                </a:lnTo>
                <a:lnTo>
                  <a:pt x="6355" y="427"/>
                </a:lnTo>
                <a:lnTo>
                  <a:pt x="6355" y="426"/>
                </a:lnTo>
                <a:lnTo>
                  <a:pt x="6355" y="422"/>
                </a:lnTo>
                <a:lnTo>
                  <a:pt x="6356" y="421"/>
                </a:lnTo>
                <a:lnTo>
                  <a:pt x="6356" y="419"/>
                </a:lnTo>
                <a:lnTo>
                  <a:pt x="6357" y="419"/>
                </a:lnTo>
                <a:lnTo>
                  <a:pt x="6358" y="420"/>
                </a:lnTo>
                <a:lnTo>
                  <a:pt x="6358" y="418"/>
                </a:lnTo>
                <a:lnTo>
                  <a:pt x="6358" y="414"/>
                </a:lnTo>
                <a:lnTo>
                  <a:pt x="6358" y="409"/>
                </a:lnTo>
                <a:lnTo>
                  <a:pt x="6363" y="407"/>
                </a:lnTo>
                <a:lnTo>
                  <a:pt x="6367" y="407"/>
                </a:lnTo>
                <a:lnTo>
                  <a:pt x="6369" y="406"/>
                </a:lnTo>
                <a:lnTo>
                  <a:pt x="6366" y="414"/>
                </a:lnTo>
                <a:lnTo>
                  <a:pt x="6367" y="413"/>
                </a:lnTo>
                <a:lnTo>
                  <a:pt x="6368" y="413"/>
                </a:lnTo>
                <a:lnTo>
                  <a:pt x="6369" y="414"/>
                </a:lnTo>
                <a:lnTo>
                  <a:pt x="6372" y="417"/>
                </a:lnTo>
                <a:lnTo>
                  <a:pt x="6369" y="418"/>
                </a:lnTo>
                <a:lnTo>
                  <a:pt x="6367" y="420"/>
                </a:lnTo>
                <a:lnTo>
                  <a:pt x="6366" y="421"/>
                </a:lnTo>
                <a:lnTo>
                  <a:pt x="6366" y="423"/>
                </a:lnTo>
                <a:lnTo>
                  <a:pt x="6366" y="425"/>
                </a:lnTo>
                <a:lnTo>
                  <a:pt x="6367" y="427"/>
                </a:lnTo>
                <a:lnTo>
                  <a:pt x="6368" y="429"/>
                </a:lnTo>
                <a:lnTo>
                  <a:pt x="6370" y="431"/>
                </a:lnTo>
                <a:lnTo>
                  <a:pt x="6373" y="435"/>
                </a:lnTo>
                <a:lnTo>
                  <a:pt x="6377" y="438"/>
                </a:lnTo>
                <a:lnTo>
                  <a:pt x="6383" y="442"/>
                </a:lnTo>
                <a:lnTo>
                  <a:pt x="6385" y="441"/>
                </a:lnTo>
                <a:lnTo>
                  <a:pt x="6385" y="440"/>
                </a:lnTo>
                <a:lnTo>
                  <a:pt x="6385" y="439"/>
                </a:lnTo>
                <a:lnTo>
                  <a:pt x="6385" y="438"/>
                </a:lnTo>
                <a:lnTo>
                  <a:pt x="6383" y="437"/>
                </a:lnTo>
                <a:lnTo>
                  <a:pt x="6395" y="431"/>
                </a:lnTo>
                <a:lnTo>
                  <a:pt x="6400" y="430"/>
                </a:lnTo>
                <a:lnTo>
                  <a:pt x="6404" y="429"/>
                </a:lnTo>
                <a:lnTo>
                  <a:pt x="6408" y="430"/>
                </a:lnTo>
                <a:lnTo>
                  <a:pt x="6412" y="431"/>
                </a:lnTo>
                <a:lnTo>
                  <a:pt x="6416" y="435"/>
                </a:lnTo>
                <a:lnTo>
                  <a:pt x="6420" y="440"/>
                </a:lnTo>
                <a:lnTo>
                  <a:pt x="6424" y="442"/>
                </a:lnTo>
                <a:lnTo>
                  <a:pt x="6427" y="444"/>
                </a:lnTo>
                <a:lnTo>
                  <a:pt x="6428" y="445"/>
                </a:lnTo>
                <a:lnTo>
                  <a:pt x="6428" y="449"/>
                </a:lnTo>
                <a:lnTo>
                  <a:pt x="6427" y="452"/>
                </a:lnTo>
                <a:lnTo>
                  <a:pt x="6426" y="455"/>
                </a:lnTo>
                <a:lnTo>
                  <a:pt x="6425" y="456"/>
                </a:lnTo>
                <a:lnTo>
                  <a:pt x="6426" y="457"/>
                </a:lnTo>
                <a:lnTo>
                  <a:pt x="6428" y="458"/>
                </a:lnTo>
                <a:lnTo>
                  <a:pt x="6432" y="460"/>
                </a:lnTo>
                <a:lnTo>
                  <a:pt x="6437" y="462"/>
                </a:lnTo>
                <a:lnTo>
                  <a:pt x="6443" y="464"/>
                </a:lnTo>
                <a:lnTo>
                  <a:pt x="6455" y="467"/>
                </a:lnTo>
                <a:lnTo>
                  <a:pt x="6465" y="470"/>
                </a:lnTo>
                <a:lnTo>
                  <a:pt x="6465" y="476"/>
                </a:lnTo>
                <a:lnTo>
                  <a:pt x="6472" y="473"/>
                </a:lnTo>
                <a:lnTo>
                  <a:pt x="6479" y="470"/>
                </a:lnTo>
                <a:lnTo>
                  <a:pt x="6479" y="476"/>
                </a:lnTo>
                <a:lnTo>
                  <a:pt x="6486" y="476"/>
                </a:lnTo>
                <a:lnTo>
                  <a:pt x="6491" y="476"/>
                </a:lnTo>
                <a:lnTo>
                  <a:pt x="6494" y="476"/>
                </a:lnTo>
                <a:lnTo>
                  <a:pt x="6496" y="476"/>
                </a:lnTo>
                <a:lnTo>
                  <a:pt x="6496" y="475"/>
                </a:lnTo>
                <a:lnTo>
                  <a:pt x="6495" y="472"/>
                </a:lnTo>
                <a:lnTo>
                  <a:pt x="6492" y="468"/>
                </a:lnTo>
                <a:lnTo>
                  <a:pt x="6487" y="462"/>
                </a:lnTo>
                <a:lnTo>
                  <a:pt x="6487" y="456"/>
                </a:lnTo>
                <a:lnTo>
                  <a:pt x="6493" y="457"/>
                </a:lnTo>
                <a:lnTo>
                  <a:pt x="6499" y="456"/>
                </a:lnTo>
                <a:lnTo>
                  <a:pt x="6498" y="451"/>
                </a:lnTo>
                <a:lnTo>
                  <a:pt x="6499" y="445"/>
                </a:lnTo>
                <a:lnTo>
                  <a:pt x="6494" y="447"/>
                </a:lnTo>
                <a:lnTo>
                  <a:pt x="6492" y="448"/>
                </a:lnTo>
                <a:lnTo>
                  <a:pt x="6490" y="448"/>
                </a:lnTo>
                <a:lnTo>
                  <a:pt x="6490" y="440"/>
                </a:lnTo>
                <a:lnTo>
                  <a:pt x="6487" y="437"/>
                </a:lnTo>
                <a:lnTo>
                  <a:pt x="6499" y="437"/>
                </a:lnTo>
                <a:lnTo>
                  <a:pt x="6499" y="440"/>
                </a:lnTo>
                <a:lnTo>
                  <a:pt x="6501" y="440"/>
                </a:lnTo>
                <a:lnTo>
                  <a:pt x="6505" y="439"/>
                </a:lnTo>
                <a:lnTo>
                  <a:pt x="6510" y="440"/>
                </a:lnTo>
                <a:lnTo>
                  <a:pt x="6518" y="442"/>
                </a:lnTo>
                <a:lnTo>
                  <a:pt x="6517" y="443"/>
                </a:lnTo>
                <a:lnTo>
                  <a:pt x="6518" y="445"/>
                </a:lnTo>
                <a:lnTo>
                  <a:pt x="6519" y="445"/>
                </a:lnTo>
                <a:lnTo>
                  <a:pt x="6520" y="445"/>
                </a:lnTo>
                <a:lnTo>
                  <a:pt x="6521" y="445"/>
                </a:lnTo>
                <a:lnTo>
                  <a:pt x="6521" y="443"/>
                </a:lnTo>
                <a:lnTo>
                  <a:pt x="6520" y="440"/>
                </a:lnTo>
                <a:lnTo>
                  <a:pt x="6518" y="434"/>
                </a:lnTo>
                <a:lnTo>
                  <a:pt x="6524" y="434"/>
                </a:lnTo>
                <a:lnTo>
                  <a:pt x="6525" y="431"/>
                </a:lnTo>
                <a:lnTo>
                  <a:pt x="6525" y="428"/>
                </a:lnTo>
                <a:lnTo>
                  <a:pt x="6527" y="423"/>
                </a:lnTo>
                <a:lnTo>
                  <a:pt x="6532" y="423"/>
                </a:lnTo>
                <a:lnTo>
                  <a:pt x="6521" y="417"/>
                </a:lnTo>
                <a:lnTo>
                  <a:pt x="6515" y="415"/>
                </a:lnTo>
                <a:lnTo>
                  <a:pt x="6510" y="411"/>
                </a:lnTo>
                <a:lnTo>
                  <a:pt x="6507" y="409"/>
                </a:lnTo>
                <a:lnTo>
                  <a:pt x="6504" y="405"/>
                </a:lnTo>
                <a:lnTo>
                  <a:pt x="6498" y="398"/>
                </a:lnTo>
                <a:lnTo>
                  <a:pt x="6492" y="390"/>
                </a:lnTo>
                <a:lnTo>
                  <a:pt x="6488" y="388"/>
                </a:lnTo>
                <a:lnTo>
                  <a:pt x="6484" y="386"/>
                </a:lnTo>
                <a:lnTo>
                  <a:pt x="6477" y="385"/>
                </a:lnTo>
                <a:lnTo>
                  <a:pt x="6469" y="385"/>
                </a:lnTo>
                <a:lnTo>
                  <a:pt x="6454" y="386"/>
                </a:lnTo>
                <a:lnTo>
                  <a:pt x="6454" y="387"/>
                </a:lnTo>
                <a:lnTo>
                  <a:pt x="6453" y="387"/>
                </a:lnTo>
                <a:lnTo>
                  <a:pt x="6451" y="389"/>
                </a:lnTo>
                <a:lnTo>
                  <a:pt x="6448" y="392"/>
                </a:lnTo>
                <a:lnTo>
                  <a:pt x="6450" y="393"/>
                </a:lnTo>
                <a:lnTo>
                  <a:pt x="6451" y="394"/>
                </a:lnTo>
                <a:lnTo>
                  <a:pt x="6451" y="397"/>
                </a:lnTo>
                <a:lnTo>
                  <a:pt x="6451" y="400"/>
                </a:lnTo>
                <a:lnTo>
                  <a:pt x="6453" y="401"/>
                </a:lnTo>
                <a:lnTo>
                  <a:pt x="6451" y="400"/>
                </a:lnTo>
                <a:lnTo>
                  <a:pt x="6446" y="400"/>
                </a:lnTo>
                <a:lnTo>
                  <a:pt x="6442" y="400"/>
                </a:lnTo>
                <a:lnTo>
                  <a:pt x="6444" y="400"/>
                </a:lnTo>
                <a:lnTo>
                  <a:pt x="6446" y="399"/>
                </a:lnTo>
                <a:lnTo>
                  <a:pt x="6447" y="397"/>
                </a:lnTo>
                <a:lnTo>
                  <a:pt x="6447" y="395"/>
                </a:lnTo>
                <a:lnTo>
                  <a:pt x="6446" y="389"/>
                </a:lnTo>
                <a:lnTo>
                  <a:pt x="6443" y="383"/>
                </a:lnTo>
                <a:lnTo>
                  <a:pt x="6440" y="377"/>
                </a:lnTo>
                <a:lnTo>
                  <a:pt x="6437" y="372"/>
                </a:lnTo>
                <a:lnTo>
                  <a:pt x="6434" y="366"/>
                </a:lnTo>
                <a:lnTo>
                  <a:pt x="6431" y="368"/>
                </a:lnTo>
                <a:lnTo>
                  <a:pt x="6430" y="369"/>
                </a:lnTo>
                <a:lnTo>
                  <a:pt x="6428" y="369"/>
                </a:lnTo>
                <a:lnTo>
                  <a:pt x="6425" y="365"/>
                </a:lnTo>
                <a:lnTo>
                  <a:pt x="6423" y="361"/>
                </a:lnTo>
                <a:lnTo>
                  <a:pt x="6421" y="360"/>
                </a:lnTo>
                <a:lnTo>
                  <a:pt x="6419" y="360"/>
                </a:lnTo>
                <a:lnTo>
                  <a:pt x="6414" y="361"/>
                </a:lnTo>
                <a:lnTo>
                  <a:pt x="6409" y="362"/>
                </a:lnTo>
                <a:lnTo>
                  <a:pt x="6407" y="361"/>
                </a:lnTo>
                <a:lnTo>
                  <a:pt x="6406" y="361"/>
                </a:lnTo>
                <a:lnTo>
                  <a:pt x="6405" y="359"/>
                </a:lnTo>
                <a:lnTo>
                  <a:pt x="6405" y="357"/>
                </a:lnTo>
                <a:lnTo>
                  <a:pt x="6406" y="354"/>
                </a:lnTo>
                <a:lnTo>
                  <a:pt x="6406" y="352"/>
                </a:lnTo>
                <a:lnTo>
                  <a:pt x="6405" y="351"/>
                </a:lnTo>
                <a:lnTo>
                  <a:pt x="6404" y="351"/>
                </a:lnTo>
                <a:lnTo>
                  <a:pt x="6402" y="350"/>
                </a:lnTo>
                <a:lnTo>
                  <a:pt x="6397" y="349"/>
                </a:lnTo>
                <a:lnTo>
                  <a:pt x="6397" y="344"/>
                </a:lnTo>
                <a:lnTo>
                  <a:pt x="6394" y="343"/>
                </a:lnTo>
                <a:lnTo>
                  <a:pt x="6390" y="343"/>
                </a:lnTo>
                <a:lnTo>
                  <a:pt x="6387" y="343"/>
                </a:lnTo>
                <a:lnTo>
                  <a:pt x="6385" y="342"/>
                </a:lnTo>
                <a:lnTo>
                  <a:pt x="6383" y="341"/>
                </a:lnTo>
                <a:lnTo>
                  <a:pt x="6380" y="337"/>
                </a:lnTo>
                <a:lnTo>
                  <a:pt x="6377" y="332"/>
                </a:lnTo>
                <a:lnTo>
                  <a:pt x="6375" y="330"/>
                </a:lnTo>
                <a:lnTo>
                  <a:pt x="6373" y="327"/>
                </a:lnTo>
                <a:lnTo>
                  <a:pt x="6371" y="325"/>
                </a:lnTo>
                <a:lnTo>
                  <a:pt x="6369" y="324"/>
                </a:lnTo>
                <a:lnTo>
                  <a:pt x="6367" y="324"/>
                </a:lnTo>
                <a:lnTo>
                  <a:pt x="6363" y="324"/>
                </a:lnTo>
                <a:lnTo>
                  <a:pt x="6360" y="325"/>
                </a:lnTo>
                <a:lnTo>
                  <a:pt x="6359" y="325"/>
                </a:lnTo>
                <a:lnTo>
                  <a:pt x="6358" y="324"/>
                </a:lnTo>
                <a:lnTo>
                  <a:pt x="6348" y="316"/>
                </a:lnTo>
                <a:lnTo>
                  <a:pt x="6338" y="307"/>
                </a:lnTo>
                <a:lnTo>
                  <a:pt x="6337" y="305"/>
                </a:lnTo>
                <a:lnTo>
                  <a:pt x="6337" y="303"/>
                </a:lnTo>
                <a:lnTo>
                  <a:pt x="6337" y="301"/>
                </a:lnTo>
                <a:lnTo>
                  <a:pt x="6336" y="300"/>
                </a:lnTo>
                <a:lnTo>
                  <a:pt x="6335" y="299"/>
                </a:lnTo>
                <a:lnTo>
                  <a:pt x="6330" y="296"/>
                </a:lnTo>
                <a:lnTo>
                  <a:pt x="6325" y="295"/>
                </a:lnTo>
                <a:lnTo>
                  <a:pt x="6321" y="295"/>
                </a:lnTo>
                <a:lnTo>
                  <a:pt x="6317" y="296"/>
                </a:lnTo>
                <a:lnTo>
                  <a:pt x="6311" y="298"/>
                </a:lnTo>
                <a:lnTo>
                  <a:pt x="6309" y="299"/>
                </a:lnTo>
                <a:lnTo>
                  <a:pt x="6307" y="299"/>
                </a:lnTo>
                <a:lnTo>
                  <a:pt x="6304" y="298"/>
                </a:lnTo>
                <a:lnTo>
                  <a:pt x="6302" y="296"/>
                </a:lnTo>
                <a:lnTo>
                  <a:pt x="6299" y="292"/>
                </a:lnTo>
                <a:lnTo>
                  <a:pt x="6296" y="288"/>
                </a:lnTo>
                <a:lnTo>
                  <a:pt x="6295" y="286"/>
                </a:lnTo>
                <a:lnTo>
                  <a:pt x="6293" y="285"/>
                </a:lnTo>
                <a:lnTo>
                  <a:pt x="6289" y="283"/>
                </a:lnTo>
                <a:lnTo>
                  <a:pt x="6285" y="283"/>
                </a:lnTo>
                <a:lnTo>
                  <a:pt x="6281" y="283"/>
                </a:lnTo>
                <a:lnTo>
                  <a:pt x="6276" y="282"/>
                </a:lnTo>
                <a:lnTo>
                  <a:pt x="6275" y="280"/>
                </a:lnTo>
                <a:lnTo>
                  <a:pt x="6273" y="278"/>
                </a:lnTo>
                <a:lnTo>
                  <a:pt x="6272" y="275"/>
                </a:lnTo>
                <a:lnTo>
                  <a:pt x="6271" y="274"/>
                </a:lnTo>
                <a:lnTo>
                  <a:pt x="6265" y="273"/>
                </a:lnTo>
                <a:lnTo>
                  <a:pt x="6259" y="273"/>
                </a:lnTo>
                <a:lnTo>
                  <a:pt x="6246" y="274"/>
                </a:lnTo>
                <a:lnTo>
                  <a:pt x="6234" y="276"/>
                </a:lnTo>
                <a:lnTo>
                  <a:pt x="6228" y="276"/>
                </a:lnTo>
                <a:lnTo>
                  <a:pt x="6223" y="276"/>
                </a:lnTo>
                <a:lnTo>
                  <a:pt x="6220" y="271"/>
                </a:lnTo>
                <a:lnTo>
                  <a:pt x="6215" y="272"/>
                </a:lnTo>
                <a:lnTo>
                  <a:pt x="6209" y="273"/>
                </a:lnTo>
                <a:lnTo>
                  <a:pt x="6202" y="274"/>
                </a:lnTo>
                <a:lnTo>
                  <a:pt x="6198" y="274"/>
                </a:lnTo>
                <a:lnTo>
                  <a:pt x="6195" y="274"/>
                </a:lnTo>
                <a:lnTo>
                  <a:pt x="6191" y="270"/>
                </a:lnTo>
                <a:lnTo>
                  <a:pt x="6189" y="268"/>
                </a:lnTo>
                <a:lnTo>
                  <a:pt x="6187" y="268"/>
                </a:lnTo>
                <a:lnTo>
                  <a:pt x="6186" y="268"/>
                </a:lnTo>
                <a:lnTo>
                  <a:pt x="6184" y="285"/>
                </a:lnTo>
                <a:lnTo>
                  <a:pt x="6184" y="286"/>
                </a:lnTo>
                <a:lnTo>
                  <a:pt x="6185" y="287"/>
                </a:lnTo>
                <a:lnTo>
                  <a:pt x="6188" y="290"/>
                </a:lnTo>
                <a:lnTo>
                  <a:pt x="6195" y="293"/>
                </a:lnTo>
                <a:lnTo>
                  <a:pt x="6193" y="296"/>
                </a:lnTo>
                <a:lnTo>
                  <a:pt x="6192" y="298"/>
                </a:lnTo>
                <a:lnTo>
                  <a:pt x="6192" y="299"/>
                </a:lnTo>
                <a:lnTo>
                  <a:pt x="6195" y="307"/>
                </a:lnTo>
                <a:lnTo>
                  <a:pt x="6192" y="308"/>
                </a:lnTo>
                <a:lnTo>
                  <a:pt x="6191" y="308"/>
                </a:lnTo>
                <a:lnTo>
                  <a:pt x="6189" y="310"/>
                </a:lnTo>
                <a:lnTo>
                  <a:pt x="6185" y="315"/>
                </a:lnTo>
                <a:lnTo>
                  <a:pt x="6181" y="321"/>
                </a:lnTo>
                <a:lnTo>
                  <a:pt x="6176" y="319"/>
                </a:lnTo>
                <a:lnTo>
                  <a:pt x="6172" y="319"/>
                </a:lnTo>
                <a:lnTo>
                  <a:pt x="6169" y="324"/>
                </a:lnTo>
                <a:lnTo>
                  <a:pt x="6162" y="324"/>
                </a:lnTo>
                <a:lnTo>
                  <a:pt x="6159" y="324"/>
                </a:lnTo>
                <a:lnTo>
                  <a:pt x="6155" y="324"/>
                </a:lnTo>
                <a:lnTo>
                  <a:pt x="6155" y="321"/>
                </a:lnTo>
                <a:lnTo>
                  <a:pt x="6154" y="319"/>
                </a:lnTo>
                <a:lnTo>
                  <a:pt x="6154" y="314"/>
                </a:lnTo>
                <a:lnTo>
                  <a:pt x="6154" y="309"/>
                </a:lnTo>
                <a:lnTo>
                  <a:pt x="6153" y="307"/>
                </a:lnTo>
                <a:lnTo>
                  <a:pt x="6153" y="304"/>
                </a:lnTo>
                <a:lnTo>
                  <a:pt x="6144" y="302"/>
                </a:lnTo>
                <a:lnTo>
                  <a:pt x="6145" y="301"/>
                </a:lnTo>
                <a:lnTo>
                  <a:pt x="6145" y="300"/>
                </a:lnTo>
                <a:lnTo>
                  <a:pt x="6145" y="296"/>
                </a:lnTo>
                <a:lnTo>
                  <a:pt x="6144" y="288"/>
                </a:lnTo>
                <a:lnTo>
                  <a:pt x="6133" y="294"/>
                </a:lnTo>
                <a:lnTo>
                  <a:pt x="6127" y="297"/>
                </a:lnTo>
                <a:lnTo>
                  <a:pt x="6124" y="298"/>
                </a:lnTo>
                <a:lnTo>
                  <a:pt x="6122" y="299"/>
                </a:lnTo>
                <a:lnTo>
                  <a:pt x="6119" y="299"/>
                </a:lnTo>
                <a:lnTo>
                  <a:pt x="6116" y="298"/>
                </a:lnTo>
                <a:lnTo>
                  <a:pt x="6115" y="298"/>
                </a:lnTo>
                <a:lnTo>
                  <a:pt x="6114" y="296"/>
                </a:lnTo>
                <a:lnTo>
                  <a:pt x="6114" y="294"/>
                </a:lnTo>
                <a:lnTo>
                  <a:pt x="6115" y="294"/>
                </a:lnTo>
                <a:lnTo>
                  <a:pt x="6116" y="293"/>
                </a:lnTo>
                <a:lnTo>
                  <a:pt x="6109" y="292"/>
                </a:lnTo>
                <a:lnTo>
                  <a:pt x="6102" y="290"/>
                </a:lnTo>
                <a:lnTo>
                  <a:pt x="6095" y="290"/>
                </a:lnTo>
                <a:lnTo>
                  <a:pt x="6092" y="290"/>
                </a:lnTo>
                <a:lnTo>
                  <a:pt x="6088" y="290"/>
                </a:lnTo>
                <a:lnTo>
                  <a:pt x="6086" y="291"/>
                </a:lnTo>
                <a:lnTo>
                  <a:pt x="6084" y="293"/>
                </a:lnTo>
                <a:lnTo>
                  <a:pt x="6082" y="295"/>
                </a:lnTo>
                <a:lnTo>
                  <a:pt x="6079" y="296"/>
                </a:lnTo>
                <a:lnTo>
                  <a:pt x="6078" y="295"/>
                </a:lnTo>
                <a:lnTo>
                  <a:pt x="6078" y="293"/>
                </a:lnTo>
                <a:lnTo>
                  <a:pt x="6077" y="288"/>
                </a:lnTo>
                <a:lnTo>
                  <a:pt x="6051" y="288"/>
                </a:lnTo>
                <a:lnTo>
                  <a:pt x="6046" y="288"/>
                </a:lnTo>
                <a:lnTo>
                  <a:pt x="6041" y="288"/>
                </a:lnTo>
                <a:lnTo>
                  <a:pt x="6036" y="289"/>
                </a:lnTo>
                <a:lnTo>
                  <a:pt x="6032" y="290"/>
                </a:lnTo>
                <a:lnTo>
                  <a:pt x="6028" y="292"/>
                </a:lnTo>
                <a:lnTo>
                  <a:pt x="6025" y="294"/>
                </a:lnTo>
                <a:lnTo>
                  <a:pt x="6022" y="296"/>
                </a:lnTo>
                <a:lnTo>
                  <a:pt x="6019" y="299"/>
                </a:lnTo>
                <a:lnTo>
                  <a:pt x="6017" y="303"/>
                </a:lnTo>
                <a:lnTo>
                  <a:pt x="6015" y="307"/>
                </a:lnTo>
                <a:lnTo>
                  <a:pt x="6013" y="313"/>
                </a:lnTo>
                <a:lnTo>
                  <a:pt x="6012" y="319"/>
                </a:lnTo>
                <a:lnTo>
                  <a:pt x="6008" y="306"/>
                </a:lnTo>
                <a:lnTo>
                  <a:pt x="6004" y="293"/>
                </a:lnTo>
                <a:lnTo>
                  <a:pt x="5999" y="293"/>
                </a:lnTo>
                <a:lnTo>
                  <a:pt x="5997" y="292"/>
                </a:lnTo>
                <a:lnTo>
                  <a:pt x="5996" y="292"/>
                </a:lnTo>
                <a:lnTo>
                  <a:pt x="5995" y="292"/>
                </a:lnTo>
                <a:lnTo>
                  <a:pt x="5992" y="290"/>
                </a:lnTo>
                <a:lnTo>
                  <a:pt x="5993" y="288"/>
                </a:lnTo>
                <a:lnTo>
                  <a:pt x="5994" y="284"/>
                </a:lnTo>
                <a:lnTo>
                  <a:pt x="5995" y="281"/>
                </a:lnTo>
                <a:lnTo>
                  <a:pt x="5994" y="279"/>
                </a:lnTo>
                <a:lnTo>
                  <a:pt x="5994" y="278"/>
                </a:lnTo>
                <a:lnTo>
                  <a:pt x="5992" y="276"/>
                </a:lnTo>
                <a:lnTo>
                  <a:pt x="5995" y="276"/>
                </a:lnTo>
                <a:lnTo>
                  <a:pt x="5996" y="276"/>
                </a:lnTo>
                <a:lnTo>
                  <a:pt x="5997" y="276"/>
                </a:lnTo>
                <a:lnTo>
                  <a:pt x="5998" y="274"/>
                </a:lnTo>
                <a:lnTo>
                  <a:pt x="5990" y="268"/>
                </a:lnTo>
                <a:lnTo>
                  <a:pt x="5986" y="265"/>
                </a:lnTo>
                <a:lnTo>
                  <a:pt x="5981" y="262"/>
                </a:lnTo>
                <a:lnTo>
                  <a:pt x="5980" y="261"/>
                </a:lnTo>
                <a:lnTo>
                  <a:pt x="5979" y="258"/>
                </a:lnTo>
                <a:lnTo>
                  <a:pt x="5979" y="255"/>
                </a:lnTo>
                <a:lnTo>
                  <a:pt x="5978" y="254"/>
                </a:lnTo>
                <a:lnTo>
                  <a:pt x="5974" y="252"/>
                </a:lnTo>
                <a:lnTo>
                  <a:pt x="5970" y="252"/>
                </a:lnTo>
                <a:lnTo>
                  <a:pt x="5966" y="252"/>
                </a:lnTo>
                <a:lnTo>
                  <a:pt x="5964" y="252"/>
                </a:lnTo>
                <a:lnTo>
                  <a:pt x="5961" y="251"/>
                </a:lnTo>
                <a:lnTo>
                  <a:pt x="5956" y="245"/>
                </a:lnTo>
                <a:lnTo>
                  <a:pt x="5943" y="249"/>
                </a:lnTo>
                <a:lnTo>
                  <a:pt x="5934" y="252"/>
                </a:lnTo>
                <a:lnTo>
                  <a:pt x="5930" y="253"/>
                </a:lnTo>
                <a:lnTo>
                  <a:pt x="5928" y="254"/>
                </a:lnTo>
                <a:lnTo>
                  <a:pt x="5926" y="254"/>
                </a:lnTo>
                <a:lnTo>
                  <a:pt x="5925" y="253"/>
                </a:lnTo>
                <a:lnTo>
                  <a:pt x="5924" y="251"/>
                </a:lnTo>
                <a:lnTo>
                  <a:pt x="5923" y="249"/>
                </a:lnTo>
                <a:lnTo>
                  <a:pt x="5922" y="249"/>
                </a:lnTo>
                <a:lnTo>
                  <a:pt x="5922" y="248"/>
                </a:lnTo>
                <a:lnTo>
                  <a:pt x="5917" y="248"/>
                </a:lnTo>
                <a:lnTo>
                  <a:pt x="5911" y="248"/>
                </a:lnTo>
                <a:lnTo>
                  <a:pt x="5897" y="248"/>
                </a:lnTo>
                <a:lnTo>
                  <a:pt x="5888" y="254"/>
                </a:lnTo>
                <a:lnTo>
                  <a:pt x="5884" y="254"/>
                </a:lnTo>
                <a:lnTo>
                  <a:pt x="5881" y="254"/>
                </a:lnTo>
                <a:lnTo>
                  <a:pt x="5875" y="253"/>
                </a:lnTo>
                <a:lnTo>
                  <a:pt x="5873" y="252"/>
                </a:lnTo>
                <a:lnTo>
                  <a:pt x="5870" y="251"/>
                </a:lnTo>
                <a:lnTo>
                  <a:pt x="5866" y="251"/>
                </a:lnTo>
                <a:lnTo>
                  <a:pt x="5863" y="251"/>
                </a:lnTo>
                <a:lnTo>
                  <a:pt x="5857" y="257"/>
                </a:lnTo>
                <a:lnTo>
                  <a:pt x="5848" y="259"/>
                </a:lnTo>
                <a:lnTo>
                  <a:pt x="5837" y="260"/>
                </a:lnTo>
                <a:lnTo>
                  <a:pt x="5816" y="259"/>
                </a:lnTo>
                <a:lnTo>
                  <a:pt x="5807" y="259"/>
                </a:lnTo>
                <a:lnTo>
                  <a:pt x="5798" y="258"/>
                </a:lnTo>
                <a:lnTo>
                  <a:pt x="5784" y="257"/>
                </a:lnTo>
                <a:lnTo>
                  <a:pt x="5785" y="256"/>
                </a:lnTo>
                <a:lnTo>
                  <a:pt x="5786" y="256"/>
                </a:lnTo>
                <a:lnTo>
                  <a:pt x="5788" y="254"/>
                </a:lnTo>
                <a:lnTo>
                  <a:pt x="5790" y="251"/>
                </a:lnTo>
                <a:lnTo>
                  <a:pt x="5791" y="251"/>
                </a:lnTo>
                <a:lnTo>
                  <a:pt x="5792" y="251"/>
                </a:lnTo>
                <a:lnTo>
                  <a:pt x="5794" y="253"/>
                </a:lnTo>
                <a:lnTo>
                  <a:pt x="5797" y="254"/>
                </a:lnTo>
                <a:lnTo>
                  <a:pt x="5799" y="254"/>
                </a:lnTo>
                <a:lnTo>
                  <a:pt x="5801" y="254"/>
                </a:lnTo>
                <a:lnTo>
                  <a:pt x="5805" y="251"/>
                </a:lnTo>
                <a:lnTo>
                  <a:pt x="5811" y="245"/>
                </a:lnTo>
                <a:lnTo>
                  <a:pt x="5817" y="238"/>
                </a:lnTo>
                <a:lnTo>
                  <a:pt x="5821" y="234"/>
                </a:lnTo>
                <a:lnTo>
                  <a:pt x="5823" y="231"/>
                </a:lnTo>
                <a:lnTo>
                  <a:pt x="5824" y="228"/>
                </a:lnTo>
                <a:lnTo>
                  <a:pt x="5824" y="226"/>
                </a:lnTo>
                <a:lnTo>
                  <a:pt x="5824" y="225"/>
                </a:lnTo>
                <a:lnTo>
                  <a:pt x="5823" y="225"/>
                </a:lnTo>
                <a:lnTo>
                  <a:pt x="5820" y="227"/>
                </a:lnTo>
                <a:lnTo>
                  <a:pt x="5813" y="233"/>
                </a:lnTo>
                <a:lnTo>
                  <a:pt x="5809" y="237"/>
                </a:lnTo>
                <a:lnTo>
                  <a:pt x="5809" y="240"/>
                </a:lnTo>
                <a:lnTo>
                  <a:pt x="5807" y="240"/>
                </a:lnTo>
                <a:lnTo>
                  <a:pt x="5805" y="240"/>
                </a:lnTo>
                <a:lnTo>
                  <a:pt x="5803" y="239"/>
                </a:lnTo>
                <a:lnTo>
                  <a:pt x="5801" y="240"/>
                </a:lnTo>
                <a:lnTo>
                  <a:pt x="5796" y="237"/>
                </a:lnTo>
                <a:lnTo>
                  <a:pt x="5790" y="234"/>
                </a:lnTo>
                <a:lnTo>
                  <a:pt x="5790" y="232"/>
                </a:lnTo>
                <a:lnTo>
                  <a:pt x="5789" y="230"/>
                </a:lnTo>
                <a:lnTo>
                  <a:pt x="5790" y="229"/>
                </a:lnTo>
                <a:lnTo>
                  <a:pt x="5790" y="228"/>
                </a:lnTo>
                <a:lnTo>
                  <a:pt x="5791" y="228"/>
                </a:lnTo>
                <a:lnTo>
                  <a:pt x="5793" y="229"/>
                </a:lnTo>
                <a:lnTo>
                  <a:pt x="5795" y="229"/>
                </a:lnTo>
                <a:lnTo>
                  <a:pt x="5798" y="229"/>
                </a:lnTo>
                <a:lnTo>
                  <a:pt x="5804" y="231"/>
                </a:lnTo>
                <a:lnTo>
                  <a:pt x="5806" y="224"/>
                </a:lnTo>
                <a:lnTo>
                  <a:pt x="5809" y="217"/>
                </a:lnTo>
                <a:lnTo>
                  <a:pt x="5793" y="209"/>
                </a:lnTo>
                <a:lnTo>
                  <a:pt x="5784" y="205"/>
                </a:lnTo>
                <a:lnTo>
                  <a:pt x="5780" y="204"/>
                </a:lnTo>
                <a:lnTo>
                  <a:pt x="5776" y="203"/>
                </a:lnTo>
                <a:lnTo>
                  <a:pt x="5771" y="204"/>
                </a:lnTo>
                <a:lnTo>
                  <a:pt x="5769" y="205"/>
                </a:lnTo>
                <a:lnTo>
                  <a:pt x="5769" y="206"/>
                </a:lnTo>
                <a:lnTo>
                  <a:pt x="5770" y="206"/>
                </a:lnTo>
                <a:lnTo>
                  <a:pt x="5764" y="206"/>
                </a:lnTo>
                <a:lnTo>
                  <a:pt x="5759" y="205"/>
                </a:lnTo>
                <a:lnTo>
                  <a:pt x="5756" y="205"/>
                </a:lnTo>
                <a:lnTo>
                  <a:pt x="5753" y="206"/>
                </a:lnTo>
                <a:lnTo>
                  <a:pt x="5750" y="207"/>
                </a:lnTo>
                <a:lnTo>
                  <a:pt x="5748" y="209"/>
                </a:lnTo>
                <a:lnTo>
                  <a:pt x="5747" y="210"/>
                </a:lnTo>
                <a:lnTo>
                  <a:pt x="5747" y="213"/>
                </a:lnTo>
                <a:lnTo>
                  <a:pt x="5748" y="217"/>
                </a:lnTo>
                <a:lnTo>
                  <a:pt x="5746" y="221"/>
                </a:lnTo>
                <a:lnTo>
                  <a:pt x="5745" y="224"/>
                </a:lnTo>
                <a:lnTo>
                  <a:pt x="5743" y="228"/>
                </a:lnTo>
                <a:lnTo>
                  <a:pt x="5740" y="231"/>
                </a:lnTo>
                <a:lnTo>
                  <a:pt x="5738" y="234"/>
                </a:lnTo>
                <a:lnTo>
                  <a:pt x="5735" y="237"/>
                </a:lnTo>
                <a:lnTo>
                  <a:pt x="5731" y="239"/>
                </a:lnTo>
                <a:lnTo>
                  <a:pt x="5728" y="240"/>
                </a:lnTo>
                <a:lnTo>
                  <a:pt x="5721" y="241"/>
                </a:lnTo>
                <a:lnTo>
                  <a:pt x="5718" y="241"/>
                </a:lnTo>
                <a:lnTo>
                  <a:pt x="5717" y="241"/>
                </a:lnTo>
                <a:lnTo>
                  <a:pt x="5716" y="240"/>
                </a:lnTo>
                <a:lnTo>
                  <a:pt x="5716" y="239"/>
                </a:lnTo>
                <a:lnTo>
                  <a:pt x="5717" y="238"/>
                </a:lnTo>
                <a:lnTo>
                  <a:pt x="5719" y="237"/>
                </a:lnTo>
                <a:lnTo>
                  <a:pt x="5721" y="235"/>
                </a:lnTo>
                <a:lnTo>
                  <a:pt x="5725" y="231"/>
                </a:lnTo>
                <a:lnTo>
                  <a:pt x="5725" y="230"/>
                </a:lnTo>
                <a:lnTo>
                  <a:pt x="5723" y="228"/>
                </a:lnTo>
                <a:lnTo>
                  <a:pt x="5719" y="226"/>
                </a:lnTo>
                <a:lnTo>
                  <a:pt x="5727" y="220"/>
                </a:lnTo>
                <a:lnTo>
                  <a:pt x="5730" y="216"/>
                </a:lnTo>
                <a:lnTo>
                  <a:pt x="5734" y="214"/>
                </a:lnTo>
                <a:lnTo>
                  <a:pt x="5734" y="212"/>
                </a:lnTo>
                <a:lnTo>
                  <a:pt x="5735" y="214"/>
                </a:lnTo>
                <a:lnTo>
                  <a:pt x="5736" y="217"/>
                </a:lnTo>
                <a:lnTo>
                  <a:pt x="5738" y="219"/>
                </a:lnTo>
                <a:lnTo>
                  <a:pt x="5742" y="220"/>
                </a:lnTo>
                <a:lnTo>
                  <a:pt x="5741" y="219"/>
                </a:lnTo>
                <a:lnTo>
                  <a:pt x="5741" y="218"/>
                </a:lnTo>
                <a:lnTo>
                  <a:pt x="5742" y="214"/>
                </a:lnTo>
                <a:lnTo>
                  <a:pt x="5745" y="209"/>
                </a:lnTo>
                <a:lnTo>
                  <a:pt x="5734" y="209"/>
                </a:lnTo>
                <a:lnTo>
                  <a:pt x="5724" y="210"/>
                </a:lnTo>
                <a:lnTo>
                  <a:pt x="5704" y="212"/>
                </a:lnTo>
                <a:lnTo>
                  <a:pt x="5702" y="200"/>
                </a:lnTo>
                <a:lnTo>
                  <a:pt x="5711" y="200"/>
                </a:lnTo>
                <a:lnTo>
                  <a:pt x="5721" y="200"/>
                </a:lnTo>
                <a:lnTo>
                  <a:pt x="5724" y="200"/>
                </a:lnTo>
                <a:lnTo>
                  <a:pt x="5724" y="199"/>
                </a:lnTo>
                <a:lnTo>
                  <a:pt x="5721" y="197"/>
                </a:lnTo>
                <a:lnTo>
                  <a:pt x="5713" y="195"/>
                </a:lnTo>
                <a:lnTo>
                  <a:pt x="5705" y="193"/>
                </a:lnTo>
                <a:lnTo>
                  <a:pt x="5697" y="192"/>
                </a:lnTo>
                <a:lnTo>
                  <a:pt x="5680" y="191"/>
                </a:lnTo>
                <a:lnTo>
                  <a:pt x="5663" y="190"/>
                </a:lnTo>
                <a:lnTo>
                  <a:pt x="5659" y="190"/>
                </a:lnTo>
                <a:lnTo>
                  <a:pt x="5655" y="189"/>
                </a:lnTo>
                <a:lnTo>
                  <a:pt x="5648" y="186"/>
                </a:lnTo>
                <a:lnTo>
                  <a:pt x="5645" y="182"/>
                </a:lnTo>
                <a:lnTo>
                  <a:pt x="5644" y="179"/>
                </a:lnTo>
                <a:lnTo>
                  <a:pt x="5642" y="178"/>
                </a:lnTo>
                <a:lnTo>
                  <a:pt x="5640" y="178"/>
                </a:lnTo>
                <a:lnTo>
                  <a:pt x="5637" y="178"/>
                </a:lnTo>
                <a:lnTo>
                  <a:pt x="5634" y="178"/>
                </a:lnTo>
                <a:lnTo>
                  <a:pt x="5632" y="178"/>
                </a:lnTo>
                <a:lnTo>
                  <a:pt x="5631" y="178"/>
                </a:lnTo>
                <a:lnTo>
                  <a:pt x="5631" y="184"/>
                </a:lnTo>
                <a:lnTo>
                  <a:pt x="5634" y="183"/>
                </a:lnTo>
                <a:lnTo>
                  <a:pt x="5636" y="184"/>
                </a:lnTo>
                <a:lnTo>
                  <a:pt x="5637" y="185"/>
                </a:lnTo>
                <a:lnTo>
                  <a:pt x="5638" y="186"/>
                </a:lnTo>
                <a:lnTo>
                  <a:pt x="5638" y="189"/>
                </a:lnTo>
                <a:lnTo>
                  <a:pt x="5639" y="191"/>
                </a:lnTo>
                <a:lnTo>
                  <a:pt x="5640" y="192"/>
                </a:lnTo>
                <a:lnTo>
                  <a:pt x="5633" y="192"/>
                </a:lnTo>
                <a:lnTo>
                  <a:pt x="5629" y="192"/>
                </a:lnTo>
                <a:lnTo>
                  <a:pt x="5625" y="192"/>
                </a:lnTo>
                <a:lnTo>
                  <a:pt x="5620" y="192"/>
                </a:lnTo>
                <a:lnTo>
                  <a:pt x="5617" y="200"/>
                </a:lnTo>
                <a:lnTo>
                  <a:pt x="5618" y="200"/>
                </a:lnTo>
                <a:lnTo>
                  <a:pt x="5620" y="200"/>
                </a:lnTo>
                <a:lnTo>
                  <a:pt x="5622" y="201"/>
                </a:lnTo>
                <a:lnTo>
                  <a:pt x="5624" y="202"/>
                </a:lnTo>
                <a:lnTo>
                  <a:pt x="5625" y="203"/>
                </a:lnTo>
                <a:lnTo>
                  <a:pt x="5625" y="204"/>
                </a:lnTo>
                <a:lnTo>
                  <a:pt x="5624" y="206"/>
                </a:lnTo>
                <a:lnTo>
                  <a:pt x="5621" y="206"/>
                </a:lnTo>
                <a:lnTo>
                  <a:pt x="5617" y="206"/>
                </a:lnTo>
                <a:lnTo>
                  <a:pt x="5616" y="213"/>
                </a:lnTo>
                <a:lnTo>
                  <a:pt x="5615" y="217"/>
                </a:lnTo>
                <a:lnTo>
                  <a:pt x="5616" y="218"/>
                </a:lnTo>
                <a:lnTo>
                  <a:pt x="5617" y="217"/>
                </a:lnTo>
                <a:lnTo>
                  <a:pt x="5619" y="221"/>
                </a:lnTo>
                <a:lnTo>
                  <a:pt x="5620" y="224"/>
                </a:lnTo>
                <a:lnTo>
                  <a:pt x="5622" y="226"/>
                </a:lnTo>
                <a:lnTo>
                  <a:pt x="5623" y="229"/>
                </a:lnTo>
                <a:lnTo>
                  <a:pt x="5623" y="230"/>
                </a:lnTo>
                <a:lnTo>
                  <a:pt x="5623" y="231"/>
                </a:lnTo>
                <a:lnTo>
                  <a:pt x="5622" y="232"/>
                </a:lnTo>
                <a:lnTo>
                  <a:pt x="5621" y="234"/>
                </a:lnTo>
                <a:lnTo>
                  <a:pt x="5619" y="235"/>
                </a:lnTo>
                <a:lnTo>
                  <a:pt x="5616" y="236"/>
                </a:lnTo>
                <a:lnTo>
                  <a:pt x="5612" y="237"/>
                </a:lnTo>
                <a:lnTo>
                  <a:pt x="5609" y="234"/>
                </a:lnTo>
                <a:lnTo>
                  <a:pt x="5610" y="235"/>
                </a:lnTo>
                <a:lnTo>
                  <a:pt x="5610" y="236"/>
                </a:lnTo>
                <a:lnTo>
                  <a:pt x="5609" y="237"/>
                </a:lnTo>
                <a:lnTo>
                  <a:pt x="5608" y="237"/>
                </a:lnTo>
                <a:lnTo>
                  <a:pt x="5603" y="237"/>
                </a:lnTo>
                <a:lnTo>
                  <a:pt x="5603" y="226"/>
                </a:lnTo>
                <a:lnTo>
                  <a:pt x="5599" y="225"/>
                </a:lnTo>
                <a:lnTo>
                  <a:pt x="5596" y="225"/>
                </a:lnTo>
                <a:lnTo>
                  <a:pt x="5594" y="226"/>
                </a:lnTo>
                <a:lnTo>
                  <a:pt x="5593" y="227"/>
                </a:lnTo>
                <a:lnTo>
                  <a:pt x="5592" y="229"/>
                </a:lnTo>
                <a:lnTo>
                  <a:pt x="5592" y="231"/>
                </a:lnTo>
                <a:lnTo>
                  <a:pt x="5592" y="235"/>
                </a:lnTo>
                <a:lnTo>
                  <a:pt x="5592" y="239"/>
                </a:lnTo>
                <a:lnTo>
                  <a:pt x="5591" y="241"/>
                </a:lnTo>
                <a:lnTo>
                  <a:pt x="5590" y="243"/>
                </a:lnTo>
                <a:lnTo>
                  <a:pt x="5588" y="244"/>
                </a:lnTo>
                <a:lnTo>
                  <a:pt x="5586" y="245"/>
                </a:lnTo>
                <a:lnTo>
                  <a:pt x="5582" y="245"/>
                </a:lnTo>
                <a:lnTo>
                  <a:pt x="5578" y="245"/>
                </a:lnTo>
                <a:lnTo>
                  <a:pt x="5575" y="245"/>
                </a:lnTo>
                <a:lnTo>
                  <a:pt x="5573" y="243"/>
                </a:lnTo>
                <a:lnTo>
                  <a:pt x="5567" y="239"/>
                </a:lnTo>
                <a:lnTo>
                  <a:pt x="5562" y="234"/>
                </a:lnTo>
                <a:lnTo>
                  <a:pt x="5558" y="231"/>
                </a:lnTo>
                <a:lnTo>
                  <a:pt x="5553" y="229"/>
                </a:lnTo>
                <a:lnTo>
                  <a:pt x="5548" y="228"/>
                </a:lnTo>
                <a:lnTo>
                  <a:pt x="5544" y="227"/>
                </a:lnTo>
                <a:lnTo>
                  <a:pt x="5538" y="226"/>
                </a:lnTo>
                <a:lnTo>
                  <a:pt x="5538" y="225"/>
                </a:lnTo>
                <a:lnTo>
                  <a:pt x="5537" y="223"/>
                </a:lnTo>
                <a:lnTo>
                  <a:pt x="5536" y="221"/>
                </a:lnTo>
                <a:lnTo>
                  <a:pt x="5536" y="220"/>
                </a:lnTo>
                <a:lnTo>
                  <a:pt x="5534" y="220"/>
                </a:lnTo>
                <a:lnTo>
                  <a:pt x="5531" y="220"/>
                </a:lnTo>
                <a:lnTo>
                  <a:pt x="5527" y="220"/>
                </a:lnTo>
                <a:lnTo>
                  <a:pt x="5526" y="221"/>
                </a:lnTo>
                <a:lnTo>
                  <a:pt x="5525" y="222"/>
                </a:lnTo>
                <a:lnTo>
                  <a:pt x="5522" y="225"/>
                </a:lnTo>
                <a:lnTo>
                  <a:pt x="5518" y="229"/>
                </a:lnTo>
                <a:lnTo>
                  <a:pt x="5516" y="231"/>
                </a:lnTo>
                <a:lnTo>
                  <a:pt x="5514" y="232"/>
                </a:lnTo>
                <a:lnTo>
                  <a:pt x="5511" y="233"/>
                </a:lnTo>
                <a:lnTo>
                  <a:pt x="5506" y="234"/>
                </a:lnTo>
                <a:lnTo>
                  <a:pt x="5501" y="235"/>
                </a:lnTo>
                <a:lnTo>
                  <a:pt x="5496" y="237"/>
                </a:lnTo>
                <a:lnTo>
                  <a:pt x="5496" y="234"/>
                </a:lnTo>
                <a:lnTo>
                  <a:pt x="5497" y="233"/>
                </a:lnTo>
                <a:lnTo>
                  <a:pt x="5498" y="230"/>
                </a:lnTo>
                <a:lnTo>
                  <a:pt x="5499" y="229"/>
                </a:lnTo>
                <a:lnTo>
                  <a:pt x="5499" y="228"/>
                </a:lnTo>
                <a:lnTo>
                  <a:pt x="5500" y="226"/>
                </a:lnTo>
                <a:lnTo>
                  <a:pt x="5499" y="223"/>
                </a:lnTo>
                <a:lnTo>
                  <a:pt x="5493" y="223"/>
                </a:lnTo>
                <a:lnTo>
                  <a:pt x="5491" y="217"/>
                </a:lnTo>
                <a:lnTo>
                  <a:pt x="5488" y="212"/>
                </a:lnTo>
                <a:lnTo>
                  <a:pt x="5485" y="225"/>
                </a:lnTo>
                <a:lnTo>
                  <a:pt x="5481" y="241"/>
                </a:lnTo>
                <a:lnTo>
                  <a:pt x="5479" y="249"/>
                </a:lnTo>
                <a:lnTo>
                  <a:pt x="5477" y="253"/>
                </a:lnTo>
                <a:lnTo>
                  <a:pt x="5476" y="256"/>
                </a:lnTo>
                <a:lnTo>
                  <a:pt x="5474" y="259"/>
                </a:lnTo>
                <a:lnTo>
                  <a:pt x="5472" y="262"/>
                </a:lnTo>
                <a:lnTo>
                  <a:pt x="5470" y="264"/>
                </a:lnTo>
                <a:lnTo>
                  <a:pt x="5468" y="265"/>
                </a:lnTo>
                <a:lnTo>
                  <a:pt x="5464" y="266"/>
                </a:lnTo>
                <a:lnTo>
                  <a:pt x="5462" y="266"/>
                </a:lnTo>
                <a:lnTo>
                  <a:pt x="5461" y="264"/>
                </a:lnTo>
                <a:lnTo>
                  <a:pt x="5461" y="262"/>
                </a:lnTo>
                <a:lnTo>
                  <a:pt x="5462" y="257"/>
                </a:lnTo>
                <a:lnTo>
                  <a:pt x="5463" y="255"/>
                </a:lnTo>
                <a:lnTo>
                  <a:pt x="5462" y="254"/>
                </a:lnTo>
                <a:lnTo>
                  <a:pt x="5465" y="254"/>
                </a:lnTo>
                <a:lnTo>
                  <a:pt x="5465" y="253"/>
                </a:lnTo>
                <a:lnTo>
                  <a:pt x="5466" y="253"/>
                </a:lnTo>
                <a:lnTo>
                  <a:pt x="5465" y="250"/>
                </a:lnTo>
                <a:lnTo>
                  <a:pt x="5465" y="248"/>
                </a:lnTo>
                <a:lnTo>
                  <a:pt x="5463" y="248"/>
                </a:lnTo>
                <a:lnTo>
                  <a:pt x="5462" y="250"/>
                </a:lnTo>
                <a:lnTo>
                  <a:pt x="5460" y="251"/>
                </a:lnTo>
                <a:lnTo>
                  <a:pt x="5459" y="251"/>
                </a:lnTo>
                <a:lnTo>
                  <a:pt x="5457" y="251"/>
                </a:lnTo>
                <a:lnTo>
                  <a:pt x="5456" y="251"/>
                </a:lnTo>
                <a:lnTo>
                  <a:pt x="5455" y="250"/>
                </a:lnTo>
                <a:lnTo>
                  <a:pt x="5452" y="247"/>
                </a:lnTo>
                <a:lnTo>
                  <a:pt x="5448" y="243"/>
                </a:lnTo>
                <a:lnTo>
                  <a:pt x="5446" y="242"/>
                </a:lnTo>
                <a:lnTo>
                  <a:pt x="5443" y="243"/>
                </a:lnTo>
                <a:lnTo>
                  <a:pt x="5440" y="243"/>
                </a:lnTo>
                <a:lnTo>
                  <a:pt x="5437" y="243"/>
                </a:lnTo>
                <a:lnTo>
                  <a:pt x="5438" y="244"/>
                </a:lnTo>
                <a:lnTo>
                  <a:pt x="5437" y="243"/>
                </a:lnTo>
                <a:lnTo>
                  <a:pt x="5434" y="240"/>
                </a:lnTo>
                <a:lnTo>
                  <a:pt x="5426" y="231"/>
                </a:lnTo>
                <a:lnTo>
                  <a:pt x="5424" y="232"/>
                </a:lnTo>
                <a:lnTo>
                  <a:pt x="5422" y="234"/>
                </a:lnTo>
                <a:lnTo>
                  <a:pt x="5420" y="235"/>
                </a:lnTo>
                <a:lnTo>
                  <a:pt x="5419" y="235"/>
                </a:lnTo>
                <a:lnTo>
                  <a:pt x="5417" y="234"/>
                </a:lnTo>
                <a:lnTo>
                  <a:pt x="5417" y="226"/>
                </a:lnTo>
                <a:lnTo>
                  <a:pt x="5419" y="226"/>
                </a:lnTo>
                <a:lnTo>
                  <a:pt x="5422" y="226"/>
                </a:lnTo>
                <a:lnTo>
                  <a:pt x="5424" y="226"/>
                </a:lnTo>
                <a:lnTo>
                  <a:pt x="5426" y="226"/>
                </a:lnTo>
                <a:lnTo>
                  <a:pt x="5427" y="225"/>
                </a:lnTo>
                <a:lnTo>
                  <a:pt x="5427" y="224"/>
                </a:lnTo>
                <a:lnTo>
                  <a:pt x="5427" y="223"/>
                </a:lnTo>
                <a:lnTo>
                  <a:pt x="5426" y="222"/>
                </a:lnTo>
                <a:lnTo>
                  <a:pt x="5423" y="220"/>
                </a:lnTo>
                <a:lnTo>
                  <a:pt x="5424" y="219"/>
                </a:lnTo>
                <a:lnTo>
                  <a:pt x="5421" y="221"/>
                </a:lnTo>
                <a:lnTo>
                  <a:pt x="5415" y="222"/>
                </a:lnTo>
                <a:lnTo>
                  <a:pt x="5413" y="223"/>
                </a:lnTo>
                <a:lnTo>
                  <a:pt x="5412" y="223"/>
                </a:lnTo>
                <a:lnTo>
                  <a:pt x="5411" y="222"/>
                </a:lnTo>
                <a:lnTo>
                  <a:pt x="5411" y="221"/>
                </a:lnTo>
                <a:lnTo>
                  <a:pt x="5410" y="217"/>
                </a:lnTo>
                <a:lnTo>
                  <a:pt x="5410" y="214"/>
                </a:lnTo>
                <a:lnTo>
                  <a:pt x="5409" y="212"/>
                </a:lnTo>
                <a:lnTo>
                  <a:pt x="5404" y="208"/>
                </a:lnTo>
                <a:lnTo>
                  <a:pt x="5398" y="206"/>
                </a:lnTo>
                <a:lnTo>
                  <a:pt x="5392" y="203"/>
                </a:lnTo>
                <a:lnTo>
                  <a:pt x="5389" y="202"/>
                </a:lnTo>
                <a:lnTo>
                  <a:pt x="5387" y="200"/>
                </a:lnTo>
                <a:lnTo>
                  <a:pt x="5384" y="214"/>
                </a:lnTo>
                <a:lnTo>
                  <a:pt x="5381" y="213"/>
                </a:lnTo>
                <a:lnTo>
                  <a:pt x="5380" y="211"/>
                </a:lnTo>
                <a:lnTo>
                  <a:pt x="5380" y="210"/>
                </a:lnTo>
                <a:lnTo>
                  <a:pt x="5380" y="208"/>
                </a:lnTo>
                <a:lnTo>
                  <a:pt x="5380" y="205"/>
                </a:lnTo>
                <a:lnTo>
                  <a:pt x="5381" y="200"/>
                </a:lnTo>
                <a:lnTo>
                  <a:pt x="5381" y="195"/>
                </a:lnTo>
                <a:lnTo>
                  <a:pt x="5379" y="195"/>
                </a:lnTo>
                <a:lnTo>
                  <a:pt x="5378" y="195"/>
                </a:lnTo>
                <a:lnTo>
                  <a:pt x="5377" y="196"/>
                </a:lnTo>
                <a:lnTo>
                  <a:pt x="5377" y="197"/>
                </a:lnTo>
                <a:lnTo>
                  <a:pt x="5376" y="200"/>
                </a:lnTo>
                <a:lnTo>
                  <a:pt x="5375" y="203"/>
                </a:lnTo>
                <a:lnTo>
                  <a:pt x="5370" y="203"/>
                </a:lnTo>
                <a:lnTo>
                  <a:pt x="5366" y="203"/>
                </a:lnTo>
                <a:lnTo>
                  <a:pt x="5364" y="203"/>
                </a:lnTo>
                <a:lnTo>
                  <a:pt x="5366" y="203"/>
                </a:lnTo>
                <a:lnTo>
                  <a:pt x="5368" y="201"/>
                </a:lnTo>
                <a:lnTo>
                  <a:pt x="5369" y="199"/>
                </a:lnTo>
                <a:lnTo>
                  <a:pt x="5370" y="197"/>
                </a:lnTo>
                <a:lnTo>
                  <a:pt x="5370" y="195"/>
                </a:lnTo>
                <a:lnTo>
                  <a:pt x="5370" y="194"/>
                </a:lnTo>
                <a:lnTo>
                  <a:pt x="5369" y="193"/>
                </a:lnTo>
                <a:lnTo>
                  <a:pt x="5368" y="193"/>
                </a:lnTo>
                <a:lnTo>
                  <a:pt x="5367" y="192"/>
                </a:lnTo>
                <a:lnTo>
                  <a:pt x="5364" y="192"/>
                </a:lnTo>
                <a:lnTo>
                  <a:pt x="5359" y="193"/>
                </a:lnTo>
                <a:lnTo>
                  <a:pt x="5356" y="194"/>
                </a:lnTo>
                <a:lnTo>
                  <a:pt x="5354" y="195"/>
                </a:lnTo>
                <a:lnTo>
                  <a:pt x="5350" y="198"/>
                </a:lnTo>
                <a:lnTo>
                  <a:pt x="5346" y="192"/>
                </a:lnTo>
                <a:lnTo>
                  <a:pt x="5345" y="189"/>
                </a:lnTo>
                <a:lnTo>
                  <a:pt x="5347" y="189"/>
                </a:lnTo>
                <a:lnTo>
                  <a:pt x="5345" y="188"/>
                </a:lnTo>
                <a:lnTo>
                  <a:pt x="5345" y="187"/>
                </a:lnTo>
                <a:lnTo>
                  <a:pt x="5346" y="187"/>
                </a:lnTo>
                <a:lnTo>
                  <a:pt x="5350" y="186"/>
                </a:lnTo>
                <a:lnTo>
                  <a:pt x="5342" y="185"/>
                </a:lnTo>
                <a:lnTo>
                  <a:pt x="5341" y="184"/>
                </a:lnTo>
                <a:lnTo>
                  <a:pt x="5341" y="183"/>
                </a:lnTo>
                <a:lnTo>
                  <a:pt x="5342" y="182"/>
                </a:lnTo>
                <a:lnTo>
                  <a:pt x="5344" y="181"/>
                </a:lnTo>
                <a:lnTo>
                  <a:pt x="5344" y="175"/>
                </a:lnTo>
                <a:lnTo>
                  <a:pt x="5349" y="174"/>
                </a:lnTo>
                <a:lnTo>
                  <a:pt x="5354" y="173"/>
                </a:lnTo>
                <a:lnTo>
                  <a:pt x="5359" y="172"/>
                </a:lnTo>
                <a:lnTo>
                  <a:pt x="5362" y="171"/>
                </a:lnTo>
                <a:lnTo>
                  <a:pt x="5364" y="169"/>
                </a:lnTo>
                <a:lnTo>
                  <a:pt x="5366" y="168"/>
                </a:lnTo>
                <a:lnTo>
                  <a:pt x="5367" y="166"/>
                </a:lnTo>
                <a:lnTo>
                  <a:pt x="5370" y="162"/>
                </a:lnTo>
                <a:lnTo>
                  <a:pt x="5373" y="157"/>
                </a:lnTo>
                <a:lnTo>
                  <a:pt x="5375" y="153"/>
                </a:lnTo>
                <a:lnTo>
                  <a:pt x="5369" y="151"/>
                </a:lnTo>
                <a:lnTo>
                  <a:pt x="5364" y="150"/>
                </a:lnTo>
                <a:lnTo>
                  <a:pt x="5360" y="149"/>
                </a:lnTo>
                <a:lnTo>
                  <a:pt x="5358" y="148"/>
                </a:lnTo>
                <a:lnTo>
                  <a:pt x="5356" y="147"/>
                </a:lnTo>
                <a:lnTo>
                  <a:pt x="5353" y="144"/>
                </a:lnTo>
                <a:lnTo>
                  <a:pt x="5349" y="141"/>
                </a:lnTo>
                <a:lnTo>
                  <a:pt x="5345" y="137"/>
                </a:lnTo>
                <a:lnTo>
                  <a:pt x="5343" y="136"/>
                </a:lnTo>
                <a:lnTo>
                  <a:pt x="5342" y="136"/>
                </a:lnTo>
                <a:lnTo>
                  <a:pt x="5338" y="135"/>
                </a:lnTo>
                <a:lnTo>
                  <a:pt x="5334" y="135"/>
                </a:lnTo>
                <a:lnTo>
                  <a:pt x="5331" y="136"/>
                </a:lnTo>
                <a:lnTo>
                  <a:pt x="5328" y="137"/>
                </a:lnTo>
                <a:lnTo>
                  <a:pt x="5323" y="139"/>
                </a:lnTo>
                <a:lnTo>
                  <a:pt x="5319" y="141"/>
                </a:lnTo>
                <a:lnTo>
                  <a:pt x="5317" y="142"/>
                </a:lnTo>
                <a:lnTo>
                  <a:pt x="5315" y="141"/>
                </a:lnTo>
                <a:lnTo>
                  <a:pt x="5313" y="141"/>
                </a:lnTo>
                <a:lnTo>
                  <a:pt x="5311" y="141"/>
                </a:lnTo>
                <a:lnTo>
                  <a:pt x="5310" y="143"/>
                </a:lnTo>
                <a:lnTo>
                  <a:pt x="5309" y="147"/>
                </a:lnTo>
                <a:lnTo>
                  <a:pt x="5308" y="151"/>
                </a:lnTo>
                <a:lnTo>
                  <a:pt x="5308" y="153"/>
                </a:lnTo>
                <a:lnTo>
                  <a:pt x="5310" y="156"/>
                </a:lnTo>
                <a:lnTo>
                  <a:pt x="5313" y="159"/>
                </a:lnTo>
                <a:lnTo>
                  <a:pt x="5316" y="161"/>
                </a:lnTo>
                <a:lnTo>
                  <a:pt x="5316" y="167"/>
                </a:lnTo>
                <a:lnTo>
                  <a:pt x="5319" y="167"/>
                </a:lnTo>
                <a:lnTo>
                  <a:pt x="5321" y="168"/>
                </a:lnTo>
                <a:lnTo>
                  <a:pt x="5326" y="169"/>
                </a:lnTo>
                <a:lnTo>
                  <a:pt x="5332" y="169"/>
                </a:lnTo>
                <a:lnTo>
                  <a:pt x="5336" y="169"/>
                </a:lnTo>
                <a:lnTo>
                  <a:pt x="5335" y="170"/>
                </a:lnTo>
                <a:lnTo>
                  <a:pt x="5335" y="171"/>
                </a:lnTo>
                <a:lnTo>
                  <a:pt x="5335" y="174"/>
                </a:lnTo>
                <a:lnTo>
                  <a:pt x="5335" y="175"/>
                </a:lnTo>
                <a:lnTo>
                  <a:pt x="5334" y="176"/>
                </a:lnTo>
                <a:lnTo>
                  <a:pt x="5333" y="176"/>
                </a:lnTo>
                <a:lnTo>
                  <a:pt x="5330" y="175"/>
                </a:lnTo>
                <a:lnTo>
                  <a:pt x="5333" y="181"/>
                </a:lnTo>
                <a:lnTo>
                  <a:pt x="5334" y="182"/>
                </a:lnTo>
                <a:lnTo>
                  <a:pt x="5334" y="183"/>
                </a:lnTo>
                <a:lnTo>
                  <a:pt x="5332" y="183"/>
                </a:lnTo>
                <a:lnTo>
                  <a:pt x="5328" y="182"/>
                </a:lnTo>
                <a:lnTo>
                  <a:pt x="5325" y="181"/>
                </a:lnTo>
                <a:lnTo>
                  <a:pt x="5322" y="181"/>
                </a:lnTo>
                <a:lnTo>
                  <a:pt x="5325" y="189"/>
                </a:lnTo>
                <a:lnTo>
                  <a:pt x="5318" y="189"/>
                </a:lnTo>
                <a:lnTo>
                  <a:pt x="5313" y="189"/>
                </a:lnTo>
                <a:lnTo>
                  <a:pt x="5308" y="187"/>
                </a:lnTo>
                <a:lnTo>
                  <a:pt x="5303" y="185"/>
                </a:lnTo>
                <a:lnTo>
                  <a:pt x="5295" y="181"/>
                </a:lnTo>
                <a:lnTo>
                  <a:pt x="5290" y="179"/>
                </a:lnTo>
                <a:lnTo>
                  <a:pt x="5285" y="178"/>
                </a:lnTo>
                <a:lnTo>
                  <a:pt x="5280" y="177"/>
                </a:lnTo>
                <a:lnTo>
                  <a:pt x="5276" y="178"/>
                </a:lnTo>
                <a:lnTo>
                  <a:pt x="5272" y="178"/>
                </a:lnTo>
                <a:lnTo>
                  <a:pt x="5268" y="179"/>
                </a:lnTo>
                <a:lnTo>
                  <a:pt x="5261" y="181"/>
                </a:lnTo>
                <a:lnTo>
                  <a:pt x="5257" y="181"/>
                </a:lnTo>
                <a:lnTo>
                  <a:pt x="5252" y="181"/>
                </a:lnTo>
                <a:lnTo>
                  <a:pt x="5249" y="175"/>
                </a:lnTo>
                <a:lnTo>
                  <a:pt x="5241" y="174"/>
                </a:lnTo>
                <a:lnTo>
                  <a:pt x="5235" y="174"/>
                </a:lnTo>
                <a:lnTo>
                  <a:pt x="5229" y="172"/>
                </a:lnTo>
                <a:lnTo>
                  <a:pt x="5230" y="172"/>
                </a:lnTo>
                <a:lnTo>
                  <a:pt x="5229" y="171"/>
                </a:lnTo>
                <a:lnTo>
                  <a:pt x="5227" y="169"/>
                </a:lnTo>
                <a:lnTo>
                  <a:pt x="5223" y="167"/>
                </a:lnTo>
                <a:lnTo>
                  <a:pt x="5224" y="165"/>
                </a:lnTo>
                <a:lnTo>
                  <a:pt x="5226" y="163"/>
                </a:lnTo>
                <a:lnTo>
                  <a:pt x="5226" y="161"/>
                </a:lnTo>
                <a:lnTo>
                  <a:pt x="5226" y="158"/>
                </a:lnTo>
                <a:lnTo>
                  <a:pt x="5228" y="159"/>
                </a:lnTo>
                <a:lnTo>
                  <a:pt x="5228" y="158"/>
                </a:lnTo>
                <a:lnTo>
                  <a:pt x="5227" y="154"/>
                </a:lnTo>
                <a:lnTo>
                  <a:pt x="5223" y="147"/>
                </a:lnTo>
                <a:lnTo>
                  <a:pt x="5218" y="147"/>
                </a:lnTo>
                <a:lnTo>
                  <a:pt x="5211" y="149"/>
                </a:lnTo>
                <a:lnTo>
                  <a:pt x="5203" y="150"/>
                </a:lnTo>
                <a:lnTo>
                  <a:pt x="5195" y="150"/>
                </a:lnTo>
                <a:lnTo>
                  <a:pt x="5192" y="144"/>
                </a:lnTo>
                <a:lnTo>
                  <a:pt x="5191" y="144"/>
                </a:lnTo>
                <a:lnTo>
                  <a:pt x="5190" y="144"/>
                </a:lnTo>
                <a:lnTo>
                  <a:pt x="5188" y="146"/>
                </a:lnTo>
                <a:lnTo>
                  <a:pt x="5185" y="147"/>
                </a:lnTo>
                <a:lnTo>
                  <a:pt x="5183" y="147"/>
                </a:lnTo>
                <a:lnTo>
                  <a:pt x="5181" y="147"/>
                </a:lnTo>
                <a:lnTo>
                  <a:pt x="5173" y="141"/>
                </a:lnTo>
                <a:lnTo>
                  <a:pt x="5168" y="142"/>
                </a:lnTo>
                <a:lnTo>
                  <a:pt x="5162" y="144"/>
                </a:lnTo>
                <a:lnTo>
                  <a:pt x="5156" y="147"/>
                </a:lnTo>
                <a:lnTo>
                  <a:pt x="5150" y="150"/>
                </a:lnTo>
                <a:lnTo>
                  <a:pt x="5144" y="154"/>
                </a:lnTo>
                <a:lnTo>
                  <a:pt x="5139" y="158"/>
                </a:lnTo>
                <a:lnTo>
                  <a:pt x="5135" y="161"/>
                </a:lnTo>
                <a:lnTo>
                  <a:pt x="5133" y="164"/>
                </a:lnTo>
                <a:lnTo>
                  <a:pt x="5133" y="166"/>
                </a:lnTo>
                <a:lnTo>
                  <a:pt x="5134" y="168"/>
                </a:lnTo>
                <a:lnTo>
                  <a:pt x="5134" y="171"/>
                </a:lnTo>
                <a:lnTo>
                  <a:pt x="5134" y="172"/>
                </a:lnTo>
                <a:lnTo>
                  <a:pt x="5133" y="172"/>
                </a:lnTo>
                <a:lnTo>
                  <a:pt x="5133" y="173"/>
                </a:lnTo>
                <a:lnTo>
                  <a:pt x="5132" y="173"/>
                </a:lnTo>
                <a:lnTo>
                  <a:pt x="5131" y="172"/>
                </a:lnTo>
                <a:lnTo>
                  <a:pt x="5131" y="171"/>
                </a:lnTo>
                <a:lnTo>
                  <a:pt x="5130" y="168"/>
                </a:lnTo>
                <a:lnTo>
                  <a:pt x="5130" y="164"/>
                </a:lnTo>
                <a:lnTo>
                  <a:pt x="5130" y="155"/>
                </a:lnTo>
                <a:lnTo>
                  <a:pt x="5131" y="150"/>
                </a:lnTo>
                <a:lnTo>
                  <a:pt x="5129" y="151"/>
                </a:lnTo>
                <a:lnTo>
                  <a:pt x="5127" y="151"/>
                </a:lnTo>
                <a:lnTo>
                  <a:pt x="5126" y="150"/>
                </a:lnTo>
                <a:lnTo>
                  <a:pt x="5126" y="149"/>
                </a:lnTo>
                <a:lnTo>
                  <a:pt x="5125" y="147"/>
                </a:lnTo>
                <a:lnTo>
                  <a:pt x="5124" y="147"/>
                </a:lnTo>
                <a:lnTo>
                  <a:pt x="5122" y="147"/>
                </a:lnTo>
                <a:lnTo>
                  <a:pt x="5122" y="152"/>
                </a:lnTo>
                <a:lnTo>
                  <a:pt x="5122" y="158"/>
                </a:lnTo>
                <a:lnTo>
                  <a:pt x="5108" y="157"/>
                </a:lnTo>
                <a:lnTo>
                  <a:pt x="5104" y="156"/>
                </a:lnTo>
                <a:lnTo>
                  <a:pt x="5101" y="155"/>
                </a:lnTo>
                <a:lnTo>
                  <a:pt x="5099" y="154"/>
                </a:lnTo>
                <a:lnTo>
                  <a:pt x="5096" y="151"/>
                </a:lnTo>
                <a:lnTo>
                  <a:pt x="5091" y="141"/>
                </a:lnTo>
                <a:lnTo>
                  <a:pt x="5092" y="142"/>
                </a:lnTo>
                <a:lnTo>
                  <a:pt x="5092" y="143"/>
                </a:lnTo>
                <a:lnTo>
                  <a:pt x="5091" y="146"/>
                </a:lnTo>
                <a:lnTo>
                  <a:pt x="5088" y="150"/>
                </a:lnTo>
                <a:lnTo>
                  <a:pt x="5083" y="147"/>
                </a:lnTo>
                <a:lnTo>
                  <a:pt x="5077" y="144"/>
                </a:lnTo>
                <a:lnTo>
                  <a:pt x="5073" y="151"/>
                </a:lnTo>
                <a:lnTo>
                  <a:pt x="5071" y="154"/>
                </a:lnTo>
                <a:lnTo>
                  <a:pt x="5069" y="157"/>
                </a:lnTo>
                <a:lnTo>
                  <a:pt x="5069" y="160"/>
                </a:lnTo>
                <a:lnTo>
                  <a:pt x="5069" y="161"/>
                </a:lnTo>
                <a:lnTo>
                  <a:pt x="5069" y="163"/>
                </a:lnTo>
                <a:lnTo>
                  <a:pt x="5072" y="165"/>
                </a:lnTo>
                <a:lnTo>
                  <a:pt x="5074" y="166"/>
                </a:lnTo>
                <a:lnTo>
                  <a:pt x="5077" y="167"/>
                </a:lnTo>
                <a:lnTo>
                  <a:pt x="5075" y="169"/>
                </a:lnTo>
                <a:lnTo>
                  <a:pt x="5074" y="171"/>
                </a:lnTo>
                <a:lnTo>
                  <a:pt x="5074" y="172"/>
                </a:lnTo>
                <a:lnTo>
                  <a:pt x="5066" y="169"/>
                </a:lnTo>
                <a:lnTo>
                  <a:pt x="5060" y="167"/>
                </a:lnTo>
                <a:lnTo>
                  <a:pt x="5061" y="169"/>
                </a:lnTo>
                <a:lnTo>
                  <a:pt x="5062" y="172"/>
                </a:lnTo>
                <a:lnTo>
                  <a:pt x="5062" y="173"/>
                </a:lnTo>
                <a:lnTo>
                  <a:pt x="5062" y="175"/>
                </a:lnTo>
                <a:lnTo>
                  <a:pt x="5062" y="176"/>
                </a:lnTo>
                <a:lnTo>
                  <a:pt x="5060" y="178"/>
                </a:lnTo>
                <a:lnTo>
                  <a:pt x="5056" y="180"/>
                </a:lnTo>
                <a:lnTo>
                  <a:pt x="5051" y="182"/>
                </a:lnTo>
                <a:lnTo>
                  <a:pt x="5046" y="182"/>
                </a:lnTo>
                <a:lnTo>
                  <a:pt x="5041" y="182"/>
                </a:lnTo>
                <a:lnTo>
                  <a:pt x="5030" y="182"/>
                </a:lnTo>
                <a:lnTo>
                  <a:pt x="5024" y="182"/>
                </a:lnTo>
                <a:lnTo>
                  <a:pt x="5018" y="184"/>
                </a:lnTo>
                <a:lnTo>
                  <a:pt x="5015" y="192"/>
                </a:lnTo>
                <a:lnTo>
                  <a:pt x="4999" y="194"/>
                </a:lnTo>
                <a:lnTo>
                  <a:pt x="4982" y="195"/>
                </a:lnTo>
                <a:lnTo>
                  <a:pt x="4997" y="192"/>
                </a:lnTo>
                <a:lnTo>
                  <a:pt x="5006" y="189"/>
                </a:lnTo>
                <a:lnTo>
                  <a:pt x="5010" y="188"/>
                </a:lnTo>
                <a:lnTo>
                  <a:pt x="5012" y="186"/>
                </a:lnTo>
                <a:lnTo>
                  <a:pt x="5013" y="184"/>
                </a:lnTo>
                <a:lnTo>
                  <a:pt x="5014" y="181"/>
                </a:lnTo>
                <a:lnTo>
                  <a:pt x="5014" y="177"/>
                </a:lnTo>
                <a:lnTo>
                  <a:pt x="5015" y="175"/>
                </a:lnTo>
                <a:lnTo>
                  <a:pt x="5019" y="173"/>
                </a:lnTo>
                <a:lnTo>
                  <a:pt x="5023" y="173"/>
                </a:lnTo>
                <a:lnTo>
                  <a:pt x="5028" y="173"/>
                </a:lnTo>
                <a:lnTo>
                  <a:pt x="5032" y="172"/>
                </a:lnTo>
                <a:lnTo>
                  <a:pt x="5039" y="169"/>
                </a:lnTo>
                <a:lnTo>
                  <a:pt x="5042" y="168"/>
                </a:lnTo>
                <a:lnTo>
                  <a:pt x="5045" y="166"/>
                </a:lnTo>
                <a:lnTo>
                  <a:pt x="5047" y="164"/>
                </a:lnTo>
                <a:lnTo>
                  <a:pt x="5050" y="161"/>
                </a:lnTo>
                <a:lnTo>
                  <a:pt x="5052" y="159"/>
                </a:lnTo>
                <a:lnTo>
                  <a:pt x="5054" y="156"/>
                </a:lnTo>
                <a:lnTo>
                  <a:pt x="5058" y="150"/>
                </a:lnTo>
                <a:lnTo>
                  <a:pt x="5061" y="144"/>
                </a:lnTo>
                <a:lnTo>
                  <a:pt x="5064" y="137"/>
                </a:lnTo>
                <a:lnTo>
                  <a:pt x="5066" y="130"/>
                </a:lnTo>
                <a:lnTo>
                  <a:pt x="5087" y="125"/>
                </a:lnTo>
                <a:lnTo>
                  <a:pt x="5108" y="120"/>
                </a:lnTo>
                <a:lnTo>
                  <a:pt x="5118" y="117"/>
                </a:lnTo>
                <a:lnTo>
                  <a:pt x="5128" y="114"/>
                </a:lnTo>
                <a:lnTo>
                  <a:pt x="5147" y="108"/>
                </a:lnTo>
                <a:lnTo>
                  <a:pt x="5147" y="106"/>
                </a:lnTo>
                <a:lnTo>
                  <a:pt x="5146" y="104"/>
                </a:lnTo>
                <a:lnTo>
                  <a:pt x="5146" y="100"/>
                </a:lnTo>
                <a:lnTo>
                  <a:pt x="5146" y="96"/>
                </a:lnTo>
                <a:lnTo>
                  <a:pt x="5145" y="93"/>
                </a:lnTo>
                <a:lnTo>
                  <a:pt x="5142" y="93"/>
                </a:lnTo>
                <a:lnTo>
                  <a:pt x="5138" y="91"/>
                </a:lnTo>
                <a:lnTo>
                  <a:pt x="5135" y="88"/>
                </a:lnTo>
                <a:lnTo>
                  <a:pt x="5134" y="86"/>
                </a:lnTo>
                <a:lnTo>
                  <a:pt x="5133" y="84"/>
                </a:lnTo>
                <a:lnTo>
                  <a:pt x="5133" y="83"/>
                </a:lnTo>
                <a:lnTo>
                  <a:pt x="5136" y="83"/>
                </a:lnTo>
                <a:lnTo>
                  <a:pt x="5142" y="85"/>
                </a:lnTo>
                <a:lnTo>
                  <a:pt x="5141" y="86"/>
                </a:lnTo>
                <a:lnTo>
                  <a:pt x="5143" y="85"/>
                </a:lnTo>
                <a:lnTo>
                  <a:pt x="5147" y="82"/>
                </a:lnTo>
                <a:lnTo>
                  <a:pt x="5147" y="78"/>
                </a:lnTo>
                <a:lnTo>
                  <a:pt x="5147" y="74"/>
                </a:lnTo>
                <a:lnTo>
                  <a:pt x="5145" y="72"/>
                </a:lnTo>
                <a:lnTo>
                  <a:pt x="5141" y="69"/>
                </a:lnTo>
                <a:lnTo>
                  <a:pt x="5138" y="67"/>
                </a:lnTo>
                <a:lnTo>
                  <a:pt x="5136" y="65"/>
                </a:lnTo>
                <a:lnTo>
                  <a:pt x="5136" y="63"/>
                </a:lnTo>
                <a:lnTo>
                  <a:pt x="5136" y="59"/>
                </a:lnTo>
                <a:lnTo>
                  <a:pt x="5137" y="56"/>
                </a:lnTo>
                <a:lnTo>
                  <a:pt x="5137" y="55"/>
                </a:lnTo>
                <a:lnTo>
                  <a:pt x="5136" y="54"/>
                </a:lnTo>
                <a:lnTo>
                  <a:pt x="5135" y="53"/>
                </a:lnTo>
                <a:lnTo>
                  <a:pt x="5132" y="53"/>
                </a:lnTo>
                <a:lnTo>
                  <a:pt x="5128" y="53"/>
                </a:lnTo>
                <a:lnTo>
                  <a:pt x="5123" y="53"/>
                </a:lnTo>
                <a:lnTo>
                  <a:pt x="5121" y="52"/>
                </a:lnTo>
                <a:lnTo>
                  <a:pt x="5119" y="51"/>
                </a:lnTo>
                <a:lnTo>
                  <a:pt x="5118" y="50"/>
                </a:lnTo>
                <a:lnTo>
                  <a:pt x="5116" y="47"/>
                </a:lnTo>
                <a:lnTo>
                  <a:pt x="5114" y="42"/>
                </a:lnTo>
                <a:lnTo>
                  <a:pt x="5111" y="32"/>
                </a:lnTo>
                <a:lnTo>
                  <a:pt x="5109" y="32"/>
                </a:lnTo>
                <a:lnTo>
                  <a:pt x="5107" y="31"/>
                </a:lnTo>
                <a:lnTo>
                  <a:pt x="5106" y="30"/>
                </a:lnTo>
                <a:lnTo>
                  <a:pt x="5105" y="29"/>
                </a:lnTo>
                <a:lnTo>
                  <a:pt x="5102" y="29"/>
                </a:lnTo>
                <a:lnTo>
                  <a:pt x="5098" y="30"/>
                </a:lnTo>
                <a:lnTo>
                  <a:pt x="5092" y="33"/>
                </a:lnTo>
                <a:lnTo>
                  <a:pt x="5087" y="36"/>
                </a:lnTo>
                <a:lnTo>
                  <a:pt x="5083" y="37"/>
                </a:lnTo>
                <a:lnTo>
                  <a:pt x="5080" y="32"/>
                </a:lnTo>
                <a:lnTo>
                  <a:pt x="5074" y="32"/>
                </a:lnTo>
                <a:lnTo>
                  <a:pt x="5069" y="33"/>
                </a:lnTo>
                <a:lnTo>
                  <a:pt x="5063" y="33"/>
                </a:lnTo>
                <a:lnTo>
                  <a:pt x="5057" y="34"/>
                </a:lnTo>
                <a:lnTo>
                  <a:pt x="5054" y="36"/>
                </a:lnTo>
                <a:lnTo>
                  <a:pt x="5050" y="38"/>
                </a:lnTo>
                <a:lnTo>
                  <a:pt x="5047" y="41"/>
                </a:lnTo>
                <a:lnTo>
                  <a:pt x="5045" y="44"/>
                </a:lnTo>
                <a:lnTo>
                  <a:pt x="5040" y="49"/>
                </a:lnTo>
                <a:lnTo>
                  <a:pt x="5038" y="51"/>
                </a:lnTo>
                <a:lnTo>
                  <a:pt x="5034" y="52"/>
                </a:lnTo>
                <a:lnTo>
                  <a:pt x="5031" y="51"/>
                </a:lnTo>
                <a:lnTo>
                  <a:pt x="5027" y="51"/>
                </a:lnTo>
                <a:lnTo>
                  <a:pt x="5025" y="51"/>
                </a:lnTo>
                <a:lnTo>
                  <a:pt x="5024" y="51"/>
                </a:lnTo>
                <a:lnTo>
                  <a:pt x="5032" y="32"/>
                </a:lnTo>
                <a:lnTo>
                  <a:pt x="5022" y="29"/>
                </a:lnTo>
                <a:lnTo>
                  <a:pt x="5014" y="27"/>
                </a:lnTo>
                <a:lnTo>
                  <a:pt x="5005" y="27"/>
                </a:lnTo>
                <a:lnTo>
                  <a:pt x="4996" y="26"/>
                </a:lnTo>
                <a:lnTo>
                  <a:pt x="4999" y="18"/>
                </a:lnTo>
                <a:lnTo>
                  <a:pt x="5001" y="15"/>
                </a:lnTo>
                <a:lnTo>
                  <a:pt x="5004" y="12"/>
                </a:lnTo>
                <a:lnTo>
                  <a:pt x="4996" y="8"/>
                </a:lnTo>
                <a:lnTo>
                  <a:pt x="4987" y="4"/>
                </a:lnTo>
                <a:lnTo>
                  <a:pt x="4977" y="1"/>
                </a:lnTo>
                <a:lnTo>
                  <a:pt x="4972" y="0"/>
                </a:lnTo>
                <a:lnTo>
                  <a:pt x="4967" y="1"/>
                </a:lnTo>
                <a:lnTo>
                  <a:pt x="4965" y="9"/>
                </a:lnTo>
                <a:lnTo>
                  <a:pt x="4954" y="9"/>
                </a:lnTo>
                <a:lnTo>
                  <a:pt x="4947" y="9"/>
                </a:lnTo>
                <a:lnTo>
                  <a:pt x="4942" y="9"/>
                </a:lnTo>
                <a:lnTo>
                  <a:pt x="4939" y="11"/>
                </a:lnTo>
                <a:lnTo>
                  <a:pt x="4933" y="16"/>
                </a:lnTo>
                <a:lnTo>
                  <a:pt x="4929" y="19"/>
                </a:lnTo>
                <a:lnTo>
                  <a:pt x="4922" y="23"/>
                </a:lnTo>
                <a:lnTo>
                  <a:pt x="4922" y="29"/>
                </a:lnTo>
                <a:lnTo>
                  <a:pt x="4920" y="30"/>
                </a:lnTo>
                <a:lnTo>
                  <a:pt x="4918" y="30"/>
                </a:lnTo>
                <a:lnTo>
                  <a:pt x="4915" y="30"/>
                </a:lnTo>
                <a:lnTo>
                  <a:pt x="4914" y="32"/>
                </a:lnTo>
                <a:lnTo>
                  <a:pt x="4914" y="34"/>
                </a:lnTo>
                <a:lnTo>
                  <a:pt x="4914" y="36"/>
                </a:lnTo>
                <a:lnTo>
                  <a:pt x="4915" y="38"/>
                </a:lnTo>
                <a:lnTo>
                  <a:pt x="4914" y="40"/>
                </a:lnTo>
                <a:lnTo>
                  <a:pt x="4920" y="45"/>
                </a:lnTo>
                <a:lnTo>
                  <a:pt x="4925" y="51"/>
                </a:lnTo>
                <a:lnTo>
                  <a:pt x="4919" y="50"/>
                </a:lnTo>
                <a:lnTo>
                  <a:pt x="4913" y="48"/>
                </a:lnTo>
                <a:lnTo>
                  <a:pt x="4903" y="47"/>
                </a:lnTo>
                <a:lnTo>
                  <a:pt x="4893" y="46"/>
                </a:lnTo>
                <a:lnTo>
                  <a:pt x="4880" y="46"/>
                </a:lnTo>
                <a:lnTo>
                  <a:pt x="4883" y="54"/>
                </a:lnTo>
                <a:lnTo>
                  <a:pt x="4886" y="57"/>
                </a:lnTo>
                <a:lnTo>
                  <a:pt x="4881" y="57"/>
                </a:lnTo>
                <a:lnTo>
                  <a:pt x="4876" y="57"/>
                </a:lnTo>
                <a:lnTo>
                  <a:pt x="4873" y="58"/>
                </a:lnTo>
                <a:lnTo>
                  <a:pt x="4871" y="59"/>
                </a:lnTo>
                <a:lnTo>
                  <a:pt x="4869" y="60"/>
                </a:lnTo>
                <a:lnTo>
                  <a:pt x="4869" y="64"/>
                </a:lnTo>
                <a:lnTo>
                  <a:pt x="4869" y="68"/>
                </a:lnTo>
                <a:lnTo>
                  <a:pt x="4860" y="73"/>
                </a:lnTo>
                <a:lnTo>
                  <a:pt x="4856" y="75"/>
                </a:lnTo>
                <a:lnTo>
                  <a:pt x="4852" y="77"/>
                </a:lnTo>
                <a:lnTo>
                  <a:pt x="4850" y="77"/>
                </a:lnTo>
                <a:lnTo>
                  <a:pt x="4849" y="76"/>
                </a:lnTo>
                <a:lnTo>
                  <a:pt x="4849" y="75"/>
                </a:lnTo>
                <a:lnTo>
                  <a:pt x="4849" y="73"/>
                </a:lnTo>
                <a:lnTo>
                  <a:pt x="4849" y="71"/>
                </a:lnTo>
                <a:lnTo>
                  <a:pt x="4843" y="74"/>
                </a:lnTo>
                <a:lnTo>
                  <a:pt x="4840" y="75"/>
                </a:lnTo>
                <a:lnTo>
                  <a:pt x="4835" y="77"/>
                </a:lnTo>
                <a:lnTo>
                  <a:pt x="4830" y="82"/>
                </a:lnTo>
                <a:lnTo>
                  <a:pt x="4828" y="82"/>
                </a:lnTo>
                <a:lnTo>
                  <a:pt x="4827" y="81"/>
                </a:lnTo>
                <a:lnTo>
                  <a:pt x="4826" y="80"/>
                </a:lnTo>
                <a:lnTo>
                  <a:pt x="4827" y="79"/>
                </a:lnTo>
                <a:lnTo>
                  <a:pt x="4828" y="75"/>
                </a:lnTo>
                <a:lnTo>
                  <a:pt x="4830" y="74"/>
                </a:lnTo>
                <a:lnTo>
                  <a:pt x="4833" y="71"/>
                </a:lnTo>
                <a:lnTo>
                  <a:pt x="4836" y="69"/>
                </a:lnTo>
                <a:lnTo>
                  <a:pt x="4841" y="66"/>
                </a:lnTo>
                <a:lnTo>
                  <a:pt x="4842" y="64"/>
                </a:lnTo>
                <a:lnTo>
                  <a:pt x="4842" y="63"/>
                </a:lnTo>
                <a:lnTo>
                  <a:pt x="4842" y="62"/>
                </a:lnTo>
                <a:lnTo>
                  <a:pt x="4840" y="60"/>
                </a:lnTo>
                <a:lnTo>
                  <a:pt x="4835" y="57"/>
                </a:lnTo>
                <a:lnTo>
                  <a:pt x="4837" y="57"/>
                </a:lnTo>
                <a:lnTo>
                  <a:pt x="4839" y="57"/>
                </a:lnTo>
                <a:lnTo>
                  <a:pt x="4844" y="57"/>
                </a:lnTo>
                <a:lnTo>
                  <a:pt x="4847" y="48"/>
                </a:lnTo>
                <a:lnTo>
                  <a:pt x="4824" y="48"/>
                </a:lnTo>
                <a:lnTo>
                  <a:pt x="4824" y="53"/>
                </a:lnTo>
                <a:lnTo>
                  <a:pt x="4824" y="57"/>
                </a:lnTo>
                <a:lnTo>
                  <a:pt x="4828" y="57"/>
                </a:lnTo>
                <a:lnTo>
                  <a:pt x="4832" y="57"/>
                </a:lnTo>
                <a:lnTo>
                  <a:pt x="4830" y="60"/>
                </a:lnTo>
                <a:lnTo>
                  <a:pt x="4829" y="61"/>
                </a:lnTo>
                <a:lnTo>
                  <a:pt x="4829" y="62"/>
                </a:lnTo>
                <a:lnTo>
                  <a:pt x="4830" y="63"/>
                </a:lnTo>
                <a:lnTo>
                  <a:pt x="4820" y="62"/>
                </a:lnTo>
                <a:lnTo>
                  <a:pt x="4810" y="63"/>
                </a:lnTo>
                <a:lnTo>
                  <a:pt x="4801" y="63"/>
                </a:lnTo>
                <a:lnTo>
                  <a:pt x="4796" y="63"/>
                </a:lnTo>
                <a:lnTo>
                  <a:pt x="4790" y="63"/>
                </a:lnTo>
                <a:lnTo>
                  <a:pt x="4789" y="62"/>
                </a:lnTo>
                <a:lnTo>
                  <a:pt x="4788" y="60"/>
                </a:lnTo>
                <a:lnTo>
                  <a:pt x="4785" y="59"/>
                </a:lnTo>
                <a:lnTo>
                  <a:pt x="4784" y="59"/>
                </a:lnTo>
                <a:lnTo>
                  <a:pt x="4782" y="60"/>
                </a:lnTo>
                <a:lnTo>
                  <a:pt x="4782" y="64"/>
                </a:lnTo>
                <a:lnTo>
                  <a:pt x="4782" y="68"/>
                </a:lnTo>
                <a:lnTo>
                  <a:pt x="4769" y="70"/>
                </a:lnTo>
                <a:lnTo>
                  <a:pt x="4759" y="72"/>
                </a:lnTo>
                <a:lnTo>
                  <a:pt x="4749" y="75"/>
                </a:lnTo>
                <a:lnTo>
                  <a:pt x="4743" y="76"/>
                </a:lnTo>
                <a:lnTo>
                  <a:pt x="4737" y="77"/>
                </a:lnTo>
                <a:lnTo>
                  <a:pt x="4729" y="77"/>
                </a:lnTo>
                <a:lnTo>
                  <a:pt x="4723" y="75"/>
                </a:lnTo>
                <a:lnTo>
                  <a:pt x="4718" y="74"/>
                </a:lnTo>
                <a:lnTo>
                  <a:pt x="4716" y="74"/>
                </a:lnTo>
                <a:lnTo>
                  <a:pt x="4714" y="74"/>
                </a:lnTo>
                <a:lnTo>
                  <a:pt x="4713" y="74"/>
                </a:lnTo>
                <a:lnTo>
                  <a:pt x="4712" y="75"/>
                </a:lnTo>
                <a:lnTo>
                  <a:pt x="4708" y="78"/>
                </a:lnTo>
                <a:lnTo>
                  <a:pt x="4703" y="82"/>
                </a:lnTo>
                <a:lnTo>
                  <a:pt x="4700" y="83"/>
                </a:lnTo>
                <a:lnTo>
                  <a:pt x="4696" y="83"/>
                </a:lnTo>
                <a:lnTo>
                  <a:pt x="4689" y="83"/>
                </a:lnTo>
                <a:lnTo>
                  <a:pt x="4675" y="82"/>
                </a:lnTo>
                <a:lnTo>
                  <a:pt x="4677" y="84"/>
                </a:lnTo>
                <a:lnTo>
                  <a:pt x="4680" y="86"/>
                </a:lnTo>
                <a:lnTo>
                  <a:pt x="4681" y="88"/>
                </a:lnTo>
                <a:lnTo>
                  <a:pt x="4682" y="90"/>
                </a:lnTo>
                <a:lnTo>
                  <a:pt x="4682" y="92"/>
                </a:lnTo>
                <a:lnTo>
                  <a:pt x="4681" y="94"/>
                </a:lnTo>
                <a:lnTo>
                  <a:pt x="4679" y="95"/>
                </a:lnTo>
                <a:lnTo>
                  <a:pt x="4675" y="96"/>
                </a:lnTo>
                <a:lnTo>
                  <a:pt x="4674" y="105"/>
                </a:lnTo>
                <a:lnTo>
                  <a:pt x="4672" y="110"/>
                </a:lnTo>
                <a:lnTo>
                  <a:pt x="4669" y="106"/>
                </a:lnTo>
                <a:lnTo>
                  <a:pt x="4667" y="102"/>
                </a:lnTo>
                <a:lnTo>
                  <a:pt x="4665" y="102"/>
                </a:lnTo>
                <a:lnTo>
                  <a:pt x="4662" y="102"/>
                </a:lnTo>
                <a:lnTo>
                  <a:pt x="4660" y="102"/>
                </a:lnTo>
                <a:lnTo>
                  <a:pt x="4657" y="103"/>
                </a:lnTo>
                <a:lnTo>
                  <a:pt x="4655" y="104"/>
                </a:lnTo>
                <a:lnTo>
                  <a:pt x="4654" y="106"/>
                </a:lnTo>
                <a:lnTo>
                  <a:pt x="4654" y="107"/>
                </a:lnTo>
                <a:lnTo>
                  <a:pt x="4655" y="108"/>
                </a:lnTo>
                <a:lnTo>
                  <a:pt x="4662" y="111"/>
                </a:lnTo>
                <a:lnTo>
                  <a:pt x="4664" y="112"/>
                </a:lnTo>
                <a:lnTo>
                  <a:pt x="4664" y="113"/>
                </a:lnTo>
                <a:lnTo>
                  <a:pt x="4665" y="114"/>
                </a:lnTo>
                <a:lnTo>
                  <a:pt x="4667" y="116"/>
                </a:lnTo>
                <a:lnTo>
                  <a:pt x="4663" y="117"/>
                </a:lnTo>
                <a:lnTo>
                  <a:pt x="4660" y="118"/>
                </a:lnTo>
                <a:lnTo>
                  <a:pt x="4655" y="119"/>
                </a:lnTo>
                <a:lnTo>
                  <a:pt x="4661" y="127"/>
                </a:lnTo>
                <a:lnTo>
                  <a:pt x="4666" y="135"/>
                </a:lnTo>
                <a:lnTo>
                  <a:pt x="4670" y="143"/>
                </a:lnTo>
                <a:lnTo>
                  <a:pt x="4675" y="153"/>
                </a:lnTo>
                <a:lnTo>
                  <a:pt x="4668" y="153"/>
                </a:lnTo>
                <a:lnTo>
                  <a:pt x="4661" y="153"/>
                </a:lnTo>
                <a:lnTo>
                  <a:pt x="4662" y="151"/>
                </a:lnTo>
                <a:lnTo>
                  <a:pt x="4664" y="147"/>
                </a:lnTo>
                <a:lnTo>
                  <a:pt x="4664" y="145"/>
                </a:lnTo>
                <a:lnTo>
                  <a:pt x="4664" y="144"/>
                </a:lnTo>
                <a:lnTo>
                  <a:pt x="4662" y="142"/>
                </a:lnTo>
                <a:lnTo>
                  <a:pt x="4660" y="142"/>
                </a:lnTo>
                <a:lnTo>
                  <a:pt x="4658" y="141"/>
                </a:lnTo>
                <a:lnTo>
                  <a:pt x="4658" y="138"/>
                </a:lnTo>
                <a:lnTo>
                  <a:pt x="4655" y="138"/>
                </a:lnTo>
                <a:lnTo>
                  <a:pt x="4652" y="139"/>
                </a:lnTo>
                <a:lnTo>
                  <a:pt x="4645" y="141"/>
                </a:lnTo>
                <a:lnTo>
                  <a:pt x="4638" y="143"/>
                </a:lnTo>
                <a:lnTo>
                  <a:pt x="4635" y="144"/>
                </a:lnTo>
                <a:lnTo>
                  <a:pt x="4633" y="144"/>
                </a:lnTo>
                <a:lnTo>
                  <a:pt x="4628" y="143"/>
                </a:lnTo>
                <a:lnTo>
                  <a:pt x="4624" y="141"/>
                </a:lnTo>
                <a:lnTo>
                  <a:pt x="4621" y="139"/>
                </a:lnTo>
                <a:lnTo>
                  <a:pt x="4619" y="138"/>
                </a:lnTo>
                <a:lnTo>
                  <a:pt x="4568" y="147"/>
                </a:lnTo>
                <a:lnTo>
                  <a:pt x="4564" y="150"/>
                </a:lnTo>
                <a:lnTo>
                  <a:pt x="4560" y="153"/>
                </a:lnTo>
                <a:lnTo>
                  <a:pt x="4558" y="156"/>
                </a:lnTo>
                <a:lnTo>
                  <a:pt x="4556" y="159"/>
                </a:lnTo>
                <a:lnTo>
                  <a:pt x="4554" y="167"/>
                </a:lnTo>
                <a:lnTo>
                  <a:pt x="4554" y="172"/>
                </a:lnTo>
                <a:lnTo>
                  <a:pt x="4554" y="176"/>
                </a:lnTo>
                <a:lnTo>
                  <a:pt x="4554" y="180"/>
                </a:lnTo>
                <a:lnTo>
                  <a:pt x="4555" y="184"/>
                </a:lnTo>
                <a:lnTo>
                  <a:pt x="4555" y="188"/>
                </a:lnTo>
                <a:lnTo>
                  <a:pt x="4557" y="192"/>
                </a:lnTo>
                <a:lnTo>
                  <a:pt x="4558" y="195"/>
                </a:lnTo>
                <a:lnTo>
                  <a:pt x="4560" y="199"/>
                </a:lnTo>
                <a:lnTo>
                  <a:pt x="4562" y="201"/>
                </a:lnTo>
                <a:lnTo>
                  <a:pt x="4565" y="203"/>
                </a:lnTo>
                <a:lnTo>
                  <a:pt x="4568" y="205"/>
                </a:lnTo>
                <a:lnTo>
                  <a:pt x="4571" y="206"/>
                </a:lnTo>
                <a:lnTo>
                  <a:pt x="4573" y="206"/>
                </a:lnTo>
                <a:lnTo>
                  <a:pt x="4575" y="206"/>
                </a:lnTo>
                <a:lnTo>
                  <a:pt x="4578" y="205"/>
                </a:lnTo>
                <a:lnTo>
                  <a:pt x="4580" y="203"/>
                </a:lnTo>
                <a:lnTo>
                  <a:pt x="4581" y="203"/>
                </a:lnTo>
                <a:lnTo>
                  <a:pt x="4582" y="203"/>
                </a:lnTo>
                <a:lnTo>
                  <a:pt x="4583" y="204"/>
                </a:lnTo>
                <a:lnTo>
                  <a:pt x="4584" y="205"/>
                </a:lnTo>
                <a:lnTo>
                  <a:pt x="4586" y="209"/>
                </a:lnTo>
                <a:lnTo>
                  <a:pt x="4588" y="212"/>
                </a:lnTo>
                <a:lnTo>
                  <a:pt x="4591" y="214"/>
                </a:lnTo>
                <a:lnTo>
                  <a:pt x="4594" y="216"/>
                </a:lnTo>
                <a:lnTo>
                  <a:pt x="4598" y="217"/>
                </a:lnTo>
                <a:lnTo>
                  <a:pt x="4605" y="220"/>
                </a:lnTo>
                <a:lnTo>
                  <a:pt x="4602" y="228"/>
                </a:lnTo>
                <a:lnTo>
                  <a:pt x="4601" y="236"/>
                </a:lnTo>
                <a:lnTo>
                  <a:pt x="4599" y="254"/>
                </a:lnTo>
                <a:lnTo>
                  <a:pt x="4601" y="255"/>
                </a:lnTo>
                <a:lnTo>
                  <a:pt x="4602" y="256"/>
                </a:lnTo>
                <a:lnTo>
                  <a:pt x="4602" y="257"/>
                </a:lnTo>
                <a:lnTo>
                  <a:pt x="4602" y="259"/>
                </a:lnTo>
                <a:lnTo>
                  <a:pt x="4602" y="262"/>
                </a:lnTo>
                <a:lnTo>
                  <a:pt x="4604" y="262"/>
                </a:lnTo>
                <a:lnTo>
                  <a:pt x="4605" y="264"/>
                </a:lnTo>
                <a:lnTo>
                  <a:pt x="4604" y="265"/>
                </a:lnTo>
                <a:lnTo>
                  <a:pt x="4603" y="269"/>
                </a:lnTo>
                <a:lnTo>
                  <a:pt x="4602" y="271"/>
                </a:lnTo>
                <a:lnTo>
                  <a:pt x="4599" y="271"/>
                </a:lnTo>
                <a:lnTo>
                  <a:pt x="4596" y="271"/>
                </a:lnTo>
                <a:lnTo>
                  <a:pt x="4593" y="270"/>
                </a:lnTo>
                <a:lnTo>
                  <a:pt x="4592" y="270"/>
                </a:lnTo>
                <a:lnTo>
                  <a:pt x="4591" y="271"/>
                </a:lnTo>
                <a:lnTo>
                  <a:pt x="4591" y="279"/>
                </a:lnTo>
                <a:lnTo>
                  <a:pt x="4600" y="285"/>
                </a:lnTo>
                <a:lnTo>
                  <a:pt x="4607" y="290"/>
                </a:lnTo>
                <a:lnTo>
                  <a:pt x="4610" y="291"/>
                </a:lnTo>
                <a:lnTo>
                  <a:pt x="4612" y="290"/>
                </a:lnTo>
                <a:lnTo>
                  <a:pt x="4615" y="288"/>
                </a:lnTo>
                <a:lnTo>
                  <a:pt x="4617" y="286"/>
                </a:lnTo>
                <a:lnTo>
                  <a:pt x="4618" y="285"/>
                </a:lnTo>
                <a:lnTo>
                  <a:pt x="4619" y="285"/>
                </a:lnTo>
                <a:lnTo>
                  <a:pt x="4622" y="284"/>
                </a:lnTo>
                <a:lnTo>
                  <a:pt x="4625" y="285"/>
                </a:lnTo>
                <a:lnTo>
                  <a:pt x="4627" y="285"/>
                </a:lnTo>
                <a:lnTo>
                  <a:pt x="4629" y="286"/>
                </a:lnTo>
                <a:lnTo>
                  <a:pt x="4633" y="288"/>
                </a:lnTo>
                <a:lnTo>
                  <a:pt x="4638" y="290"/>
                </a:lnTo>
                <a:lnTo>
                  <a:pt x="4641" y="304"/>
                </a:lnTo>
                <a:lnTo>
                  <a:pt x="4636" y="304"/>
                </a:lnTo>
                <a:lnTo>
                  <a:pt x="4633" y="293"/>
                </a:lnTo>
                <a:lnTo>
                  <a:pt x="4624" y="293"/>
                </a:lnTo>
                <a:lnTo>
                  <a:pt x="4615" y="293"/>
                </a:lnTo>
                <a:lnTo>
                  <a:pt x="4605" y="293"/>
                </a:lnTo>
                <a:lnTo>
                  <a:pt x="4593" y="293"/>
                </a:lnTo>
                <a:lnTo>
                  <a:pt x="4593" y="291"/>
                </a:lnTo>
                <a:lnTo>
                  <a:pt x="4592" y="288"/>
                </a:lnTo>
                <a:lnTo>
                  <a:pt x="4592" y="285"/>
                </a:lnTo>
                <a:lnTo>
                  <a:pt x="4591" y="282"/>
                </a:lnTo>
                <a:lnTo>
                  <a:pt x="4582" y="277"/>
                </a:lnTo>
                <a:lnTo>
                  <a:pt x="4578" y="275"/>
                </a:lnTo>
                <a:lnTo>
                  <a:pt x="4579" y="276"/>
                </a:lnTo>
                <a:lnTo>
                  <a:pt x="4575" y="277"/>
                </a:lnTo>
                <a:lnTo>
                  <a:pt x="4574" y="277"/>
                </a:lnTo>
                <a:lnTo>
                  <a:pt x="4575" y="278"/>
                </a:lnTo>
                <a:lnTo>
                  <a:pt x="4577" y="279"/>
                </a:lnTo>
                <a:lnTo>
                  <a:pt x="4574" y="282"/>
                </a:lnTo>
                <a:lnTo>
                  <a:pt x="4568" y="282"/>
                </a:lnTo>
                <a:lnTo>
                  <a:pt x="4572" y="265"/>
                </a:lnTo>
                <a:lnTo>
                  <a:pt x="4574" y="257"/>
                </a:lnTo>
                <a:lnTo>
                  <a:pt x="4576" y="250"/>
                </a:lnTo>
                <a:lnTo>
                  <a:pt x="4579" y="243"/>
                </a:lnTo>
                <a:lnTo>
                  <a:pt x="4582" y="236"/>
                </a:lnTo>
                <a:lnTo>
                  <a:pt x="4586" y="230"/>
                </a:lnTo>
                <a:lnTo>
                  <a:pt x="4591" y="223"/>
                </a:lnTo>
                <a:lnTo>
                  <a:pt x="4584" y="222"/>
                </a:lnTo>
                <a:lnTo>
                  <a:pt x="4575" y="220"/>
                </a:lnTo>
                <a:lnTo>
                  <a:pt x="4566" y="218"/>
                </a:lnTo>
                <a:lnTo>
                  <a:pt x="4560" y="217"/>
                </a:lnTo>
                <a:lnTo>
                  <a:pt x="4562" y="223"/>
                </a:lnTo>
                <a:lnTo>
                  <a:pt x="4557" y="223"/>
                </a:lnTo>
                <a:lnTo>
                  <a:pt x="4552" y="214"/>
                </a:lnTo>
                <a:lnTo>
                  <a:pt x="4548" y="206"/>
                </a:lnTo>
                <a:lnTo>
                  <a:pt x="4547" y="205"/>
                </a:lnTo>
                <a:lnTo>
                  <a:pt x="4546" y="207"/>
                </a:lnTo>
                <a:lnTo>
                  <a:pt x="4545" y="208"/>
                </a:lnTo>
                <a:lnTo>
                  <a:pt x="4544" y="209"/>
                </a:lnTo>
                <a:lnTo>
                  <a:pt x="4543" y="209"/>
                </a:lnTo>
                <a:lnTo>
                  <a:pt x="4537" y="203"/>
                </a:lnTo>
                <a:lnTo>
                  <a:pt x="4528" y="200"/>
                </a:lnTo>
                <a:lnTo>
                  <a:pt x="4524" y="199"/>
                </a:lnTo>
                <a:lnTo>
                  <a:pt x="4520" y="199"/>
                </a:lnTo>
                <a:lnTo>
                  <a:pt x="4516" y="199"/>
                </a:lnTo>
                <a:lnTo>
                  <a:pt x="4512" y="200"/>
                </a:lnTo>
                <a:lnTo>
                  <a:pt x="4503" y="203"/>
                </a:lnTo>
                <a:lnTo>
                  <a:pt x="4501" y="205"/>
                </a:lnTo>
                <a:lnTo>
                  <a:pt x="4499" y="206"/>
                </a:lnTo>
                <a:lnTo>
                  <a:pt x="4497" y="208"/>
                </a:lnTo>
                <a:lnTo>
                  <a:pt x="4496" y="209"/>
                </a:lnTo>
                <a:lnTo>
                  <a:pt x="4497" y="211"/>
                </a:lnTo>
                <a:lnTo>
                  <a:pt x="4498" y="211"/>
                </a:lnTo>
                <a:lnTo>
                  <a:pt x="4501" y="212"/>
                </a:lnTo>
                <a:lnTo>
                  <a:pt x="4506" y="212"/>
                </a:lnTo>
                <a:lnTo>
                  <a:pt x="4507" y="215"/>
                </a:lnTo>
                <a:lnTo>
                  <a:pt x="4509" y="217"/>
                </a:lnTo>
                <a:lnTo>
                  <a:pt x="4506" y="219"/>
                </a:lnTo>
                <a:lnTo>
                  <a:pt x="4505" y="220"/>
                </a:lnTo>
                <a:lnTo>
                  <a:pt x="4505" y="222"/>
                </a:lnTo>
                <a:lnTo>
                  <a:pt x="4504" y="224"/>
                </a:lnTo>
                <a:lnTo>
                  <a:pt x="4503" y="226"/>
                </a:lnTo>
                <a:lnTo>
                  <a:pt x="4501" y="226"/>
                </a:lnTo>
                <a:lnTo>
                  <a:pt x="4497" y="225"/>
                </a:lnTo>
                <a:lnTo>
                  <a:pt x="4494" y="224"/>
                </a:lnTo>
                <a:lnTo>
                  <a:pt x="4495" y="223"/>
                </a:lnTo>
                <a:lnTo>
                  <a:pt x="4490" y="220"/>
                </a:lnTo>
                <a:lnTo>
                  <a:pt x="4486" y="217"/>
                </a:lnTo>
                <a:lnTo>
                  <a:pt x="4483" y="217"/>
                </a:lnTo>
                <a:lnTo>
                  <a:pt x="4479" y="217"/>
                </a:lnTo>
                <a:lnTo>
                  <a:pt x="4475" y="217"/>
                </a:lnTo>
                <a:lnTo>
                  <a:pt x="4471" y="224"/>
                </a:lnTo>
                <a:lnTo>
                  <a:pt x="4467" y="231"/>
                </a:lnTo>
                <a:lnTo>
                  <a:pt x="4471" y="231"/>
                </a:lnTo>
                <a:lnTo>
                  <a:pt x="4475" y="231"/>
                </a:lnTo>
                <a:lnTo>
                  <a:pt x="4483" y="237"/>
                </a:lnTo>
                <a:lnTo>
                  <a:pt x="4492" y="243"/>
                </a:lnTo>
                <a:lnTo>
                  <a:pt x="4496" y="246"/>
                </a:lnTo>
                <a:lnTo>
                  <a:pt x="4497" y="248"/>
                </a:lnTo>
                <a:lnTo>
                  <a:pt x="4497" y="249"/>
                </a:lnTo>
                <a:lnTo>
                  <a:pt x="4497" y="250"/>
                </a:lnTo>
                <a:lnTo>
                  <a:pt x="4496" y="251"/>
                </a:lnTo>
                <a:lnTo>
                  <a:pt x="4493" y="252"/>
                </a:lnTo>
                <a:lnTo>
                  <a:pt x="4489" y="253"/>
                </a:lnTo>
                <a:lnTo>
                  <a:pt x="4485" y="254"/>
                </a:lnTo>
                <a:lnTo>
                  <a:pt x="4475" y="254"/>
                </a:lnTo>
                <a:lnTo>
                  <a:pt x="4473" y="251"/>
                </a:lnTo>
                <a:lnTo>
                  <a:pt x="4472" y="249"/>
                </a:lnTo>
                <a:lnTo>
                  <a:pt x="4471" y="248"/>
                </a:lnTo>
                <a:lnTo>
                  <a:pt x="4470" y="248"/>
                </a:lnTo>
                <a:lnTo>
                  <a:pt x="4469" y="248"/>
                </a:lnTo>
                <a:lnTo>
                  <a:pt x="4467" y="249"/>
                </a:lnTo>
                <a:lnTo>
                  <a:pt x="4464" y="251"/>
                </a:lnTo>
                <a:lnTo>
                  <a:pt x="4459" y="253"/>
                </a:lnTo>
                <a:lnTo>
                  <a:pt x="4457" y="254"/>
                </a:lnTo>
                <a:lnTo>
                  <a:pt x="4456" y="254"/>
                </a:lnTo>
                <a:lnTo>
                  <a:pt x="4455" y="253"/>
                </a:lnTo>
                <a:lnTo>
                  <a:pt x="4454" y="252"/>
                </a:lnTo>
                <a:lnTo>
                  <a:pt x="4451" y="250"/>
                </a:lnTo>
                <a:lnTo>
                  <a:pt x="4449" y="247"/>
                </a:lnTo>
                <a:lnTo>
                  <a:pt x="4447" y="245"/>
                </a:lnTo>
                <a:lnTo>
                  <a:pt x="4448" y="240"/>
                </a:lnTo>
                <a:lnTo>
                  <a:pt x="4448" y="235"/>
                </a:lnTo>
                <a:lnTo>
                  <a:pt x="4447" y="231"/>
                </a:lnTo>
                <a:lnTo>
                  <a:pt x="4441" y="226"/>
                </a:lnTo>
                <a:lnTo>
                  <a:pt x="4441" y="222"/>
                </a:lnTo>
                <a:lnTo>
                  <a:pt x="4441" y="217"/>
                </a:lnTo>
                <a:lnTo>
                  <a:pt x="4443" y="208"/>
                </a:lnTo>
                <a:lnTo>
                  <a:pt x="4444" y="203"/>
                </a:lnTo>
                <a:lnTo>
                  <a:pt x="4445" y="198"/>
                </a:lnTo>
                <a:lnTo>
                  <a:pt x="4445" y="193"/>
                </a:lnTo>
                <a:lnTo>
                  <a:pt x="4445" y="191"/>
                </a:lnTo>
                <a:lnTo>
                  <a:pt x="4444" y="189"/>
                </a:lnTo>
                <a:lnTo>
                  <a:pt x="4433" y="181"/>
                </a:lnTo>
                <a:lnTo>
                  <a:pt x="4436" y="198"/>
                </a:lnTo>
                <a:lnTo>
                  <a:pt x="4437" y="207"/>
                </a:lnTo>
                <a:lnTo>
                  <a:pt x="4437" y="212"/>
                </a:lnTo>
                <a:lnTo>
                  <a:pt x="4436" y="217"/>
                </a:lnTo>
                <a:lnTo>
                  <a:pt x="4435" y="220"/>
                </a:lnTo>
                <a:lnTo>
                  <a:pt x="4433" y="222"/>
                </a:lnTo>
                <a:lnTo>
                  <a:pt x="4429" y="225"/>
                </a:lnTo>
                <a:lnTo>
                  <a:pt x="4425" y="228"/>
                </a:lnTo>
                <a:lnTo>
                  <a:pt x="4423" y="230"/>
                </a:lnTo>
                <a:lnTo>
                  <a:pt x="4422" y="231"/>
                </a:lnTo>
                <a:lnTo>
                  <a:pt x="4420" y="235"/>
                </a:lnTo>
                <a:lnTo>
                  <a:pt x="4420" y="238"/>
                </a:lnTo>
                <a:lnTo>
                  <a:pt x="4420" y="241"/>
                </a:lnTo>
                <a:lnTo>
                  <a:pt x="4419" y="245"/>
                </a:lnTo>
                <a:lnTo>
                  <a:pt x="4417" y="248"/>
                </a:lnTo>
                <a:lnTo>
                  <a:pt x="4415" y="250"/>
                </a:lnTo>
                <a:lnTo>
                  <a:pt x="4414" y="251"/>
                </a:lnTo>
                <a:lnTo>
                  <a:pt x="4413" y="251"/>
                </a:lnTo>
                <a:lnTo>
                  <a:pt x="4420" y="259"/>
                </a:lnTo>
                <a:lnTo>
                  <a:pt x="4427" y="268"/>
                </a:lnTo>
                <a:lnTo>
                  <a:pt x="4428" y="271"/>
                </a:lnTo>
                <a:lnTo>
                  <a:pt x="4427" y="274"/>
                </a:lnTo>
                <a:lnTo>
                  <a:pt x="4427" y="276"/>
                </a:lnTo>
                <a:lnTo>
                  <a:pt x="4426" y="278"/>
                </a:lnTo>
                <a:lnTo>
                  <a:pt x="4423" y="282"/>
                </a:lnTo>
                <a:lnTo>
                  <a:pt x="4422" y="283"/>
                </a:lnTo>
                <a:lnTo>
                  <a:pt x="4422" y="285"/>
                </a:lnTo>
                <a:lnTo>
                  <a:pt x="4422" y="292"/>
                </a:lnTo>
                <a:lnTo>
                  <a:pt x="4423" y="299"/>
                </a:lnTo>
                <a:lnTo>
                  <a:pt x="4427" y="313"/>
                </a:lnTo>
                <a:lnTo>
                  <a:pt x="4432" y="312"/>
                </a:lnTo>
                <a:lnTo>
                  <a:pt x="4437" y="312"/>
                </a:lnTo>
                <a:lnTo>
                  <a:pt x="4442" y="311"/>
                </a:lnTo>
                <a:lnTo>
                  <a:pt x="4447" y="310"/>
                </a:lnTo>
                <a:lnTo>
                  <a:pt x="4450" y="308"/>
                </a:lnTo>
                <a:lnTo>
                  <a:pt x="4453" y="306"/>
                </a:lnTo>
                <a:lnTo>
                  <a:pt x="4456" y="303"/>
                </a:lnTo>
                <a:lnTo>
                  <a:pt x="4457" y="302"/>
                </a:lnTo>
                <a:lnTo>
                  <a:pt x="4458" y="302"/>
                </a:lnTo>
                <a:lnTo>
                  <a:pt x="4461" y="302"/>
                </a:lnTo>
                <a:lnTo>
                  <a:pt x="4464" y="304"/>
                </a:lnTo>
                <a:lnTo>
                  <a:pt x="4470" y="307"/>
                </a:lnTo>
                <a:lnTo>
                  <a:pt x="4472" y="307"/>
                </a:lnTo>
                <a:lnTo>
                  <a:pt x="4472" y="306"/>
                </a:lnTo>
                <a:lnTo>
                  <a:pt x="4472" y="305"/>
                </a:lnTo>
                <a:lnTo>
                  <a:pt x="4473" y="305"/>
                </a:lnTo>
                <a:lnTo>
                  <a:pt x="4475" y="304"/>
                </a:lnTo>
                <a:lnTo>
                  <a:pt x="4478" y="305"/>
                </a:lnTo>
                <a:lnTo>
                  <a:pt x="4481" y="306"/>
                </a:lnTo>
                <a:lnTo>
                  <a:pt x="4483" y="307"/>
                </a:lnTo>
                <a:lnTo>
                  <a:pt x="4486" y="309"/>
                </a:lnTo>
                <a:lnTo>
                  <a:pt x="4490" y="314"/>
                </a:lnTo>
                <a:lnTo>
                  <a:pt x="4494" y="319"/>
                </a:lnTo>
                <a:lnTo>
                  <a:pt x="4498" y="325"/>
                </a:lnTo>
                <a:lnTo>
                  <a:pt x="4501" y="331"/>
                </a:lnTo>
                <a:lnTo>
                  <a:pt x="4506" y="341"/>
                </a:lnTo>
                <a:lnTo>
                  <a:pt x="4500" y="345"/>
                </a:lnTo>
                <a:lnTo>
                  <a:pt x="4495" y="349"/>
                </a:lnTo>
                <a:lnTo>
                  <a:pt x="4495" y="351"/>
                </a:lnTo>
                <a:lnTo>
                  <a:pt x="4495" y="352"/>
                </a:lnTo>
                <a:lnTo>
                  <a:pt x="4495" y="355"/>
                </a:lnTo>
                <a:lnTo>
                  <a:pt x="4495" y="358"/>
                </a:lnTo>
                <a:lnTo>
                  <a:pt x="4495" y="360"/>
                </a:lnTo>
                <a:lnTo>
                  <a:pt x="4495" y="361"/>
                </a:lnTo>
                <a:lnTo>
                  <a:pt x="4498" y="363"/>
                </a:lnTo>
                <a:lnTo>
                  <a:pt x="4500" y="364"/>
                </a:lnTo>
                <a:lnTo>
                  <a:pt x="4500" y="365"/>
                </a:lnTo>
                <a:lnTo>
                  <a:pt x="4501" y="366"/>
                </a:lnTo>
                <a:lnTo>
                  <a:pt x="4508" y="368"/>
                </a:lnTo>
                <a:lnTo>
                  <a:pt x="4514" y="369"/>
                </a:lnTo>
                <a:lnTo>
                  <a:pt x="4521" y="370"/>
                </a:lnTo>
                <a:lnTo>
                  <a:pt x="4529" y="372"/>
                </a:lnTo>
                <a:lnTo>
                  <a:pt x="4529" y="373"/>
                </a:lnTo>
                <a:lnTo>
                  <a:pt x="4530" y="375"/>
                </a:lnTo>
                <a:lnTo>
                  <a:pt x="4531" y="378"/>
                </a:lnTo>
                <a:lnTo>
                  <a:pt x="4522" y="376"/>
                </a:lnTo>
                <a:lnTo>
                  <a:pt x="4514" y="375"/>
                </a:lnTo>
                <a:lnTo>
                  <a:pt x="4507" y="374"/>
                </a:lnTo>
                <a:lnTo>
                  <a:pt x="4498" y="372"/>
                </a:lnTo>
                <a:lnTo>
                  <a:pt x="4498" y="380"/>
                </a:lnTo>
                <a:lnTo>
                  <a:pt x="4497" y="380"/>
                </a:lnTo>
                <a:lnTo>
                  <a:pt x="4496" y="380"/>
                </a:lnTo>
                <a:lnTo>
                  <a:pt x="4494" y="378"/>
                </a:lnTo>
                <a:lnTo>
                  <a:pt x="4492" y="376"/>
                </a:lnTo>
                <a:lnTo>
                  <a:pt x="4492" y="375"/>
                </a:lnTo>
                <a:lnTo>
                  <a:pt x="4484" y="372"/>
                </a:lnTo>
                <a:lnTo>
                  <a:pt x="4485" y="361"/>
                </a:lnTo>
                <a:lnTo>
                  <a:pt x="4485" y="353"/>
                </a:lnTo>
                <a:lnTo>
                  <a:pt x="4485" y="346"/>
                </a:lnTo>
                <a:lnTo>
                  <a:pt x="4485" y="342"/>
                </a:lnTo>
                <a:lnTo>
                  <a:pt x="4485" y="340"/>
                </a:lnTo>
                <a:lnTo>
                  <a:pt x="4483" y="334"/>
                </a:lnTo>
                <a:lnTo>
                  <a:pt x="4481" y="328"/>
                </a:lnTo>
                <a:lnTo>
                  <a:pt x="4475" y="313"/>
                </a:lnTo>
                <a:lnTo>
                  <a:pt x="4463" y="316"/>
                </a:lnTo>
                <a:lnTo>
                  <a:pt x="4456" y="318"/>
                </a:lnTo>
                <a:lnTo>
                  <a:pt x="4450" y="320"/>
                </a:lnTo>
                <a:lnTo>
                  <a:pt x="4444" y="323"/>
                </a:lnTo>
                <a:lnTo>
                  <a:pt x="4439" y="326"/>
                </a:lnTo>
                <a:lnTo>
                  <a:pt x="4437" y="328"/>
                </a:lnTo>
                <a:lnTo>
                  <a:pt x="4435" y="331"/>
                </a:lnTo>
                <a:lnTo>
                  <a:pt x="4434" y="333"/>
                </a:lnTo>
                <a:lnTo>
                  <a:pt x="4433" y="335"/>
                </a:lnTo>
                <a:lnTo>
                  <a:pt x="4433" y="337"/>
                </a:lnTo>
                <a:lnTo>
                  <a:pt x="4434" y="340"/>
                </a:lnTo>
                <a:lnTo>
                  <a:pt x="4434" y="341"/>
                </a:lnTo>
                <a:lnTo>
                  <a:pt x="4435" y="342"/>
                </a:lnTo>
                <a:lnTo>
                  <a:pt x="4436" y="341"/>
                </a:lnTo>
                <a:lnTo>
                  <a:pt x="4437" y="343"/>
                </a:lnTo>
                <a:lnTo>
                  <a:pt x="4438" y="344"/>
                </a:lnTo>
                <a:lnTo>
                  <a:pt x="4438" y="346"/>
                </a:lnTo>
                <a:lnTo>
                  <a:pt x="4437" y="348"/>
                </a:lnTo>
                <a:lnTo>
                  <a:pt x="4436" y="351"/>
                </a:lnTo>
                <a:lnTo>
                  <a:pt x="4436" y="352"/>
                </a:lnTo>
                <a:lnTo>
                  <a:pt x="4434" y="366"/>
                </a:lnTo>
                <a:lnTo>
                  <a:pt x="4432" y="371"/>
                </a:lnTo>
                <a:lnTo>
                  <a:pt x="4431" y="376"/>
                </a:lnTo>
                <a:lnTo>
                  <a:pt x="4430" y="379"/>
                </a:lnTo>
                <a:lnTo>
                  <a:pt x="4428" y="382"/>
                </a:lnTo>
                <a:lnTo>
                  <a:pt x="4426" y="385"/>
                </a:lnTo>
                <a:lnTo>
                  <a:pt x="4424" y="387"/>
                </a:lnTo>
                <a:lnTo>
                  <a:pt x="4419" y="390"/>
                </a:lnTo>
                <a:lnTo>
                  <a:pt x="4413" y="392"/>
                </a:lnTo>
                <a:lnTo>
                  <a:pt x="4404" y="396"/>
                </a:lnTo>
                <a:lnTo>
                  <a:pt x="4394" y="400"/>
                </a:lnTo>
                <a:lnTo>
                  <a:pt x="4394" y="401"/>
                </a:lnTo>
                <a:lnTo>
                  <a:pt x="4395" y="402"/>
                </a:lnTo>
                <a:lnTo>
                  <a:pt x="4398" y="403"/>
                </a:lnTo>
                <a:lnTo>
                  <a:pt x="4401" y="404"/>
                </a:lnTo>
                <a:lnTo>
                  <a:pt x="4401" y="405"/>
                </a:lnTo>
                <a:lnTo>
                  <a:pt x="4402" y="406"/>
                </a:lnTo>
                <a:lnTo>
                  <a:pt x="4403" y="411"/>
                </a:lnTo>
                <a:lnTo>
                  <a:pt x="4404" y="416"/>
                </a:lnTo>
                <a:lnTo>
                  <a:pt x="4405" y="422"/>
                </a:lnTo>
                <a:lnTo>
                  <a:pt x="4405" y="425"/>
                </a:lnTo>
                <a:lnTo>
                  <a:pt x="4404" y="425"/>
                </a:lnTo>
                <a:lnTo>
                  <a:pt x="4403" y="425"/>
                </a:lnTo>
                <a:lnTo>
                  <a:pt x="4401" y="425"/>
                </a:lnTo>
                <a:lnTo>
                  <a:pt x="4398" y="426"/>
                </a:lnTo>
                <a:lnTo>
                  <a:pt x="4396" y="425"/>
                </a:lnTo>
                <a:lnTo>
                  <a:pt x="4393" y="417"/>
                </a:lnTo>
                <a:lnTo>
                  <a:pt x="4390" y="412"/>
                </a:lnTo>
                <a:lnTo>
                  <a:pt x="4388" y="409"/>
                </a:lnTo>
                <a:lnTo>
                  <a:pt x="4384" y="407"/>
                </a:lnTo>
                <a:lnTo>
                  <a:pt x="4381" y="406"/>
                </a:lnTo>
                <a:lnTo>
                  <a:pt x="4377" y="407"/>
                </a:lnTo>
                <a:lnTo>
                  <a:pt x="4374" y="407"/>
                </a:lnTo>
                <a:lnTo>
                  <a:pt x="4367" y="408"/>
                </a:lnTo>
                <a:lnTo>
                  <a:pt x="4364" y="409"/>
                </a:lnTo>
                <a:lnTo>
                  <a:pt x="4360" y="409"/>
                </a:lnTo>
                <a:lnTo>
                  <a:pt x="4357" y="408"/>
                </a:lnTo>
                <a:lnTo>
                  <a:pt x="4356" y="407"/>
                </a:lnTo>
                <a:lnTo>
                  <a:pt x="4354" y="406"/>
                </a:lnTo>
                <a:lnTo>
                  <a:pt x="4349" y="402"/>
                </a:lnTo>
                <a:lnTo>
                  <a:pt x="4340" y="395"/>
                </a:lnTo>
                <a:lnTo>
                  <a:pt x="4355" y="395"/>
                </a:lnTo>
                <a:lnTo>
                  <a:pt x="4371" y="395"/>
                </a:lnTo>
                <a:lnTo>
                  <a:pt x="4373" y="394"/>
                </a:lnTo>
                <a:lnTo>
                  <a:pt x="4375" y="392"/>
                </a:lnTo>
                <a:lnTo>
                  <a:pt x="4379" y="389"/>
                </a:lnTo>
                <a:lnTo>
                  <a:pt x="4383" y="385"/>
                </a:lnTo>
                <a:lnTo>
                  <a:pt x="4385" y="383"/>
                </a:lnTo>
                <a:lnTo>
                  <a:pt x="4387" y="383"/>
                </a:lnTo>
                <a:lnTo>
                  <a:pt x="4389" y="384"/>
                </a:lnTo>
                <a:lnTo>
                  <a:pt x="4392" y="386"/>
                </a:lnTo>
                <a:lnTo>
                  <a:pt x="4394" y="389"/>
                </a:lnTo>
                <a:lnTo>
                  <a:pt x="4395" y="388"/>
                </a:lnTo>
                <a:lnTo>
                  <a:pt x="4396" y="388"/>
                </a:lnTo>
                <a:lnTo>
                  <a:pt x="4397" y="387"/>
                </a:lnTo>
                <a:lnTo>
                  <a:pt x="4399" y="386"/>
                </a:lnTo>
                <a:lnTo>
                  <a:pt x="4402" y="386"/>
                </a:lnTo>
                <a:lnTo>
                  <a:pt x="4403" y="384"/>
                </a:lnTo>
                <a:lnTo>
                  <a:pt x="4403" y="383"/>
                </a:lnTo>
                <a:lnTo>
                  <a:pt x="4402" y="381"/>
                </a:lnTo>
                <a:lnTo>
                  <a:pt x="4400" y="379"/>
                </a:lnTo>
                <a:lnTo>
                  <a:pt x="4399" y="378"/>
                </a:lnTo>
                <a:lnTo>
                  <a:pt x="4413" y="366"/>
                </a:lnTo>
                <a:lnTo>
                  <a:pt x="4414" y="360"/>
                </a:lnTo>
                <a:lnTo>
                  <a:pt x="4414" y="351"/>
                </a:lnTo>
                <a:lnTo>
                  <a:pt x="4414" y="341"/>
                </a:lnTo>
                <a:lnTo>
                  <a:pt x="4413" y="335"/>
                </a:lnTo>
                <a:lnTo>
                  <a:pt x="4412" y="333"/>
                </a:lnTo>
                <a:lnTo>
                  <a:pt x="4410" y="331"/>
                </a:lnTo>
                <a:lnTo>
                  <a:pt x="4405" y="326"/>
                </a:lnTo>
                <a:lnTo>
                  <a:pt x="4399" y="321"/>
                </a:lnTo>
                <a:lnTo>
                  <a:pt x="4398" y="318"/>
                </a:lnTo>
                <a:lnTo>
                  <a:pt x="4396" y="316"/>
                </a:lnTo>
                <a:lnTo>
                  <a:pt x="4396" y="309"/>
                </a:lnTo>
                <a:lnTo>
                  <a:pt x="4396" y="303"/>
                </a:lnTo>
                <a:lnTo>
                  <a:pt x="4398" y="297"/>
                </a:lnTo>
                <a:lnTo>
                  <a:pt x="4400" y="292"/>
                </a:lnTo>
                <a:lnTo>
                  <a:pt x="4403" y="281"/>
                </a:lnTo>
                <a:lnTo>
                  <a:pt x="4405" y="276"/>
                </a:lnTo>
                <a:lnTo>
                  <a:pt x="4405" y="273"/>
                </a:lnTo>
                <a:lnTo>
                  <a:pt x="4405" y="271"/>
                </a:lnTo>
                <a:lnTo>
                  <a:pt x="4404" y="269"/>
                </a:lnTo>
                <a:lnTo>
                  <a:pt x="4403" y="267"/>
                </a:lnTo>
                <a:lnTo>
                  <a:pt x="4399" y="263"/>
                </a:lnTo>
                <a:lnTo>
                  <a:pt x="4394" y="258"/>
                </a:lnTo>
                <a:lnTo>
                  <a:pt x="4392" y="256"/>
                </a:lnTo>
                <a:lnTo>
                  <a:pt x="4391" y="254"/>
                </a:lnTo>
                <a:lnTo>
                  <a:pt x="4390" y="251"/>
                </a:lnTo>
                <a:lnTo>
                  <a:pt x="4390" y="249"/>
                </a:lnTo>
                <a:lnTo>
                  <a:pt x="4390" y="247"/>
                </a:lnTo>
                <a:lnTo>
                  <a:pt x="4389" y="246"/>
                </a:lnTo>
                <a:lnTo>
                  <a:pt x="4388" y="245"/>
                </a:lnTo>
                <a:lnTo>
                  <a:pt x="4388" y="243"/>
                </a:lnTo>
                <a:lnTo>
                  <a:pt x="4389" y="240"/>
                </a:lnTo>
                <a:lnTo>
                  <a:pt x="4391" y="234"/>
                </a:lnTo>
                <a:lnTo>
                  <a:pt x="4392" y="232"/>
                </a:lnTo>
                <a:lnTo>
                  <a:pt x="4395" y="230"/>
                </a:lnTo>
                <a:lnTo>
                  <a:pt x="4398" y="228"/>
                </a:lnTo>
                <a:lnTo>
                  <a:pt x="4399" y="226"/>
                </a:lnTo>
                <a:lnTo>
                  <a:pt x="4401" y="220"/>
                </a:lnTo>
                <a:lnTo>
                  <a:pt x="4402" y="214"/>
                </a:lnTo>
                <a:lnTo>
                  <a:pt x="4403" y="201"/>
                </a:lnTo>
                <a:lnTo>
                  <a:pt x="4403" y="194"/>
                </a:lnTo>
                <a:lnTo>
                  <a:pt x="4402" y="188"/>
                </a:lnTo>
                <a:lnTo>
                  <a:pt x="4401" y="182"/>
                </a:lnTo>
                <a:lnTo>
                  <a:pt x="4399" y="178"/>
                </a:lnTo>
                <a:lnTo>
                  <a:pt x="4398" y="176"/>
                </a:lnTo>
                <a:lnTo>
                  <a:pt x="4396" y="175"/>
                </a:lnTo>
                <a:lnTo>
                  <a:pt x="4393" y="173"/>
                </a:lnTo>
                <a:lnTo>
                  <a:pt x="4389" y="172"/>
                </a:lnTo>
                <a:lnTo>
                  <a:pt x="4381" y="171"/>
                </a:lnTo>
                <a:lnTo>
                  <a:pt x="4372" y="171"/>
                </a:lnTo>
                <a:lnTo>
                  <a:pt x="4363" y="171"/>
                </a:lnTo>
                <a:lnTo>
                  <a:pt x="4355" y="172"/>
                </a:lnTo>
                <a:lnTo>
                  <a:pt x="4348" y="173"/>
                </a:lnTo>
                <a:lnTo>
                  <a:pt x="4345" y="174"/>
                </a:lnTo>
                <a:lnTo>
                  <a:pt x="4343" y="175"/>
                </a:lnTo>
                <a:lnTo>
                  <a:pt x="4341" y="177"/>
                </a:lnTo>
                <a:lnTo>
                  <a:pt x="4339" y="180"/>
                </a:lnTo>
                <a:lnTo>
                  <a:pt x="4338" y="183"/>
                </a:lnTo>
                <a:lnTo>
                  <a:pt x="4337" y="187"/>
                </a:lnTo>
                <a:lnTo>
                  <a:pt x="4335" y="194"/>
                </a:lnTo>
                <a:lnTo>
                  <a:pt x="4333" y="197"/>
                </a:lnTo>
                <a:lnTo>
                  <a:pt x="4332" y="200"/>
                </a:lnTo>
                <a:lnTo>
                  <a:pt x="4329" y="200"/>
                </a:lnTo>
                <a:lnTo>
                  <a:pt x="4326" y="203"/>
                </a:lnTo>
                <a:lnTo>
                  <a:pt x="4323" y="206"/>
                </a:lnTo>
                <a:lnTo>
                  <a:pt x="4321" y="210"/>
                </a:lnTo>
                <a:lnTo>
                  <a:pt x="4318" y="214"/>
                </a:lnTo>
                <a:lnTo>
                  <a:pt x="4314" y="222"/>
                </a:lnTo>
                <a:lnTo>
                  <a:pt x="4312" y="226"/>
                </a:lnTo>
                <a:lnTo>
                  <a:pt x="4309" y="229"/>
                </a:lnTo>
                <a:lnTo>
                  <a:pt x="4308" y="229"/>
                </a:lnTo>
                <a:lnTo>
                  <a:pt x="4306" y="230"/>
                </a:lnTo>
                <a:lnTo>
                  <a:pt x="4304" y="230"/>
                </a:lnTo>
                <a:lnTo>
                  <a:pt x="4301" y="230"/>
                </a:lnTo>
                <a:lnTo>
                  <a:pt x="4300" y="230"/>
                </a:lnTo>
                <a:lnTo>
                  <a:pt x="4298" y="231"/>
                </a:lnTo>
                <a:lnTo>
                  <a:pt x="4300" y="243"/>
                </a:lnTo>
                <a:lnTo>
                  <a:pt x="4302" y="253"/>
                </a:lnTo>
                <a:lnTo>
                  <a:pt x="4303" y="262"/>
                </a:lnTo>
                <a:lnTo>
                  <a:pt x="4304" y="265"/>
                </a:lnTo>
                <a:lnTo>
                  <a:pt x="4304" y="268"/>
                </a:lnTo>
                <a:lnTo>
                  <a:pt x="4304" y="274"/>
                </a:lnTo>
                <a:lnTo>
                  <a:pt x="4295" y="276"/>
                </a:lnTo>
                <a:lnTo>
                  <a:pt x="4295" y="280"/>
                </a:lnTo>
                <a:lnTo>
                  <a:pt x="4295" y="285"/>
                </a:lnTo>
                <a:lnTo>
                  <a:pt x="4296" y="289"/>
                </a:lnTo>
                <a:lnTo>
                  <a:pt x="4296" y="291"/>
                </a:lnTo>
                <a:lnTo>
                  <a:pt x="4295" y="293"/>
                </a:lnTo>
                <a:lnTo>
                  <a:pt x="4302" y="295"/>
                </a:lnTo>
                <a:lnTo>
                  <a:pt x="4307" y="295"/>
                </a:lnTo>
                <a:lnTo>
                  <a:pt x="4311" y="295"/>
                </a:lnTo>
                <a:lnTo>
                  <a:pt x="4315" y="296"/>
                </a:lnTo>
                <a:lnTo>
                  <a:pt x="4314" y="304"/>
                </a:lnTo>
                <a:lnTo>
                  <a:pt x="4314" y="310"/>
                </a:lnTo>
                <a:lnTo>
                  <a:pt x="4315" y="324"/>
                </a:lnTo>
                <a:lnTo>
                  <a:pt x="4323" y="321"/>
                </a:lnTo>
                <a:lnTo>
                  <a:pt x="4320" y="330"/>
                </a:lnTo>
                <a:lnTo>
                  <a:pt x="4317" y="337"/>
                </a:lnTo>
                <a:lnTo>
                  <a:pt x="4314" y="343"/>
                </a:lnTo>
                <a:lnTo>
                  <a:pt x="4309" y="349"/>
                </a:lnTo>
                <a:lnTo>
                  <a:pt x="4305" y="343"/>
                </a:lnTo>
                <a:lnTo>
                  <a:pt x="4298" y="333"/>
                </a:lnTo>
                <a:lnTo>
                  <a:pt x="4287" y="319"/>
                </a:lnTo>
                <a:lnTo>
                  <a:pt x="4284" y="318"/>
                </a:lnTo>
                <a:lnTo>
                  <a:pt x="4281" y="319"/>
                </a:lnTo>
                <a:lnTo>
                  <a:pt x="4278" y="319"/>
                </a:lnTo>
                <a:lnTo>
                  <a:pt x="4277" y="319"/>
                </a:lnTo>
                <a:lnTo>
                  <a:pt x="4276" y="319"/>
                </a:lnTo>
                <a:lnTo>
                  <a:pt x="4274" y="317"/>
                </a:lnTo>
                <a:lnTo>
                  <a:pt x="4274" y="316"/>
                </a:lnTo>
                <a:lnTo>
                  <a:pt x="4274" y="315"/>
                </a:lnTo>
                <a:lnTo>
                  <a:pt x="4274" y="313"/>
                </a:lnTo>
                <a:lnTo>
                  <a:pt x="4276" y="310"/>
                </a:lnTo>
                <a:lnTo>
                  <a:pt x="4273" y="310"/>
                </a:lnTo>
                <a:lnTo>
                  <a:pt x="4270" y="310"/>
                </a:lnTo>
                <a:lnTo>
                  <a:pt x="4267" y="310"/>
                </a:lnTo>
                <a:lnTo>
                  <a:pt x="4264" y="310"/>
                </a:lnTo>
                <a:lnTo>
                  <a:pt x="4262" y="307"/>
                </a:lnTo>
                <a:lnTo>
                  <a:pt x="4260" y="306"/>
                </a:lnTo>
                <a:lnTo>
                  <a:pt x="4259" y="304"/>
                </a:lnTo>
                <a:lnTo>
                  <a:pt x="4258" y="308"/>
                </a:lnTo>
                <a:lnTo>
                  <a:pt x="4258" y="312"/>
                </a:lnTo>
                <a:lnTo>
                  <a:pt x="4257" y="314"/>
                </a:lnTo>
                <a:lnTo>
                  <a:pt x="4256" y="315"/>
                </a:lnTo>
                <a:lnTo>
                  <a:pt x="4255" y="316"/>
                </a:lnTo>
                <a:lnTo>
                  <a:pt x="4253" y="316"/>
                </a:lnTo>
                <a:lnTo>
                  <a:pt x="4253" y="315"/>
                </a:lnTo>
                <a:lnTo>
                  <a:pt x="4252" y="315"/>
                </a:lnTo>
                <a:lnTo>
                  <a:pt x="4252" y="313"/>
                </a:lnTo>
                <a:lnTo>
                  <a:pt x="4253" y="307"/>
                </a:lnTo>
                <a:lnTo>
                  <a:pt x="4255" y="302"/>
                </a:lnTo>
                <a:lnTo>
                  <a:pt x="4256" y="299"/>
                </a:lnTo>
                <a:lnTo>
                  <a:pt x="4246" y="297"/>
                </a:lnTo>
                <a:lnTo>
                  <a:pt x="4236" y="297"/>
                </a:lnTo>
                <a:lnTo>
                  <a:pt x="4227" y="297"/>
                </a:lnTo>
                <a:lnTo>
                  <a:pt x="4219" y="296"/>
                </a:lnTo>
                <a:lnTo>
                  <a:pt x="4216" y="293"/>
                </a:lnTo>
                <a:lnTo>
                  <a:pt x="4213" y="291"/>
                </a:lnTo>
                <a:lnTo>
                  <a:pt x="4211" y="290"/>
                </a:lnTo>
                <a:lnTo>
                  <a:pt x="4210" y="291"/>
                </a:lnTo>
                <a:lnTo>
                  <a:pt x="4209" y="294"/>
                </a:lnTo>
                <a:lnTo>
                  <a:pt x="4209" y="296"/>
                </a:lnTo>
                <a:lnTo>
                  <a:pt x="4208" y="299"/>
                </a:lnTo>
                <a:lnTo>
                  <a:pt x="4194" y="297"/>
                </a:lnTo>
                <a:lnTo>
                  <a:pt x="4180" y="296"/>
                </a:lnTo>
                <a:lnTo>
                  <a:pt x="4180" y="299"/>
                </a:lnTo>
                <a:lnTo>
                  <a:pt x="4180" y="300"/>
                </a:lnTo>
                <a:lnTo>
                  <a:pt x="4180" y="301"/>
                </a:lnTo>
                <a:lnTo>
                  <a:pt x="4177" y="302"/>
                </a:lnTo>
                <a:lnTo>
                  <a:pt x="4181" y="309"/>
                </a:lnTo>
                <a:lnTo>
                  <a:pt x="4182" y="315"/>
                </a:lnTo>
                <a:lnTo>
                  <a:pt x="4183" y="318"/>
                </a:lnTo>
                <a:lnTo>
                  <a:pt x="4183" y="321"/>
                </a:lnTo>
                <a:lnTo>
                  <a:pt x="4183" y="333"/>
                </a:lnTo>
                <a:lnTo>
                  <a:pt x="4181" y="333"/>
                </a:lnTo>
                <a:lnTo>
                  <a:pt x="4179" y="333"/>
                </a:lnTo>
                <a:lnTo>
                  <a:pt x="4174" y="335"/>
                </a:lnTo>
                <a:lnTo>
                  <a:pt x="4174" y="334"/>
                </a:lnTo>
                <a:lnTo>
                  <a:pt x="4172" y="332"/>
                </a:lnTo>
                <a:lnTo>
                  <a:pt x="4169" y="330"/>
                </a:lnTo>
                <a:lnTo>
                  <a:pt x="4163" y="333"/>
                </a:lnTo>
                <a:lnTo>
                  <a:pt x="4164" y="340"/>
                </a:lnTo>
                <a:lnTo>
                  <a:pt x="4164" y="343"/>
                </a:lnTo>
                <a:lnTo>
                  <a:pt x="4163" y="347"/>
                </a:lnTo>
                <a:lnTo>
                  <a:pt x="4159" y="342"/>
                </a:lnTo>
                <a:lnTo>
                  <a:pt x="4153" y="335"/>
                </a:lnTo>
                <a:lnTo>
                  <a:pt x="4151" y="331"/>
                </a:lnTo>
                <a:lnTo>
                  <a:pt x="4150" y="329"/>
                </a:lnTo>
                <a:lnTo>
                  <a:pt x="4150" y="327"/>
                </a:lnTo>
                <a:lnTo>
                  <a:pt x="4150" y="325"/>
                </a:lnTo>
                <a:lnTo>
                  <a:pt x="4151" y="324"/>
                </a:lnTo>
                <a:lnTo>
                  <a:pt x="4152" y="322"/>
                </a:lnTo>
                <a:lnTo>
                  <a:pt x="4155" y="321"/>
                </a:lnTo>
                <a:lnTo>
                  <a:pt x="4129" y="330"/>
                </a:lnTo>
                <a:lnTo>
                  <a:pt x="4127" y="330"/>
                </a:lnTo>
                <a:lnTo>
                  <a:pt x="4126" y="329"/>
                </a:lnTo>
                <a:lnTo>
                  <a:pt x="4126" y="328"/>
                </a:lnTo>
                <a:lnTo>
                  <a:pt x="4127" y="327"/>
                </a:lnTo>
                <a:lnTo>
                  <a:pt x="4126" y="327"/>
                </a:lnTo>
                <a:lnTo>
                  <a:pt x="4124" y="327"/>
                </a:lnTo>
                <a:lnTo>
                  <a:pt x="4126" y="331"/>
                </a:lnTo>
                <a:lnTo>
                  <a:pt x="4127" y="334"/>
                </a:lnTo>
                <a:lnTo>
                  <a:pt x="4127" y="335"/>
                </a:lnTo>
                <a:lnTo>
                  <a:pt x="4126" y="335"/>
                </a:lnTo>
                <a:lnTo>
                  <a:pt x="4122" y="336"/>
                </a:lnTo>
                <a:lnTo>
                  <a:pt x="4118" y="335"/>
                </a:lnTo>
                <a:lnTo>
                  <a:pt x="4115" y="334"/>
                </a:lnTo>
                <a:lnTo>
                  <a:pt x="4111" y="331"/>
                </a:lnTo>
                <a:lnTo>
                  <a:pt x="4107" y="329"/>
                </a:lnTo>
                <a:lnTo>
                  <a:pt x="4104" y="328"/>
                </a:lnTo>
                <a:lnTo>
                  <a:pt x="4100" y="327"/>
                </a:lnTo>
                <a:lnTo>
                  <a:pt x="4096" y="327"/>
                </a:lnTo>
                <a:lnTo>
                  <a:pt x="4094" y="328"/>
                </a:lnTo>
                <a:lnTo>
                  <a:pt x="4091" y="329"/>
                </a:lnTo>
                <a:lnTo>
                  <a:pt x="4085" y="333"/>
                </a:lnTo>
                <a:lnTo>
                  <a:pt x="4078" y="337"/>
                </a:lnTo>
                <a:lnTo>
                  <a:pt x="4077" y="338"/>
                </a:lnTo>
                <a:lnTo>
                  <a:pt x="4078" y="338"/>
                </a:lnTo>
                <a:lnTo>
                  <a:pt x="4078" y="343"/>
                </a:lnTo>
                <a:lnTo>
                  <a:pt x="4078" y="347"/>
                </a:lnTo>
                <a:lnTo>
                  <a:pt x="4076" y="347"/>
                </a:lnTo>
                <a:lnTo>
                  <a:pt x="4075" y="346"/>
                </a:lnTo>
                <a:lnTo>
                  <a:pt x="4072" y="343"/>
                </a:lnTo>
                <a:lnTo>
                  <a:pt x="4071" y="340"/>
                </a:lnTo>
                <a:lnTo>
                  <a:pt x="4070" y="339"/>
                </a:lnTo>
                <a:lnTo>
                  <a:pt x="4069" y="338"/>
                </a:lnTo>
                <a:lnTo>
                  <a:pt x="4068" y="338"/>
                </a:lnTo>
                <a:lnTo>
                  <a:pt x="4067" y="339"/>
                </a:lnTo>
                <a:lnTo>
                  <a:pt x="4065" y="341"/>
                </a:lnTo>
                <a:lnTo>
                  <a:pt x="4065" y="343"/>
                </a:lnTo>
                <a:lnTo>
                  <a:pt x="4064" y="344"/>
                </a:lnTo>
                <a:lnTo>
                  <a:pt x="4059" y="345"/>
                </a:lnTo>
                <a:lnTo>
                  <a:pt x="4054" y="344"/>
                </a:lnTo>
                <a:lnTo>
                  <a:pt x="4049" y="344"/>
                </a:lnTo>
                <a:lnTo>
                  <a:pt x="4044" y="344"/>
                </a:lnTo>
                <a:lnTo>
                  <a:pt x="4044" y="338"/>
                </a:lnTo>
                <a:lnTo>
                  <a:pt x="4055" y="338"/>
                </a:lnTo>
                <a:lnTo>
                  <a:pt x="4057" y="338"/>
                </a:lnTo>
                <a:lnTo>
                  <a:pt x="4058" y="337"/>
                </a:lnTo>
                <a:lnTo>
                  <a:pt x="4055" y="335"/>
                </a:lnTo>
                <a:lnTo>
                  <a:pt x="4053" y="334"/>
                </a:lnTo>
                <a:lnTo>
                  <a:pt x="4052" y="333"/>
                </a:lnTo>
                <a:lnTo>
                  <a:pt x="4052" y="330"/>
                </a:lnTo>
                <a:lnTo>
                  <a:pt x="4052" y="327"/>
                </a:lnTo>
                <a:lnTo>
                  <a:pt x="4050" y="326"/>
                </a:lnTo>
                <a:lnTo>
                  <a:pt x="4048" y="326"/>
                </a:lnTo>
                <a:lnTo>
                  <a:pt x="4046" y="325"/>
                </a:lnTo>
                <a:lnTo>
                  <a:pt x="4044" y="324"/>
                </a:lnTo>
                <a:lnTo>
                  <a:pt x="4046" y="321"/>
                </a:lnTo>
                <a:lnTo>
                  <a:pt x="4047" y="320"/>
                </a:lnTo>
                <a:lnTo>
                  <a:pt x="4047" y="319"/>
                </a:lnTo>
                <a:lnTo>
                  <a:pt x="4042" y="321"/>
                </a:lnTo>
                <a:lnTo>
                  <a:pt x="4036" y="324"/>
                </a:lnTo>
                <a:lnTo>
                  <a:pt x="4030" y="327"/>
                </a:lnTo>
                <a:lnTo>
                  <a:pt x="4028" y="328"/>
                </a:lnTo>
                <a:lnTo>
                  <a:pt x="4027" y="330"/>
                </a:lnTo>
                <a:lnTo>
                  <a:pt x="4027" y="334"/>
                </a:lnTo>
                <a:lnTo>
                  <a:pt x="4027" y="338"/>
                </a:lnTo>
                <a:lnTo>
                  <a:pt x="4026" y="337"/>
                </a:lnTo>
                <a:lnTo>
                  <a:pt x="4023" y="335"/>
                </a:lnTo>
                <a:lnTo>
                  <a:pt x="4018" y="333"/>
                </a:lnTo>
                <a:lnTo>
                  <a:pt x="4016" y="333"/>
                </a:lnTo>
                <a:lnTo>
                  <a:pt x="4013" y="333"/>
                </a:lnTo>
                <a:lnTo>
                  <a:pt x="4010" y="338"/>
                </a:lnTo>
                <a:lnTo>
                  <a:pt x="4008" y="339"/>
                </a:lnTo>
                <a:lnTo>
                  <a:pt x="4005" y="338"/>
                </a:lnTo>
                <a:lnTo>
                  <a:pt x="4002" y="338"/>
                </a:lnTo>
                <a:lnTo>
                  <a:pt x="3999" y="338"/>
                </a:lnTo>
                <a:lnTo>
                  <a:pt x="3996" y="339"/>
                </a:lnTo>
                <a:lnTo>
                  <a:pt x="3992" y="341"/>
                </a:lnTo>
                <a:lnTo>
                  <a:pt x="3985" y="347"/>
                </a:lnTo>
                <a:lnTo>
                  <a:pt x="3978" y="352"/>
                </a:lnTo>
                <a:lnTo>
                  <a:pt x="3974" y="354"/>
                </a:lnTo>
                <a:lnTo>
                  <a:pt x="3971" y="355"/>
                </a:lnTo>
                <a:lnTo>
                  <a:pt x="3968" y="355"/>
                </a:lnTo>
                <a:lnTo>
                  <a:pt x="3965" y="355"/>
                </a:lnTo>
                <a:lnTo>
                  <a:pt x="3962" y="355"/>
                </a:lnTo>
                <a:lnTo>
                  <a:pt x="3961" y="355"/>
                </a:lnTo>
                <a:lnTo>
                  <a:pt x="3960" y="355"/>
                </a:lnTo>
                <a:lnTo>
                  <a:pt x="3960" y="361"/>
                </a:lnTo>
                <a:lnTo>
                  <a:pt x="3956" y="362"/>
                </a:lnTo>
                <a:lnTo>
                  <a:pt x="3952" y="363"/>
                </a:lnTo>
                <a:lnTo>
                  <a:pt x="3949" y="363"/>
                </a:lnTo>
                <a:lnTo>
                  <a:pt x="3945" y="364"/>
                </a:lnTo>
                <a:lnTo>
                  <a:pt x="3943" y="378"/>
                </a:lnTo>
                <a:lnTo>
                  <a:pt x="3941" y="387"/>
                </a:lnTo>
                <a:lnTo>
                  <a:pt x="3940" y="392"/>
                </a:lnTo>
                <a:lnTo>
                  <a:pt x="3939" y="392"/>
                </a:lnTo>
                <a:lnTo>
                  <a:pt x="3938" y="391"/>
                </a:lnTo>
                <a:lnTo>
                  <a:pt x="3936" y="389"/>
                </a:lnTo>
                <a:lnTo>
                  <a:pt x="3935" y="389"/>
                </a:lnTo>
                <a:lnTo>
                  <a:pt x="3934" y="389"/>
                </a:lnTo>
                <a:lnTo>
                  <a:pt x="3933" y="390"/>
                </a:lnTo>
                <a:lnTo>
                  <a:pt x="3931" y="393"/>
                </a:lnTo>
                <a:lnTo>
                  <a:pt x="3930" y="396"/>
                </a:lnTo>
                <a:lnTo>
                  <a:pt x="3929" y="397"/>
                </a:lnTo>
                <a:lnTo>
                  <a:pt x="3924" y="399"/>
                </a:lnTo>
                <a:lnTo>
                  <a:pt x="3917" y="401"/>
                </a:lnTo>
                <a:lnTo>
                  <a:pt x="3911" y="402"/>
                </a:lnTo>
                <a:lnTo>
                  <a:pt x="3906" y="403"/>
                </a:lnTo>
                <a:lnTo>
                  <a:pt x="3904" y="397"/>
                </a:lnTo>
                <a:lnTo>
                  <a:pt x="3900" y="389"/>
                </a:lnTo>
                <a:lnTo>
                  <a:pt x="3899" y="385"/>
                </a:lnTo>
                <a:lnTo>
                  <a:pt x="3898" y="382"/>
                </a:lnTo>
                <a:lnTo>
                  <a:pt x="3897" y="378"/>
                </a:lnTo>
                <a:lnTo>
                  <a:pt x="3898" y="375"/>
                </a:lnTo>
                <a:lnTo>
                  <a:pt x="3898" y="374"/>
                </a:lnTo>
                <a:lnTo>
                  <a:pt x="3900" y="372"/>
                </a:lnTo>
                <a:lnTo>
                  <a:pt x="3902" y="369"/>
                </a:lnTo>
                <a:lnTo>
                  <a:pt x="3903" y="366"/>
                </a:lnTo>
                <a:lnTo>
                  <a:pt x="3912" y="365"/>
                </a:lnTo>
                <a:lnTo>
                  <a:pt x="3917" y="364"/>
                </a:lnTo>
                <a:lnTo>
                  <a:pt x="3926" y="364"/>
                </a:lnTo>
                <a:lnTo>
                  <a:pt x="3915" y="345"/>
                </a:lnTo>
                <a:lnTo>
                  <a:pt x="3912" y="340"/>
                </a:lnTo>
                <a:lnTo>
                  <a:pt x="3909" y="335"/>
                </a:lnTo>
                <a:lnTo>
                  <a:pt x="3906" y="332"/>
                </a:lnTo>
                <a:lnTo>
                  <a:pt x="3903" y="330"/>
                </a:lnTo>
                <a:lnTo>
                  <a:pt x="3901" y="329"/>
                </a:lnTo>
                <a:lnTo>
                  <a:pt x="3899" y="329"/>
                </a:lnTo>
                <a:lnTo>
                  <a:pt x="3895" y="329"/>
                </a:lnTo>
                <a:lnTo>
                  <a:pt x="3890" y="330"/>
                </a:lnTo>
                <a:lnTo>
                  <a:pt x="3886" y="330"/>
                </a:lnTo>
                <a:lnTo>
                  <a:pt x="3882" y="328"/>
                </a:lnTo>
                <a:lnTo>
                  <a:pt x="3877" y="326"/>
                </a:lnTo>
                <a:lnTo>
                  <a:pt x="3867" y="321"/>
                </a:lnTo>
                <a:lnTo>
                  <a:pt x="3875" y="333"/>
                </a:lnTo>
                <a:lnTo>
                  <a:pt x="3877" y="338"/>
                </a:lnTo>
                <a:lnTo>
                  <a:pt x="3878" y="340"/>
                </a:lnTo>
                <a:lnTo>
                  <a:pt x="3878" y="342"/>
                </a:lnTo>
                <a:lnTo>
                  <a:pt x="3879" y="346"/>
                </a:lnTo>
                <a:lnTo>
                  <a:pt x="3878" y="350"/>
                </a:lnTo>
                <a:lnTo>
                  <a:pt x="3877" y="353"/>
                </a:lnTo>
                <a:lnTo>
                  <a:pt x="3875" y="357"/>
                </a:lnTo>
                <a:lnTo>
                  <a:pt x="3870" y="366"/>
                </a:lnTo>
                <a:lnTo>
                  <a:pt x="3867" y="369"/>
                </a:lnTo>
                <a:lnTo>
                  <a:pt x="3865" y="371"/>
                </a:lnTo>
                <a:lnTo>
                  <a:pt x="3866" y="372"/>
                </a:lnTo>
                <a:lnTo>
                  <a:pt x="3867" y="372"/>
                </a:lnTo>
                <a:lnTo>
                  <a:pt x="3869" y="373"/>
                </a:lnTo>
                <a:lnTo>
                  <a:pt x="3871" y="374"/>
                </a:lnTo>
                <a:lnTo>
                  <a:pt x="3873" y="375"/>
                </a:lnTo>
                <a:lnTo>
                  <a:pt x="3874" y="377"/>
                </a:lnTo>
                <a:lnTo>
                  <a:pt x="3874" y="378"/>
                </a:lnTo>
                <a:lnTo>
                  <a:pt x="3874" y="380"/>
                </a:lnTo>
                <a:lnTo>
                  <a:pt x="3874" y="384"/>
                </a:lnTo>
                <a:lnTo>
                  <a:pt x="3872" y="389"/>
                </a:lnTo>
                <a:lnTo>
                  <a:pt x="3870" y="393"/>
                </a:lnTo>
                <a:lnTo>
                  <a:pt x="3867" y="400"/>
                </a:lnTo>
                <a:lnTo>
                  <a:pt x="3861" y="409"/>
                </a:lnTo>
                <a:lnTo>
                  <a:pt x="3862" y="410"/>
                </a:lnTo>
                <a:lnTo>
                  <a:pt x="3862" y="411"/>
                </a:lnTo>
                <a:lnTo>
                  <a:pt x="3862" y="412"/>
                </a:lnTo>
                <a:lnTo>
                  <a:pt x="3861" y="414"/>
                </a:lnTo>
                <a:lnTo>
                  <a:pt x="3858" y="417"/>
                </a:lnTo>
                <a:lnTo>
                  <a:pt x="3857" y="413"/>
                </a:lnTo>
                <a:lnTo>
                  <a:pt x="3855" y="409"/>
                </a:lnTo>
                <a:lnTo>
                  <a:pt x="3853" y="405"/>
                </a:lnTo>
                <a:lnTo>
                  <a:pt x="3851" y="404"/>
                </a:lnTo>
                <a:lnTo>
                  <a:pt x="3850" y="403"/>
                </a:lnTo>
                <a:lnTo>
                  <a:pt x="3849" y="403"/>
                </a:lnTo>
                <a:lnTo>
                  <a:pt x="3848" y="403"/>
                </a:lnTo>
                <a:lnTo>
                  <a:pt x="3846" y="403"/>
                </a:lnTo>
                <a:lnTo>
                  <a:pt x="3844" y="403"/>
                </a:lnTo>
                <a:lnTo>
                  <a:pt x="3843" y="403"/>
                </a:lnTo>
                <a:lnTo>
                  <a:pt x="3841" y="403"/>
                </a:lnTo>
                <a:lnTo>
                  <a:pt x="3840" y="402"/>
                </a:lnTo>
                <a:lnTo>
                  <a:pt x="3840" y="401"/>
                </a:lnTo>
                <a:lnTo>
                  <a:pt x="3839" y="399"/>
                </a:lnTo>
                <a:lnTo>
                  <a:pt x="3838" y="398"/>
                </a:lnTo>
                <a:lnTo>
                  <a:pt x="3837" y="398"/>
                </a:lnTo>
                <a:lnTo>
                  <a:pt x="3833" y="397"/>
                </a:lnTo>
                <a:lnTo>
                  <a:pt x="3828" y="401"/>
                </a:lnTo>
                <a:lnTo>
                  <a:pt x="3817" y="409"/>
                </a:lnTo>
                <a:lnTo>
                  <a:pt x="3799" y="423"/>
                </a:lnTo>
                <a:lnTo>
                  <a:pt x="3800" y="425"/>
                </a:lnTo>
                <a:lnTo>
                  <a:pt x="3800" y="427"/>
                </a:lnTo>
                <a:lnTo>
                  <a:pt x="3800" y="432"/>
                </a:lnTo>
                <a:lnTo>
                  <a:pt x="3801" y="436"/>
                </a:lnTo>
                <a:lnTo>
                  <a:pt x="3801" y="438"/>
                </a:lnTo>
                <a:lnTo>
                  <a:pt x="3802" y="440"/>
                </a:lnTo>
                <a:lnTo>
                  <a:pt x="3806" y="444"/>
                </a:lnTo>
                <a:lnTo>
                  <a:pt x="3813" y="450"/>
                </a:lnTo>
                <a:lnTo>
                  <a:pt x="3815" y="453"/>
                </a:lnTo>
                <a:lnTo>
                  <a:pt x="3815" y="454"/>
                </a:lnTo>
                <a:lnTo>
                  <a:pt x="3815" y="455"/>
                </a:lnTo>
                <a:lnTo>
                  <a:pt x="3814" y="456"/>
                </a:lnTo>
                <a:lnTo>
                  <a:pt x="3813" y="456"/>
                </a:lnTo>
                <a:lnTo>
                  <a:pt x="3808" y="456"/>
                </a:lnTo>
                <a:lnTo>
                  <a:pt x="3802" y="455"/>
                </a:lnTo>
                <a:lnTo>
                  <a:pt x="3796" y="453"/>
                </a:lnTo>
                <a:lnTo>
                  <a:pt x="3782" y="446"/>
                </a:lnTo>
                <a:lnTo>
                  <a:pt x="3768" y="438"/>
                </a:lnTo>
                <a:lnTo>
                  <a:pt x="3757" y="431"/>
                </a:lnTo>
                <a:lnTo>
                  <a:pt x="3755" y="440"/>
                </a:lnTo>
                <a:lnTo>
                  <a:pt x="3754" y="449"/>
                </a:lnTo>
                <a:lnTo>
                  <a:pt x="3755" y="453"/>
                </a:lnTo>
                <a:lnTo>
                  <a:pt x="3756" y="455"/>
                </a:lnTo>
                <a:lnTo>
                  <a:pt x="3756" y="457"/>
                </a:lnTo>
                <a:lnTo>
                  <a:pt x="3759" y="460"/>
                </a:lnTo>
                <a:lnTo>
                  <a:pt x="3763" y="462"/>
                </a:lnTo>
                <a:lnTo>
                  <a:pt x="3765" y="462"/>
                </a:lnTo>
                <a:lnTo>
                  <a:pt x="3767" y="462"/>
                </a:lnTo>
                <a:lnTo>
                  <a:pt x="3769" y="461"/>
                </a:lnTo>
                <a:lnTo>
                  <a:pt x="3771" y="462"/>
                </a:lnTo>
                <a:lnTo>
                  <a:pt x="3771" y="467"/>
                </a:lnTo>
                <a:lnTo>
                  <a:pt x="3771" y="472"/>
                </a:lnTo>
                <a:lnTo>
                  <a:pt x="3772" y="477"/>
                </a:lnTo>
                <a:lnTo>
                  <a:pt x="3772" y="479"/>
                </a:lnTo>
                <a:lnTo>
                  <a:pt x="3771" y="482"/>
                </a:lnTo>
                <a:lnTo>
                  <a:pt x="3768" y="484"/>
                </a:lnTo>
                <a:lnTo>
                  <a:pt x="3767" y="485"/>
                </a:lnTo>
                <a:lnTo>
                  <a:pt x="3766" y="486"/>
                </a:lnTo>
                <a:lnTo>
                  <a:pt x="3765" y="487"/>
                </a:lnTo>
                <a:lnTo>
                  <a:pt x="3761" y="487"/>
                </a:lnTo>
                <a:lnTo>
                  <a:pt x="3760" y="487"/>
                </a:lnTo>
                <a:lnTo>
                  <a:pt x="3759" y="486"/>
                </a:lnTo>
                <a:lnTo>
                  <a:pt x="3760" y="485"/>
                </a:lnTo>
                <a:lnTo>
                  <a:pt x="3753" y="483"/>
                </a:lnTo>
                <a:lnTo>
                  <a:pt x="3745" y="482"/>
                </a:lnTo>
                <a:lnTo>
                  <a:pt x="3737" y="482"/>
                </a:lnTo>
                <a:lnTo>
                  <a:pt x="3735" y="482"/>
                </a:lnTo>
                <a:lnTo>
                  <a:pt x="3734" y="476"/>
                </a:lnTo>
                <a:lnTo>
                  <a:pt x="3735" y="470"/>
                </a:lnTo>
                <a:lnTo>
                  <a:pt x="3731" y="470"/>
                </a:lnTo>
                <a:lnTo>
                  <a:pt x="3729" y="470"/>
                </a:lnTo>
                <a:lnTo>
                  <a:pt x="3727" y="470"/>
                </a:lnTo>
                <a:lnTo>
                  <a:pt x="3723" y="470"/>
                </a:lnTo>
                <a:lnTo>
                  <a:pt x="3721" y="464"/>
                </a:lnTo>
                <a:lnTo>
                  <a:pt x="3719" y="458"/>
                </a:lnTo>
                <a:lnTo>
                  <a:pt x="3717" y="452"/>
                </a:lnTo>
                <a:lnTo>
                  <a:pt x="3716" y="446"/>
                </a:lnTo>
                <a:lnTo>
                  <a:pt x="3715" y="440"/>
                </a:lnTo>
                <a:lnTo>
                  <a:pt x="3715" y="434"/>
                </a:lnTo>
                <a:lnTo>
                  <a:pt x="3715" y="420"/>
                </a:lnTo>
                <a:lnTo>
                  <a:pt x="3707" y="416"/>
                </a:lnTo>
                <a:lnTo>
                  <a:pt x="3703" y="414"/>
                </a:lnTo>
                <a:lnTo>
                  <a:pt x="3699" y="413"/>
                </a:lnTo>
                <a:lnTo>
                  <a:pt x="3691" y="411"/>
                </a:lnTo>
                <a:lnTo>
                  <a:pt x="3681" y="409"/>
                </a:lnTo>
                <a:lnTo>
                  <a:pt x="3684" y="400"/>
                </a:lnTo>
                <a:lnTo>
                  <a:pt x="3682" y="400"/>
                </a:lnTo>
                <a:lnTo>
                  <a:pt x="3678" y="400"/>
                </a:lnTo>
                <a:lnTo>
                  <a:pt x="3673" y="400"/>
                </a:lnTo>
                <a:lnTo>
                  <a:pt x="3673" y="396"/>
                </a:lnTo>
                <a:lnTo>
                  <a:pt x="3673" y="392"/>
                </a:lnTo>
                <a:lnTo>
                  <a:pt x="3670" y="386"/>
                </a:lnTo>
                <a:lnTo>
                  <a:pt x="3659" y="369"/>
                </a:lnTo>
                <a:lnTo>
                  <a:pt x="3681" y="383"/>
                </a:lnTo>
                <a:lnTo>
                  <a:pt x="3683" y="383"/>
                </a:lnTo>
                <a:lnTo>
                  <a:pt x="3684" y="381"/>
                </a:lnTo>
                <a:lnTo>
                  <a:pt x="3685" y="380"/>
                </a:lnTo>
                <a:lnTo>
                  <a:pt x="3687" y="380"/>
                </a:lnTo>
                <a:lnTo>
                  <a:pt x="3688" y="382"/>
                </a:lnTo>
                <a:lnTo>
                  <a:pt x="3690" y="383"/>
                </a:lnTo>
                <a:lnTo>
                  <a:pt x="3693" y="388"/>
                </a:lnTo>
                <a:lnTo>
                  <a:pt x="3696" y="392"/>
                </a:lnTo>
                <a:lnTo>
                  <a:pt x="3698" y="395"/>
                </a:lnTo>
                <a:lnTo>
                  <a:pt x="3699" y="392"/>
                </a:lnTo>
                <a:lnTo>
                  <a:pt x="3700" y="389"/>
                </a:lnTo>
                <a:lnTo>
                  <a:pt x="3701" y="387"/>
                </a:lnTo>
                <a:lnTo>
                  <a:pt x="3703" y="386"/>
                </a:lnTo>
                <a:lnTo>
                  <a:pt x="3704" y="386"/>
                </a:lnTo>
                <a:lnTo>
                  <a:pt x="3706" y="386"/>
                </a:lnTo>
                <a:lnTo>
                  <a:pt x="3706" y="395"/>
                </a:lnTo>
                <a:lnTo>
                  <a:pt x="3723" y="400"/>
                </a:lnTo>
                <a:lnTo>
                  <a:pt x="3744" y="406"/>
                </a:lnTo>
                <a:lnTo>
                  <a:pt x="3755" y="409"/>
                </a:lnTo>
                <a:lnTo>
                  <a:pt x="3765" y="411"/>
                </a:lnTo>
                <a:lnTo>
                  <a:pt x="3770" y="411"/>
                </a:lnTo>
                <a:lnTo>
                  <a:pt x="3774" y="412"/>
                </a:lnTo>
                <a:lnTo>
                  <a:pt x="3779" y="412"/>
                </a:lnTo>
                <a:lnTo>
                  <a:pt x="3782" y="411"/>
                </a:lnTo>
                <a:lnTo>
                  <a:pt x="3786" y="410"/>
                </a:lnTo>
                <a:lnTo>
                  <a:pt x="3791" y="406"/>
                </a:lnTo>
                <a:lnTo>
                  <a:pt x="3799" y="400"/>
                </a:lnTo>
                <a:lnTo>
                  <a:pt x="3803" y="397"/>
                </a:lnTo>
                <a:lnTo>
                  <a:pt x="3808" y="394"/>
                </a:lnTo>
                <a:lnTo>
                  <a:pt x="3812" y="389"/>
                </a:lnTo>
                <a:lnTo>
                  <a:pt x="3815" y="385"/>
                </a:lnTo>
                <a:lnTo>
                  <a:pt x="3817" y="382"/>
                </a:lnTo>
                <a:lnTo>
                  <a:pt x="3818" y="380"/>
                </a:lnTo>
                <a:lnTo>
                  <a:pt x="3819" y="377"/>
                </a:lnTo>
                <a:lnTo>
                  <a:pt x="3819" y="374"/>
                </a:lnTo>
                <a:lnTo>
                  <a:pt x="3819" y="371"/>
                </a:lnTo>
                <a:lnTo>
                  <a:pt x="3819" y="368"/>
                </a:lnTo>
                <a:lnTo>
                  <a:pt x="3818" y="364"/>
                </a:lnTo>
                <a:lnTo>
                  <a:pt x="3816" y="361"/>
                </a:lnTo>
                <a:lnTo>
                  <a:pt x="3810" y="361"/>
                </a:lnTo>
                <a:lnTo>
                  <a:pt x="3810" y="355"/>
                </a:lnTo>
                <a:lnTo>
                  <a:pt x="3805" y="353"/>
                </a:lnTo>
                <a:lnTo>
                  <a:pt x="3800" y="351"/>
                </a:lnTo>
                <a:lnTo>
                  <a:pt x="3796" y="349"/>
                </a:lnTo>
                <a:lnTo>
                  <a:pt x="3791" y="347"/>
                </a:lnTo>
                <a:lnTo>
                  <a:pt x="3791" y="341"/>
                </a:lnTo>
                <a:lnTo>
                  <a:pt x="3790" y="341"/>
                </a:lnTo>
                <a:lnTo>
                  <a:pt x="3789" y="341"/>
                </a:lnTo>
                <a:lnTo>
                  <a:pt x="3787" y="341"/>
                </a:lnTo>
                <a:lnTo>
                  <a:pt x="3785" y="341"/>
                </a:lnTo>
                <a:lnTo>
                  <a:pt x="3783" y="341"/>
                </a:lnTo>
                <a:lnTo>
                  <a:pt x="3782" y="341"/>
                </a:lnTo>
                <a:lnTo>
                  <a:pt x="3782" y="335"/>
                </a:lnTo>
                <a:lnTo>
                  <a:pt x="3759" y="323"/>
                </a:lnTo>
                <a:lnTo>
                  <a:pt x="3747" y="317"/>
                </a:lnTo>
                <a:lnTo>
                  <a:pt x="3742" y="315"/>
                </a:lnTo>
                <a:lnTo>
                  <a:pt x="3737" y="313"/>
                </a:lnTo>
                <a:lnTo>
                  <a:pt x="3732" y="312"/>
                </a:lnTo>
                <a:lnTo>
                  <a:pt x="3729" y="312"/>
                </a:lnTo>
                <a:lnTo>
                  <a:pt x="3726" y="313"/>
                </a:lnTo>
                <a:lnTo>
                  <a:pt x="3723" y="313"/>
                </a:lnTo>
                <a:lnTo>
                  <a:pt x="3722" y="311"/>
                </a:lnTo>
                <a:lnTo>
                  <a:pt x="3720" y="309"/>
                </a:lnTo>
                <a:lnTo>
                  <a:pt x="3719" y="306"/>
                </a:lnTo>
                <a:lnTo>
                  <a:pt x="3718" y="304"/>
                </a:lnTo>
                <a:lnTo>
                  <a:pt x="3715" y="304"/>
                </a:lnTo>
                <a:lnTo>
                  <a:pt x="3712" y="304"/>
                </a:lnTo>
                <a:lnTo>
                  <a:pt x="3709" y="305"/>
                </a:lnTo>
                <a:lnTo>
                  <a:pt x="3706" y="304"/>
                </a:lnTo>
                <a:lnTo>
                  <a:pt x="3704" y="299"/>
                </a:lnTo>
                <a:lnTo>
                  <a:pt x="3698" y="297"/>
                </a:lnTo>
                <a:lnTo>
                  <a:pt x="3693" y="296"/>
                </a:lnTo>
                <a:lnTo>
                  <a:pt x="3681" y="294"/>
                </a:lnTo>
                <a:lnTo>
                  <a:pt x="3670" y="294"/>
                </a:lnTo>
                <a:lnTo>
                  <a:pt x="3661" y="293"/>
                </a:lnTo>
                <a:lnTo>
                  <a:pt x="3661" y="288"/>
                </a:lnTo>
                <a:lnTo>
                  <a:pt x="3667" y="287"/>
                </a:lnTo>
                <a:lnTo>
                  <a:pt x="3670" y="286"/>
                </a:lnTo>
                <a:lnTo>
                  <a:pt x="3671" y="286"/>
                </a:lnTo>
                <a:lnTo>
                  <a:pt x="3671" y="285"/>
                </a:lnTo>
                <a:lnTo>
                  <a:pt x="3670" y="284"/>
                </a:lnTo>
                <a:lnTo>
                  <a:pt x="3665" y="282"/>
                </a:lnTo>
                <a:lnTo>
                  <a:pt x="3659" y="279"/>
                </a:lnTo>
                <a:lnTo>
                  <a:pt x="3658" y="279"/>
                </a:lnTo>
                <a:lnTo>
                  <a:pt x="3656" y="279"/>
                </a:lnTo>
                <a:lnTo>
                  <a:pt x="3653" y="280"/>
                </a:lnTo>
                <a:lnTo>
                  <a:pt x="3651" y="280"/>
                </a:lnTo>
                <a:lnTo>
                  <a:pt x="3647" y="280"/>
                </a:lnTo>
                <a:lnTo>
                  <a:pt x="3640" y="278"/>
                </a:lnTo>
                <a:lnTo>
                  <a:pt x="3635" y="277"/>
                </a:lnTo>
                <a:lnTo>
                  <a:pt x="3633" y="276"/>
                </a:lnTo>
                <a:lnTo>
                  <a:pt x="3630" y="276"/>
                </a:lnTo>
                <a:lnTo>
                  <a:pt x="3628" y="282"/>
                </a:lnTo>
                <a:lnTo>
                  <a:pt x="3622" y="283"/>
                </a:lnTo>
                <a:lnTo>
                  <a:pt x="3619" y="283"/>
                </a:lnTo>
                <a:lnTo>
                  <a:pt x="3614" y="285"/>
                </a:lnTo>
                <a:lnTo>
                  <a:pt x="3612" y="282"/>
                </a:lnTo>
                <a:lnTo>
                  <a:pt x="3611" y="278"/>
                </a:lnTo>
                <a:lnTo>
                  <a:pt x="3610" y="276"/>
                </a:lnTo>
                <a:lnTo>
                  <a:pt x="3608" y="274"/>
                </a:lnTo>
                <a:lnTo>
                  <a:pt x="3611" y="273"/>
                </a:lnTo>
                <a:lnTo>
                  <a:pt x="3615" y="274"/>
                </a:lnTo>
                <a:lnTo>
                  <a:pt x="3619" y="274"/>
                </a:lnTo>
                <a:lnTo>
                  <a:pt x="3620" y="274"/>
                </a:lnTo>
                <a:lnTo>
                  <a:pt x="3622" y="274"/>
                </a:lnTo>
                <a:lnTo>
                  <a:pt x="3623" y="272"/>
                </a:lnTo>
                <a:lnTo>
                  <a:pt x="3625" y="269"/>
                </a:lnTo>
                <a:lnTo>
                  <a:pt x="3626" y="266"/>
                </a:lnTo>
                <a:lnTo>
                  <a:pt x="3628" y="265"/>
                </a:lnTo>
                <a:lnTo>
                  <a:pt x="3630" y="265"/>
                </a:lnTo>
                <a:lnTo>
                  <a:pt x="3631" y="265"/>
                </a:lnTo>
                <a:lnTo>
                  <a:pt x="3633" y="266"/>
                </a:lnTo>
                <a:lnTo>
                  <a:pt x="3635" y="268"/>
                </a:lnTo>
                <a:lnTo>
                  <a:pt x="3637" y="268"/>
                </a:lnTo>
                <a:lnTo>
                  <a:pt x="3639" y="268"/>
                </a:lnTo>
                <a:lnTo>
                  <a:pt x="3637" y="265"/>
                </a:lnTo>
                <a:lnTo>
                  <a:pt x="3636" y="261"/>
                </a:lnTo>
                <a:lnTo>
                  <a:pt x="3635" y="257"/>
                </a:lnTo>
                <a:lnTo>
                  <a:pt x="3633" y="254"/>
                </a:lnTo>
                <a:lnTo>
                  <a:pt x="3631" y="254"/>
                </a:lnTo>
                <a:lnTo>
                  <a:pt x="3630" y="254"/>
                </a:lnTo>
                <a:lnTo>
                  <a:pt x="3630" y="255"/>
                </a:lnTo>
                <a:lnTo>
                  <a:pt x="3630" y="257"/>
                </a:lnTo>
                <a:lnTo>
                  <a:pt x="3626" y="257"/>
                </a:lnTo>
                <a:lnTo>
                  <a:pt x="3622" y="257"/>
                </a:lnTo>
                <a:lnTo>
                  <a:pt x="3623" y="254"/>
                </a:lnTo>
                <a:lnTo>
                  <a:pt x="3625" y="251"/>
                </a:lnTo>
                <a:lnTo>
                  <a:pt x="3626" y="249"/>
                </a:lnTo>
                <a:lnTo>
                  <a:pt x="3626" y="248"/>
                </a:lnTo>
                <a:lnTo>
                  <a:pt x="3623" y="249"/>
                </a:lnTo>
                <a:lnTo>
                  <a:pt x="3620" y="252"/>
                </a:lnTo>
                <a:lnTo>
                  <a:pt x="3618" y="254"/>
                </a:lnTo>
                <a:lnTo>
                  <a:pt x="3616" y="254"/>
                </a:lnTo>
                <a:lnTo>
                  <a:pt x="3616" y="248"/>
                </a:lnTo>
                <a:lnTo>
                  <a:pt x="3611" y="248"/>
                </a:lnTo>
                <a:lnTo>
                  <a:pt x="3611" y="247"/>
                </a:lnTo>
                <a:lnTo>
                  <a:pt x="3612" y="245"/>
                </a:lnTo>
                <a:lnTo>
                  <a:pt x="3614" y="243"/>
                </a:lnTo>
                <a:lnTo>
                  <a:pt x="3612" y="243"/>
                </a:lnTo>
                <a:lnTo>
                  <a:pt x="3611" y="243"/>
                </a:lnTo>
                <a:lnTo>
                  <a:pt x="3611" y="242"/>
                </a:lnTo>
                <a:lnTo>
                  <a:pt x="3610" y="241"/>
                </a:lnTo>
                <a:lnTo>
                  <a:pt x="3610" y="240"/>
                </a:lnTo>
                <a:lnTo>
                  <a:pt x="3609" y="239"/>
                </a:lnTo>
                <a:lnTo>
                  <a:pt x="3607" y="239"/>
                </a:lnTo>
                <a:lnTo>
                  <a:pt x="3605" y="240"/>
                </a:lnTo>
                <a:lnTo>
                  <a:pt x="3604" y="240"/>
                </a:lnTo>
                <a:lnTo>
                  <a:pt x="3604" y="241"/>
                </a:lnTo>
                <a:lnTo>
                  <a:pt x="3603" y="244"/>
                </a:lnTo>
                <a:lnTo>
                  <a:pt x="3603" y="247"/>
                </a:lnTo>
                <a:lnTo>
                  <a:pt x="3603" y="248"/>
                </a:lnTo>
                <a:lnTo>
                  <a:pt x="3602" y="248"/>
                </a:lnTo>
                <a:lnTo>
                  <a:pt x="3598" y="249"/>
                </a:lnTo>
                <a:lnTo>
                  <a:pt x="3594" y="250"/>
                </a:lnTo>
                <a:lnTo>
                  <a:pt x="3591" y="251"/>
                </a:lnTo>
                <a:lnTo>
                  <a:pt x="3591" y="245"/>
                </a:lnTo>
                <a:lnTo>
                  <a:pt x="3591" y="240"/>
                </a:lnTo>
                <a:lnTo>
                  <a:pt x="3595" y="240"/>
                </a:lnTo>
                <a:lnTo>
                  <a:pt x="3597" y="239"/>
                </a:lnTo>
                <a:lnTo>
                  <a:pt x="3598" y="238"/>
                </a:lnTo>
                <a:lnTo>
                  <a:pt x="3598" y="237"/>
                </a:lnTo>
                <a:lnTo>
                  <a:pt x="3598" y="236"/>
                </a:lnTo>
                <a:lnTo>
                  <a:pt x="3597" y="235"/>
                </a:lnTo>
                <a:lnTo>
                  <a:pt x="3595" y="234"/>
                </a:lnTo>
                <a:lnTo>
                  <a:pt x="3594" y="234"/>
                </a:lnTo>
                <a:lnTo>
                  <a:pt x="3595" y="234"/>
                </a:lnTo>
                <a:lnTo>
                  <a:pt x="3594" y="234"/>
                </a:lnTo>
                <a:lnTo>
                  <a:pt x="3591" y="232"/>
                </a:lnTo>
                <a:lnTo>
                  <a:pt x="3587" y="230"/>
                </a:lnTo>
                <a:lnTo>
                  <a:pt x="3583" y="229"/>
                </a:lnTo>
                <a:lnTo>
                  <a:pt x="3580" y="237"/>
                </a:lnTo>
                <a:lnTo>
                  <a:pt x="3574" y="240"/>
                </a:lnTo>
                <a:lnTo>
                  <a:pt x="3577" y="248"/>
                </a:lnTo>
                <a:lnTo>
                  <a:pt x="3571" y="253"/>
                </a:lnTo>
                <a:lnTo>
                  <a:pt x="3566" y="257"/>
                </a:lnTo>
                <a:lnTo>
                  <a:pt x="3566" y="259"/>
                </a:lnTo>
                <a:lnTo>
                  <a:pt x="3564" y="259"/>
                </a:lnTo>
                <a:lnTo>
                  <a:pt x="3563" y="259"/>
                </a:lnTo>
                <a:lnTo>
                  <a:pt x="3563" y="257"/>
                </a:lnTo>
                <a:lnTo>
                  <a:pt x="3563" y="255"/>
                </a:lnTo>
                <a:lnTo>
                  <a:pt x="3563" y="251"/>
                </a:lnTo>
                <a:lnTo>
                  <a:pt x="3563" y="248"/>
                </a:lnTo>
                <a:lnTo>
                  <a:pt x="3565" y="248"/>
                </a:lnTo>
                <a:lnTo>
                  <a:pt x="3566" y="247"/>
                </a:lnTo>
                <a:lnTo>
                  <a:pt x="3566" y="246"/>
                </a:lnTo>
                <a:lnTo>
                  <a:pt x="3566" y="245"/>
                </a:lnTo>
                <a:lnTo>
                  <a:pt x="3565" y="242"/>
                </a:lnTo>
                <a:lnTo>
                  <a:pt x="3563" y="240"/>
                </a:lnTo>
                <a:lnTo>
                  <a:pt x="3558" y="244"/>
                </a:lnTo>
                <a:lnTo>
                  <a:pt x="3556" y="247"/>
                </a:lnTo>
                <a:lnTo>
                  <a:pt x="3556" y="248"/>
                </a:lnTo>
                <a:lnTo>
                  <a:pt x="3557" y="248"/>
                </a:lnTo>
                <a:lnTo>
                  <a:pt x="3554" y="251"/>
                </a:lnTo>
                <a:lnTo>
                  <a:pt x="3550" y="255"/>
                </a:lnTo>
                <a:lnTo>
                  <a:pt x="3546" y="259"/>
                </a:lnTo>
                <a:lnTo>
                  <a:pt x="3544" y="261"/>
                </a:lnTo>
                <a:lnTo>
                  <a:pt x="3543" y="262"/>
                </a:lnTo>
                <a:lnTo>
                  <a:pt x="3543" y="263"/>
                </a:lnTo>
                <a:lnTo>
                  <a:pt x="3543" y="265"/>
                </a:lnTo>
                <a:lnTo>
                  <a:pt x="3543" y="267"/>
                </a:lnTo>
                <a:lnTo>
                  <a:pt x="3544" y="269"/>
                </a:lnTo>
                <a:lnTo>
                  <a:pt x="3544" y="270"/>
                </a:lnTo>
                <a:lnTo>
                  <a:pt x="3543" y="271"/>
                </a:lnTo>
                <a:lnTo>
                  <a:pt x="3542" y="272"/>
                </a:lnTo>
                <a:lnTo>
                  <a:pt x="3539" y="274"/>
                </a:lnTo>
                <a:lnTo>
                  <a:pt x="3536" y="275"/>
                </a:lnTo>
                <a:lnTo>
                  <a:pt x="3535" y="276"/>
                </a:lnTo>
                <a:lnTo>
                  <a:pt x="3536" y="271"/>
                </a:lnTo>
                <a:lnTo>
                  <a:pt x="3537" y="267"/>
                </a:lnTo>
                <a:lnTo>
                  <a:pt x="3537" y="262"/>
                </a:lnTo>
                <a:lnTo>
                  <a:pt x="3538" y="257"/>
                </a:lnTo>
                <a:lnTo>
                  <a:pt x="3543" y="256"/>
                </a:lnTo>
                <a:lnTo>
                  <a:pt x="3545" y="255"/>
                </a:lnTo>
                <a:lnTo>
                  <a:pt x="3546" y="254"/>
                </a:lnTo>
                <a:lnTo>
                  <a:pt x="3540" y="240"/>
                </a:lnTo>
                <a:lnTo>
                  <a:pt x="3538" y="241"/>
                </a:lnTo>
                <a:lnTo>
                  <a:pt x="3537" y="243"/>
                </a:lnTo>
                <a:lnTo>
                  <a:pt x="3537" y="244"/>
                </a:lnTo>
                <a:lnTo>
                  <a:pt x="3538" y="245"/>
                </a:lnTo>
                <a:lnTo>
                  <a:pt x="3535" y="244"/>
                </a:lnTo>
                <a:lnTo>
                  <a:pt x="3534" y="243"/>
                </a:lnTo>
                <a:lnTo>
                  <a:pt x="3534" y="241"/>
                </a:lnTo>
                <a:lnTo>
                  <a:pt x="3532" y="240"/>
                </a:lnTo>
                <a:lnTo>
                  <a:pt x="3531" y="240"/>
                </a:lnTo>
                <a:lnTo>
                  <a:pt x="3530" y="240"/>
                </a:lnTo>
                <a:lnTo>
                  <a:pt x="3527" y="239"/>
                </a:lnTo>
                <a:lnTo>
                  <a:pt x="3524" y="237"/>
                </a:lnTo>
                <a:lnTo>
                  <a:pt x="3524" y="246"/>
                </a:lnTo>
                <a:lnTo>
                  <a:pt x="3524" y="251"/>
                </a:lnTo>
                <a:lnTo>
                  <a:pt x="3524" y="253"/>
                </a:lnTo>
                <a:lnTo>
                  <a:pt x="3524" y="254"/>
                </a:lnTo>
                <a:lnTo>
                  <a:pt x="3518" y="251"/>
                </a:lnTo>
                <a:lnTo>
                  <a:pt x="3519" y="250"/>
                </a:lnTo>
                <a:lnTo>
                  <a:pt x="3519" y="248"/>
                </a:lnTo>
                <a:lnTo>
                  <a:pt x="3519" y="247"/>
                </a:lnTo>
                <a:lnTo>
                  <a:pt x="3517" y="247"/>
                </a:lnTo>
                <a:lnTo>
                  <a:pt x="3512" y="245"/>
                </a:lnTo>
                <a:lnTo>
                  <a:pt x="3512" y="247"/>
                </a:lnTo>
                <a:lnTo>
                  <a:pt x="3512" y="249"/>
                </a:lnTo>
                <a:lnTo>
                  <a:pt x="3512" y="252"/>
                </a:lnTo>
                <a:lnTo>
                  <a:pt x="3512" y="254"/>
                </a:lnTo>
                <a:lnTo>
                  <a:pt x="3495" y="268"/>
                </a:lnTo>
                <a:lnTo>
                  <a:pt x="3489" y="263"/>
                </a:lnTo>
                <a:lnTo>
                  <a:pt x="3482" y="259"/>
                </a:lnTo>
                <a:lnTo>
                  <a:pt x="3474" y="255"/>
                </a:lnTo>
                <a:lnTo>
                  <a:pt x="3470" y="254"/>
                </a:lnTo>
                <a:lnTo>
                  <a:pt x="3467" y="254"/>
                </a:lnTo>
                <a:lnTo>
                  <a:pt x="3464" y="258"/>
                </a:lnTo>
                <a:lnTo>
                  <a:pt x="3462" y="262"/>
                </a:lnTo>
                <a:lnTo>
                  <a:pt x="3466" y="262"/>
                </a:lnTo>
                <a:lnTo>
                  <a:pt x="3470" y="262"/>
                </a:lnTo>
                <a:lnTo>
                  <a:pt x="3471" y="269"/>
                </a:lnTo>
                <a:lnTo>
                  <a:pt x="3471" y="271"/>
                </a:lnTo>
                <a:lnTo>
                  <a:pt x="3473" y="274"/>
                </a:lnTo>
                <a:lnTo>
                  <a:pt x="3466" y="271"/>
                </a:lnTo>
                <a:lnTo>
                  <a:pt x="3459" y="268"/>
                </a:lnTo>
                <a:lnTo>
                  <a:pt x="3462" y="279"/>
                </a:lnTo>
                <a:lnTo>
                  <a:pt x="3457" y="279"/>
                </a:lnTo>
                <a:lnTo>
                  <a:pt x="3453" y="279"/>
                </a:lnTo>
                <a:lnTo>
                  <a:pt x="3455" y="272"/>
                </a:lnTo>
                <a:lnTo>
                  <a:pt x="3455" y="269"/>
                </a:lnTo>
                <a:lnTo>
                  <a:pt x="3453" y="268"/>
                </a:lnTo>
                <a:lnTo>
                  <a:pt x="3449" y="276"/>
                </a:lnTo>
                <a:lnTo>
                  <a:pt x="3448" y="279"/>
                </a:lnTo>
                <a:lnTo>
                  <a:pt x="3447" y="280"/>
                </a:lnTo>
                <a:lnTo>
                  <a:pt x="3446" y="280"/>
                </a:lnTo>
                <a:lnTo>
                  <a:pt x="3445" y="278"/>
                </a:lnTo>
                <a:lnTo>
                  <a:pt x="3442" y="268"/>
                </a:lnTo>
                <a:lnTo>
                  <a:pt x="3441" y="269"/>
                </a:lnTo>
                <a:lnTo>
                  <a:pt x="3441" y="271"/>
                </a:lnTo>
                <a:lnTo>
                  <a:pt x="3441" y="274"/>
                </a:lnTo>
                <a:lnTo>
                  <a:pt x="3440" y="276"/>
                </a:lnTo>
                <a:lnTo>
                  <a:pt x="3440" y="278"/>
                </a:lnTo>
                <a:lnTo>
                  <a:pt x="3439" y="279"/>
                </a:lnTo>
                <a:lnTo>
                  <a:pt x="3437" y="281"/>
                </a:lnTo>
                <a:lnTo>
                  <a:pt x="3434" y="282"/>
                </a:lnTo>
                <a:lnTo>
                  <a:pt x="3430" y="283"/>
                </a:lnTo>
                <a:lnTo>
                  <a:pt x="3428" y="285"/>
                </a:lnTo>
                <a:lnTo>
                  <a:pt x="3427" y="283"/>
                </a:lnTo>
                <a:lnTo>
                  <a:pt x="3426" y="282"/>
                </a:lnTo>
                <a:lnTo>
                  <a:pt x="3427" y="280"/>
                </a:lnTo>
                <a:lnTo>
                  <a:pt x="3427" y="279"/>
                </a:lnTo>
                <a:lnTo>
                  <a:pt x="3426" y="278"/>
                </a:lnTo>
                <a:lnTo>
                  <a:pt x="3425" y="277"/>
                </a:lnTo>
                <a:lnTo>
                  <a:pt x="3422" y="276"/>
                </a:lnTo>
                <a:lnTo>
                  <a:pt x="3420" y="288"/>
                </a:lnTo>
                <a:lnTo>
                  <a:pt x="3422" y="287"/>
                </a:lnTo>
                <a:lnTo>
                  <a:pt x="3425" y="288"/>
                </a:lnTo>
                <a:lnTo>
                  <a:pt x="3425" y="289"/>
                </a:lnTo>
                <a:lnTo>
                  <a:pt x="3424" y="290"/>
                </a:lnTo>
                <a:lnTo>
                  <a:pt x="3422" y="290"/>
                </a:lnTo>
                <a:lnTo>
                  <a:pt x="3416" y="292"/>
                </a:lnTo>
                <a:lnTo>
                  <a:pt x="3414" y="293"/>
                </a:lnTo>
                <a:lnTo>
                  <a:pt x="3415" y="293"/>
                </a:lnTo>
                <a:lnTo>
                  <a:pt x="3417" y="293"/>
                </a:lnTo>
                <a:lnTo>
                  <a:pt x="3417" y="299"/>
                </a:lnTo>
                <a:lnTo>
                  <a:pt x="3413" y="299"/>
                </a:lnTo>
                <a:lnTo>
                  <a:pt x="3411" y="297"/>
                </a:lnTo>
                <a:lnTo>
                  <a:pt x="3409" y="296"/>
                </a:lnTo>
                <a:lnTo>
                  <a:pt x="3408" y="296"/>
                </a:lnTo>
                <a:lnTo>
                  <a:pt x="3405" y="296"/>
                </a:lnTo>
                <a:lnTo>
                  <a:pt x="3405" y="304"/>
                </a:lnTo>
                <a:lnTo>
                  <a:pt x="3403" y="304"/>
                </a:lnTo>
                <a:lnTo>
                  <a:pt x="3402" y="304"/>
                </a:lnTo>
                <a:lnTo>
                  <a:pt x="3401" y="303"/>
                </a:lnTo>
                <a:lnTo>
                  <a:pt x="3401" y="302"/>
                </a:lnTo>
                <a:lnTo>
                  <a:pt x="3401" y="301"/>
                </a:lnTo>
                <a:lnTo>
                  <a:pt x="3401" y="297"/>
                </a:lnTo>
                <a:lnTo>
                  <a:pt x="3402" y="293"/>
                </a:lnTo>
                <a:lnTo>
                  <a:pt x="3403" y="289"/>
                </a:lnTo>
                <a:lnTo>
                  <a:pt x="3402" y="287"/>
                </a:lnTo>
                <a:lnTo>
                  <a:pt x="3402" y="286"/>
                </a:lnTo>
                <a:lnTo>
                  <a:pt x="3401" y="286"/>
                </a:lnTo>
                <a:lnTo>
                  <a:pt x="3400" y="286"/>
                </a:lnTo>
                <a:lnTo>
                  <a:pt x="3397" y="286"/>
                </a:lnTo>
                <a:lnTo>
                  <a:pt x="3394" y="288"/>
                </a:lnTo>
                <a:lnTo>
                  <a:pt x="3391" y="290"/>
                </a:lnTo>
                <a:lnTo>
                  <a:pt x="3389" y="291"/>
                </a:lnTo>
                <a:lnTo>
                  <a:pt x="3386" y="293"/>
                </a:lnTo>
                <a:lnTo>
                  <a:pt x="3386" y="304"/>
                </a:lnTo>
                <a:lnTo>
                  <a:pt x="3387" y="306"/>
                </a:lnTo>
                <a:lnTo>
                  <a:pt x="3387" y="307"/>
                </a:lnTo>
                <a:lnTo>
                  <a:pt x="3388" y="307"/>
                </a:lnTo>
                <a:lnTo>
                  <a:pt x="3391" y="307"/>
                </a:lnTo>
                <a:lnTo>
                  <a:pt x="3394" y="306"/>
                </a:lnTo>
                <a:lnTo>
                  <a:pt x="3400" y="304"/>
                </a:lnTo>
                <a:lnTo>
                  <a:pt x="3397" y="317"/>
                </a:lnTo>
                <a:lnTo>
                  <a:pt x="3396" y="321"/>
                </a:lnTo>
                <a:lnTo>
                  <a:pt x="3394" y="325"/>
                </a:lnTo>
                <a:lnTo>
                  <a:pt x="3392" y="327"/>
                </a:lnTo>
                <a:lnTo>
                  <a:pt x="3389" y="330"/>
                </a:lnTo>
                <a:lnTo>
                  <a:pt x="3384" y="332"/>
                </a:lnTo>
                <a:lnTo>
                  <a:pt x="3377" y="335"/>
                </a:lnTo>
                <a:lnTo>
                  <a:pt x="3378" y="339"/>
                </a:lnTo>
                <a:lnTo>
                  <a:pt x="3379" y="340"/>
                </a:lnTo>
                <a:lnTo>
                  <a:pt x="3380" y="340"/>
                </a:lnTo>
                <a:lnTo>
                  <a:pt x="3381" y="340"/>
                </a:lnTo>
                <a:lnTo>
                  <a:pt x="3383" y="341"/>
                </a:lnTo>
                <a:lnTo>
                  <a:pt x="3383" y="352"/>
                </a:lnTo>
                <a:lnTo>
                  <a:pt x="3375" y="348"/>
                </a:lnTo>
                <a:lnTo>
                  <a:pt x="3366" y="344"/>
                </a:lnTo>
                <a:lnTo>
                  <a:pt x="3368" y="349"/>
                </a:lnTo>
                <a:lnTo>
                  <a:pt x="3369" y="352"/>
                </a:lnTo>
                <a:lnTo>
                  <a:pt x="3372" y="356"/>
                </a:lnTo>
                <a:lnTo>
                  <a:pt x="3374" y="361"/>
                </a:lnTo>
                <a:lnTo>
                  <a:pt x="3377" y="369"/>
                </a:lnTo>
                <a:lnTo>
                  <a:pt x="3376" y="370"/>
                </a:lnTo>
                <a:lnTo>
                  <a:pt x="3374" y="370"/>
                </a:lnTo>
                <a:lnTo>
                  <a:pt x="3370" y="369"/>
                </a:lnTo>
                <a:lnTo>
                  <a:pt x="3366" y="369"/>
                </a:lnTo>
                <a:lnTo>
                  <a:pt x="3365" y="369"/>
                </a:lnTo>
                <a:lnTo>
                  <a:pt x="3363" y="369"/>
                </a:lnTo>
                <a:lnTo>
                  <a:pt x="3363" y="371"/>
                </a:lnTo>
                <a:lnTo>
                  <a:pt x="3363" y="375"/>
                </a:lnTo>
                <a:lnTo>
                  <a:pt x="3363" y="380"/>
                </a:lnTo>
                <a:lnTo>
                  <a:pt x="3355" y="386"/>
                </a:lnTo>
                <a:lnTo>
                  <a:pt x="3350" y="388"/>
                </a:lnTo>
                <a:lnTo>
                  <a:pt x="3348" y="389"/>
                </a:lnTo>
                <a:lnTo>
                  <a:pt x="3346" y="389"/>
                </a:lnTo>
                <a:lnTo>
                  <a:pt x="3346" y="388"/>
                </a:lnTo>
                <a:lnTo>
                  <a:pt x="3346" y="386"/>
                </a:lnTo>
                <a:lnTo>
                  <a:pt x="3346" y="385"/>
                </a:lnTo>
                <a:lnTo>
                  <a:pt x="3345" y="385"/>
                </a:lnTo>
                <a:lnTo>
                  <a:pt x="3344" y="386"/>
                </a:lnTo>
                <a:lnTo>
                  <a:pt x="3342" y="388"/>
                </a:lnTo>
                <a:lnTo>
                  <a:pt x="3341" y="392"/>
                </a:lnTo>
                <a:lnTo>
                  <a:pt x="3339" y="395"/>
                </a:lnTo>
                <a:lnTo>
                  <a:pt x="3338" y="397"/>
                </a:lnTo>
                <a:lnTo>
                  <a:pt x="3336" y="397"/>
                </a:lnTo>
                <a:lnTo>
                  <a:pt x="3333" y="397"/>
                </a:lnTo>
                <a:lnTo>
                  <a:pt x="3331" y="397"/>
                </a:lnTo>
                <a:lnTo>
                  <a:pt x="3329" y="397"/>
                </a:lnTo>
                <a:lnTo>
                  <a:pt x="3329" y="403"/>
                </a:lnTo>
                <a:lnTo>
                  <a:pt x="3335" y="403"/>
                </a:lnTo>
                <a:lnTo>
                  <a:pt x="3332" y="405"/>
                </a:lnTo>
                <a:lnTo>
                  <a:pt x="3331" y="406"/>
                </a:lnTo>
                <a:lnTo>
                  <a:pt x="3331" y="407"/>
                </a:lnTo>
                <a:lnTo>
                  <a:pt x="3331" y="408"/>
                </a:lnTo>
                <a:lnTo>
                  <a:pt x="3331" y="409"/>
                </a:lnTo>
                <a:lnTo>
                  <a:pt x="3332" y="411"/>
                </a:lnTo>
                <a:lnTo>
                  <a:pt x="3333" y="413"/>
                </a:lnTo>
                <a:lnTo>
                  <a:pt x="3333" y="415"/>
                </a:lnTo>
                <a:lnTo>
                  <a:pt x="3332" y="417"/>
                </a:lnTo>
                <a:lnTo>
                  <a:pt x="3332" y="418"/>
                </a:lnTo>
                <a:lnTo>
                  <a:pt x="3331" y="418"/>
                </a:lnTo>
                <a:lnTo>
                  <a:pt x="3329" y="419"/>
                </a:lnTo>
                <a:lnTo>
                  <a:pt x="3326" y="419"/>
                </a:lnTo>
                <a:lnTo>
                  <a:pt x="3324" y="420"/>
                </a:lnTo>
                <a:lnTo>
                  <a:pt x="3316" y="424"/>
                </a:lnTo>
                <a:lnTo>
                  <a:pt x="3313" y="426"/>
                </a:lnTo>
                <a:lnTo>
                  <a:pt x="3310" y="428"/>
                </a:lnTo>
                <a:lnTo>
                  <a:pt x="3308" y="431"/>
                </a:lnTo>
                <a:lnTo>
                  <a:pt x="3307" y="432"/>
                </a:lnTo>
                <a:lnTo>
                  <a:pt x="3307" y="434"/>
                </a:lnTo>
                <a:lnTo>
                  <a:pt x="3305" y="439"/>
                </a:lnTo>
                <a:lnTo>
                  <a:pt x="3304" y="445"/>
                </a:lnTo>
                <a:lnTo>
                  <a:pt x="3301" y="444"/>
                </a:lnTo>
                <a:lnTo>
                  <a:pt x="3298" y="443"/>
                </a:lnTo>
                <a:lnTo>
                  <a:pt x="3295" y="441"/>
                </a:lnTo>
                <a:lnTo>
                  <a:pt x="3293" y="440"/>
                </a:lnTo>
                <a:lnTo>
                  <a:pt x="3292" y="441"/>
                </a:lnTo>
                <a:lnTo>
                  <a:pt x="3290" y="443"/>
                </a:lnTo>
                <a:lnTo>
                  <a:pt x="3286" y="450"/>
                </a:lnTo>
                <a:lnTo>
                  <a:pt x="3282" y="456"/>
                </a:lnTo>
                <a:lnTo>
                  <a:pt x="3279" y="459"/>
                </a:lnTo>
                <a:lnTo>
                  <a:pt x="3276" y="460"/>
                </a:lnTo>
                <a:lnTo>
                  <a:pt x="3274" y="460"/>
                </a:lnTo>
                <a:lnTo>
                  <a:pt x="3272" y="461"/>
                </a:lnTo>
                <a:lnTo>
                  <a:pt x="3271" y="461"/>
                </a:lnTo>
                <a:lnTo>
                  <a:pt x="3270" y="462"/>
                </a:lnTo>
                <a:lnTo>
                  <a:pt x="3268" y="465"/>
                </a:lnTo>
                <a:lnTo>
                  <a:pt x="3267" y="469"/>
                </a:lnTo>
                <a:lnTo>
                  <a:pt x="3266" y="472"/>
                </a:lnTo>
                <a:lnTo>
                  <a:pt x="3265" y="476"/>
                </a:lnTo>
                <a:lnTo>
                  <a:pt x="3262" y="476"/>
                </a:lnTo>
                <a:lnTo>
                  <a:pt x="3260" y="477"/>
                </a:lnTo>
                <a:lnTo>
                  <a:pt x="3259" y="478"/>
                </a:lnTo>
                <a:lnTo>
                  <a:pt x="3259" y="479"/>
                </a:lnTo>
                <a:lnTo>
                  <a:pt x="3260" y="481"/>
                </a:lnTo>
                <a:lnTo>
                  <a:pt x="3262" y="481"/>
                </a:lnTo>
                <a:lnTo>
                  <a:pt x="3265" y="482"/>
                </a:lnTo>
                <a:lnTo>
                  <a:pt x="3268" y="482"/>
                </a:lnTo>
                <a:lnTo>
                  <a:pt x="3268" y="481"/>
                </a:lnTo>
                <a:lnTo>
                  <a:pt x="3270" y="480"/>
                </a:lnTo>
                <a:lnTo>
                  <a:pt x="3272" y="477"/>
                </a:lnTo>
                <a:lnTo>
                  <a:pt x="3275" y="475"/>
                </a:lnTo>
                <a:lnTo>
                  <a:pt x="3276" y="473"/>
                </a:lnTo>
                <a:lnTo>
                  <a:pt x="3279" y="473"/>
                </a:lnTo>
                <a:lnTo>
                  <a:pt x="3282" y="475"/>
                </a:lnTo>
                <a:lnTo>
                  <a:pt x="3283" y="475"/>
                </a:lnTo>
                <a:lnTo>
                  <a:pt x="3283" y="477"/>
                </a:lnTo>
                <a:lnTo>
                  <a:pt x="3283" y="478"/>
                </a:lnTo>
                <a:lnTo>
                  <a:pt x="3282" y="479"/>
                </a:lnTo>
                <a:lnTo>
                  <a:pt x="3279" y="481"/>
                </a:lnTo>
                <a:lnTo>
                  <a:pt x="3276" y="482"/>
                </a:lnTo>
                <a:lnTo>
                  <a:pt x="3270" y="485"/>
                </a:lnTo>
                <a:lnTo>
                  <a:pt x="3270" y="490"/>
                </a:lnTo>
                <a:lnTo>
                  <a:pt x="3265" y="489"/>
                </a:lnTo>
                <a:lnTo>
                  <a:pt x="3262" y="489"/>
                </a:lnTo>
                <a:lnTo>
                  <a:pt x="3259" y="490"/>
                </a:lnTo>
                <a:lnTo>
                  <a:pt x="3256" y="490"/>
                </a:lnTo>
                <a:lnTo>
                  <a:pt x="3256" y="487"/>
                </a:lnTo>
                <a:lnTo>
                  <a:pt x="3256" y="483"/>
                </a:lnTo>
                <a:lnTo>
                  <a:pt x="3255" y="480"/>
                </a:lnTo>
                <a:lnTo>
                  <a:pt x="3254" y="479"/>
                </a:lnTo>
                <a:lnTo>
                  <a:pt x="3252" y="479"/>
                </a:lnTo>
                <a:lnTo>
                  <a:pt x="3251" y="479"/>
                </a:lnTo>
                <a:lnTo>
                  <a:pt x="3250" y="481"/>
                </a:lnTo>
                <a:lnTo>
                  <a:pt x="3249" y="483"/>
                </a:lnTo>
                <a:lnTo>
                  <a:pt x="3248" y="485"/>
                </a:lnTo>
                <a:lnTo>
                  <a:pt x="3240" y="480"/>
                </a:lnTo>
                <a:lnTo>
                  <a:pt x="3234" y="476"/>
                </a:lnTo>
                <a:lnTo>
                  <a:pt x="3231" y="481"/>
                </a:lnTo>
                <a:lnTo>
                  <a:pt x="3230" y="483"/>
                </a:lnTo>
                <a:lnTo>
                  <a:pt x="3228" y="485"/>
                </a:lnTo>
                <a:lnTo>
                  <a:pt x="3231" y="485"/>
                </a:lnTo>
                <a:lnTo>
                  <a:pt x="3232" y="485"/>
                </a:lnTo>
                <a:lnTo>
                  <a:pt x="3233" y="484"/>
                </a:lnTo>
                <a:lnTo>
                  <a:pt x="3235" y="483"/>
                </a:lnTo>
                <a:lnTo>
                  <a:pt x="3237" y="482"/>
                </a:lnTo>
                <a:lnTo>
                  <a:pt x="3236" y="486"/>
                </a:lnTo>
                <a:lnTo>
                  <a:pt x="3237" y="487"/>
                </a:lnTo>
                <a:lnTo>
                  <a:pt x="3237" y="488"/>
                </a:lnTo>
                <a:lnTo>
                  <a:pt x="3238" y="490"/>
                </a:lnTo>
                <a:lnTo>
                  <a:pt x="3239" y="493"/>
                </a:lnTo>
                <a:lnTo>
                  <a:pt x="3237" y="494"/>
                </a:lnTo>
                <a:lnTo>
                  <a:pt x="3237" y="495"/>
                </a:lnTo>
                <a:lnTo>
                  <a:pt x="3237" y="496"/>
                </a:lnTo>
                <a:lnTo>
                  <a:pt x="3237" y="499"/>
                </a:lnTo>
                <a:lnTo>
                  <a:pt x="3232" y="498"/>
                </a:lnTo>
                <a:lnTo>
                  <a:pt x="3228" y="499"/>
                </a:lnTo>
                <a:lnTo>
                  <a:pt x="3227" y="501"/>
                </a:lnTo>
                <a:lnTo>
                  <a:pt x="3225" y="504"/>
                </a:lnTo>
                <a:lnTo>
                  <a:pt x="3223" y="510"/>
                </a:lnTo>
                <a:lnTo>
                  <a:pt x="3218" y="511"/>
                </a:lnTo>
                <a:lnTo>
                  <a:pt x="3213" y="510"/>
                </a:lnTo>
                <a:lnTo>
                  <a:pt x="3208" y="510"/>
                </a:lnTo>
                <a:lnTo>
                  <a:pt x="3205" y="510"/>
                </a:lnTo>
                <a:lnTo>
                  <a:pt x="3203" y="510"/>
                </a:lnTo>
                <a:lnTo>
                  <a:pt x="3203" y="515"/>
                </a:lnTo>
                <a:lnTo>
                  <a:pt x="3205" y="514"/>
                </a:lnTo>
                <a:lnTo>
                  <a:pt x="3206" y="514"/>
                </a:lnTo>
                <a:lnTo>
                  <a:pt x="3207" y="515"/>
                </a:lnTo>
                <a:lnTo>
                  <a:pt x="3208" y="516"/>
                </a:lnTo>
                <a:lnTo>
                  <a:pt x="3209" y="521"/>
                </a:lnTo>
                <a:lnTo>
                  <a:pt x="3202" y="524"/>
                </a:lnTo>
                <a:lnTo>
                  <a:pt x="3200" y="525"/>
                </a:lnTo>
                <a:lnTo>
                  <a:pt x="3199" y="525"/>
                </a:lnTo>
                <a:lnTo>
                  <a:pt x="3200" y="524"/>
                </a:lnTo>
                <a:lnTo>
                  <a:pt x="3189" y="524"/>
                </a:lnTo>
                <a:lnTo>
                  <a:pt x="3189" y="532"/>
                </a:lnTo>
                <a:lnTo>
                  <a:pt x="3196" y="531"/>
                </a:lnTo>
                <a:lnTo>
                  <a:pt x="3198" y="532"/>
                </a:lnTo>
                <a:lnTo>
                  <a:pt x="3197" y="533"/>
                </a:lnTo>
                <a:lnTo>
                  <a:pt x="3192" y="535"/>
                </a:lnTo>
                <a:lnTo>
                  <a:pt x="3182" y="538"/>
                </a:lnTo>
                <a:lnTo>
                  <a:pt x="3176" y="540"/>
                </a:lnTo>
                <a:lnTo>
                  <a:pt x="3166" y="541"/>
                </a:lnTo>
                <a:lnTo>
                  <a:pt x="3166" y="546"/>
                </a:lnTo>
                <a:lnTo>
                  <a:pt x="3178" y="549"/>
                </a:lnTo>
                <a:lnTo>
                  <a:pt x="3185" y="551"/>
                </a:lnTo>
                <a:lnTo>
                  <a:pt x="3180" y="551"/>
                </a:lnTo>
                <a:lnTo>
                  <a:pt x="3171" y="550"/>
                </a:lnTo>
                <a:lnTo>
                  <a:pt x="3166" y="549"/>
                </a:lnTo>
                <a:lnTo>
                  <a:pt x="3164" y="549"/>
                </a:lnTo>
                <a:lnTo>
                  <a:pt x="3158" y="555"/>
                </a:lnTo>
                <a:lnTo>
                  <a:pt x="3160" y="563"/>
                </a:lnTo>
                <a:lnTo>
                  <a:pt x="3161" y="565"/>
                </a:lnTo>
                <a:lnTo>
                  <a:pt x="3163" y="567"/>
                </a:lnTo>
                <a:lnTo>
                  <a:pt x="3164" y="567"/>
                </a:lnTo>
                <a:lnTo>
                  <a:pt x="3167" y="567"/>
                </a:lnTo>
                <a:lnTo>
                  <a:pt x="3175" y="566"/>
                </a:lnTo>
                <a:lnTo>
                  <a:pt x="3168" y="569"/>
                </a:lnTo>
                <a:lnTo>
                  <a:pt x="3161" y="572"/>
                </a:lnTo>
                <a:lnTo>
                  <a:pt x="3162" y="575"/>
                </a:lnTo>
                <a:lnTo>
                  <a:pt x="3163" y="576"/>
                </a:lnTo>
                <a:lnTo>
                  <a:pt x="3164" y="577"/>
                </a:lnTo>
                <a:lnTo>
                  <a:pt x="3169" y="577"/>
                </a:lnTo>
                <a:lnTo>
                  <a:pt x="3169" y="583"/>
                </a:lnTo>
                <a:lnTo>
                  <a:pt x="3161" y="586"/>
                </a:lnTo>
                <a:lnTo>
                  <a:pt x="3169" y="589"/>
                </a:lnTo>
                <a:lnTo>
                  <a:pt x="3172" y="589"/>
                </a:lnTo>
                <a:lnTo>
                  <a:pt x="3173" y="589"/>
                </a:lnTo>
                <a:lnTo>
                  <a:pt x="3173" y="591"/>
                </a:lnTo>
                <a:lnTo>
                  <a:pt x="3172" y="593"/>
                </a:lnTo>
                <a:lnTo>
                  <a:pt x="3169" y="597"/>
                </a:lnTo>
                <a:lnTo>
                  <a:pt x="3175" y="599"/>
                </a:lnTo>
                <a:lnTo>
                  <a:pt x="3176" y="599"/>
                </a:lnTo>
                <a:lnTo>
                  <a:pt x="3175" y="599"/>
                </a:lnTo>
                <a:lnTo>
                  <a:pt x="3174" y="599"/>
                </a:lnTo>
                <a:lnTo>
                  <a:pt x="3175" y="600"/>
                </a:lnTo>
                <a:lnTo>
                  <a:pt x="3178" y="603"/>
                </a:lnTo>
                <a:lnTo>
                  <a:pt x="3180" y="600"/>
                </a:lnTo>
                <a:lnTo>
                  <a:pt x="3182" y="598"/>
                </a:lnTo>
                <a:lnTo>
                  <a:pt x="3186" y="591"/>
                </a:lnTo>
                <a:lnTo>
                  <a:pt x="3192" y="593"/>
                </a:lnTo>
                <a:lnTo>
                  <a:pt x="3194" y="593"/>
                </a:lnTo>
                <a:lnTo>
                  <a:pt x="3195" y="593"/>
                </a:lnTo>
                <a:lnTo>
                  <a:pt x="3195" y="594"/>
                </a:lnTo>
                <a:lnTo>
                  <a:pt x="3194" y="594"/>
                </a:lnTo>
                <a:lnTo>
                  <a:pt x="3189" y="594"/>
                </a:lnTo>
                <a:lnTo>
                  <a:pt x="3183" y="605"/>
                </a:lnTo>
                <a:lnTo>
                  <a:pt x="3178" y="617"/>
                </a:lnTo>
                <a:lnTo>
                  <a:pt x="3172" y="616"/>
                </a:lnTo>
                <a:lnTo>
                  <a:pt x="3169" y="616"/>
                </a:lnTo>
                <a:lnTo>
                  <a:pt x="3166" y="617"/>
                </a:lnTo>
                <a:lnTo>
                  <a:pt x="3167" y="618"/>
                </a:lnTo>
                <a:lnTo>
                  <a:pt x="3167" y="621"/>
                </a:lnTo>
                <a:lnTo>
                  <a:pt x="3166" y="623"/>
                </a:lnTo>
                <a:lnTo>
                  <a:pt x="3166" y="625"/>
                </a:lnTo>
                <a:lnTo>
                  <a:pt x="3170" y="628"/>
                </a:lnTo>
                <a:lnTo>
                  <a:pt x="3173" y="629"/>
                </a:lnTo>
                <a:lnTo>
                  <a:pt x="3175" y="631"/>
                </a:lnTo>
                <a:lnTo>
                  <a:pt x="3176" y="626"/>
                </a:lnTo>
                <a:lnTo>
                  <a:pt x="3177" y="625"/>
                </a:lnTo>
                <a:lnTo>
                  <a:pt x="3177" y="624"/>
                </a:lnTo>
                <a:lnTo>
                  <a:pt x="3177" y="625"/>
                </a:lnTo>
                <a:lnTo>
                  <a:pt x="3178" y="625"/>
                </a:lnTo>
                <a:lnTo>
                  <a:pt x="3183" y="625"/>
                </a:lnTo>
                <a:lnTo>
                  <a:pt x="3184" y="628"/>
                </a:lnTo>
                <a:lnTo>
                  <a:pt x="3185" y="631"/>
                </a:lnTo>
                <a:lnTo>
                  <a:pt x="3185" y="634"/>
                </a:lnTo>
                <a:lnTo>
                  <a:pt x="3184" y="634"/>
                </a:lnTo>
                <a:lnTo>
                  <a:pt x="3183" y="634"/>
                </a:lnTo>
                <a:lnTo>
                  <a:pt x="3181" y="637"/>
                </a:lnTo>
                <a:lnTo>
                  <a:pt x="3178" y="640"/>
                </a:lnTo>
                <a:lnTo>
                  <a:pt x="3175" y="642"/>
                </a:lnTo>
                <a:lnTo>
                  <a:pt x="3174" y="645"/>
                </a:lnTo>
                <a:lnTo>
                  <a:pt x="3175" y="648"/>
                </a:lnTo>
                <a:lnTo>
                  <a:pt x="3175" y="651"/>
                </a:lnTo>
                <a:lnTo>
                  <a:pt x="3175" y="652"/>
                </a:lnTo>
                <a:lnTo>
                  <a:pt x="3175" y="653"/>
                </a:lnTo>
                <a:lnTo>
                  <a:pt x="3180" y="653"/>
                </a:lnTo>
                <a:lnTo>
                  <a:pt x="3183" y="662"/>
                </a:lnTo>
                <a:lnTo>
                  <a:pt x="3185" y="662"/>
                </a:lnTo>
                <a:lnTo>
                  <a:pt x="3187" y="662"/>
                </a:lnTo>
                <a:lnTo>
                  <a:pt x="3190" y="662"/>
                </a:lnTo>
                <a:lnTo>
                  <a:pt x="3195" y="659"/>
                </a:lnTo>
                <a:lnTo>
                  <a:pt x="3196" y="659"/>
                </a:lnTo>
                <a:lnTo>
                  <a:pt x="3197" y="659"/>
                </a:lnTo>
                <a:lnTo>
                  <a:pt x="3197" y="667"/>
                </a:lnTo>
                <a:lnTo>
                  <a:pt x="3202" y="667"/>
                </a:lnTo>
                <a:lnTo>
                  <a:pt x="3207" y="666"/>
                </a:lnTo>
                <a:lnTo>
                  <a:pt x="3213" y="665"/>
                </a:lnTo>
                <a:lnTo>
                  <a:pt x="3218" y="663"/>
                </a:lnTo>
                <a:lnTo>
                  <a:pt x="3228" y="658"/>
                </a:lnTo>
                <a:lnTo>
                  <a:pt x="3237" y="653"/>
                </a:lnTo>
                <a:lnTo>
                  <a:pt x="3238" y="652"/>
                </a:lnTo>
                <a:lnTo>
                  <a:pt x="3239" y="649"/>
                </a:lnTo>
                <a:lnTo>
                  <a:pt x="3241" y="646"/>
                </a:lnTo>
                <a:lnTo>
                  <a:pt x="3242" y="645"/>
                </a:lnTo>
                <a:lnTo>
                  <a:pt x="3245" y="644"/>
                </a:lnTo>
                <a:lnTo>
                  <a:pt x="3248" y="645"/>
                </a:lnTo>
                <a:lnTo>
                  <a:pt x="3251" y="645"/>
                </a:lnTo>
                <a:lnTo>
                  <a:pt x="3254" y="645"/>
                </a:lnTo>
                <a:lnTo>
                  <a:pt x="3256" y="644"/>
                </a:lnTo>
                <a:lnTo>
                  <a:pt x="3259" y="642"/>
                </a:lnTo>
                <a:lnTo>
                  <a:pt x="3265" y="639"/>
                </a:lnTo>
                <a:lnTo>
                  <a:pt x="3271" y="634"/>
                </a:lnTo>
                <a:lnTo>
                  <a:pt x="3276" y="631"/>
                </a:lnTo>
                <a:lnTo>
                  <a:pt x="3277" y="633"/>
                </a:lnTo>
                <a:lnTo>
                  <a:pt x="3277" y="634"/>
                </a:lnTo>
                <a:lnTo>
                  <a:pt x="3278" y="636"/>
                </a:lnTo>
                <a:lnTo>
                  <a:pt x="3279" y="638"/>
                </a:lnTo>
                <a:lnTo>
                  <a:pt x="3279" y="647"/>
                </a:lnTo>
                <a:lnTo>
                  <a:pt x="3279" y="656"/>
                </a:lnTo>
                <a:lnTo>
                  <a:pt x="3284" y="656"/>
                </a:lnTo>
                <a:lnTo>
                  <a:pt x="3285" y="659"/>
                </a:lnTo>
                <a:lnTo>
                  <a:pt x="3285" y="661"/>
                </a:lnTo>
                <a:lnTo>
                  <a:pt x="3283" y="665"/>
                </a:lnTo>
                <a:lnTo>
                  <a:pt x="3282" y="669"/>
                </a:lnTo>
                <a:lnTo>
                  <a:pt x="3282" y="671"/>
                </a:lnTo>
                <a:lnTo>
                  <a:pt x="3282" y="673"/>
                </a:lnTo>
                <a:lnTo>
                  <a:pt x="3286" y="679"/>
                </a:lnTo>
                <a:lnTo>
                  <a:pt x="3294" y="688"/>
                </a:lnTo>
                <a:lnTo>
                  <a:pt x="3310" y="704"/>
                </a:lnTo>
                <a:lnTo>
                  <a:pt x="3307" y="709"/>
                </a:lnTo>
                <a:lnTo>
                  <a:pt x="3304" y="715"/>
                </a:lnTo>
                <a:lnTo>
                  <a:pt x="3299" y="715"/>
                </a:lnTo>
                <a:lnTo>
                  <a:pt x="3298" y="716"/>
                </a:lnTo>
                <a:lnTo>
                  <a:pt x="3298" y="718"/>
                </a:lnTo>
                <a:lnTo>
                  <a:pt x="3299" y="721"/>
                </a:lnTo>
                <a:lnTo>
                  <a:pt x="3299" y="724"/>
                </a:lnTo>
                <a:lnTo>
                  <a:pt x="3299" y="726"/>
                </a:lnTo>
                <a:lnTo>
                  <a:pt x="3302" y="728"/>
                </a:lnTo>
                <a:lnTo>
                  <a:pt x="3304" y="729"/>
                </a:lnTo>
                <a:lnTo>
                  <a:pt x="3305" y="733"/>
                </a:lnTo>
                <a:lnTo>
                  <a:pt x="3304" y="734"/>
                </a:lnTo>
                <a:lnTo>
                  <a:pt x="3303" y="736"/>
                </a:lnTo>
                <a:lnTo>
                  <a:pt x="3301" y="738"/>
                </a:lnTo>
                <a:lnTo>
                  <a:pt x="3315" y="738"/>
                </a:lnTo>
                <a:lnTo>
                  <a:pt x="3323" y="738"/>
                </a:lnTo>
                <a:lnTo>
                  <a:pt x="3329" y="738"/>
                </a:lnTo>
                <a:lnTo>
                  <a:pt x="3330" y="734"/>
                </a:lnTo>
                <a:lnTo>
                  <a:pt x="3329" y="731"/>
                </a:lnTo>
                <a:lnTo>
                  <a:pt x="3329" y="727"/>
                </a:lnTo>
                <a:lnTo>
                  <a:pt x="3329" y="725"/>
                </a:lnTo>
                <a:lnTo>
                  <a:pt x="3329" y="724"/>
                </a:lnTo>
                <a:lnTo>
                  <a:pt x="3331" y="721"/>
                </a:lnTo>
                <a:lnTo>
                  <a:pt x="3333" y="719"/>
                </a:lnTo>
                <a:lnTo>
                  <a:pt x="3338" y="712"/>
                </a:lnTo>
                <a:lnTo>
                  <a:pt x="3346" y="714"/>
                </a:lnTo>
                <a:lnTo>
                  <a:pt x="3355" y="715"/>
                </a:lnTo>
                <a:lnTo>
                  <a:pt x="3360" y="716"/>
                </a:lnTo>
                <a:lnTo>
                  <a:pt x="3364" y="715"/>
                </a:lnTo>
                <a:lnTo>
                  <a:pt x="3368" y="714"/>
                </a:lnTo>
                <a:lnTo>
                  <a:pt x="3370" y="713"/>
                </a:lnTo>
                <a:lnTo>
                  <a:pt x="3372" y="712"/>
                </a:lnTo>
                <a:lnTo>
                  <a:pt x="3373" y="710"/>
                </a:lnTo>
                <a:lnTo>
                  <a:pt x="3375" y="706"/>
                </a:lnTo>
                <a:lnTo>
                  <a:pt x="3376" y="701"/>
                </a:lnTo>
                <a:lnTo>
                  <a:pt x="3377" y="698"/>
                </a:lnTo>
                <a:lnTo>
                  <a:pt x="3376" y="699"/>
                </a:lnTo>
                <a:lnTo>
                  <a:pt x="3375" y="699"/>
                </a:lnTo>
                <a:lnTo>
                  <a:pt x="3374" y="701"/>
                </a:lnTo>
                <a:lnTo>
                  <a:pt x="3372" y="703"/>
                </a:lnTo>
                <a:lnTo>
                  <a:pt x="3372" y="704"/>
                </a:lnTo>
                <a:lnTo>
                  <a:pt x="3370" y="703"/>
                </a:lnTo>
                <a:lnTo>
                  <a:pt x="3370" y="701"/>
                </a:lnTo>
                <a:lnTo>
                  <a:pt x="3370" y="695"/>
                </a:lnTo>
                <a:lnTo>
                  <a:pt x="3371" y="687"/>
                </a:lnTo>
                <a:lnTo>
                  <a:pt x="3372" y="681"/>
                </a:lnTo>
                <a:lnTo>
                  <a:pt x="3374" y="675"/>
                </a:lnTo>
                <a:lnTo>
                  <a:pt x="3377" y="665"/>
                </a:lnTo>
                <a:lnTo>
                  <a:pt x="3378" y="659"/>
                </a:lnTo>
                <a:lnTo>
                  <a:pt x="3378" y="654"/>
                </a:lnTo>
                <a:lnTo>
                  <a:pt x="3377" y="650"/>
                </a:lnTo>
                <a:lnTo>
                  <a:pt x="3376" y="649"/>
                </a:lnTo>
                <a:lnTo>
                  <a:pt x="3374" y="648"/>
                </a:lnTo>
                <a:lnTo>
                  <a:pt x="3378" y="645"/>
                </a:lnTo>
                <a:lnTo>
                  <a:pt x="3379" y="644"/>
                </a:lnTo>
                <a:lnTo>
                  <a:pt x="3379" y="643"/>
                </a:lnTo>
                <a:lnTo>
                  <a:pt x="3378" y="642"/>
                </a:lnTo>
                <a:lnTo>
                  <a:pt x="3377" y="641"/>
                </a:lnTo>
                <a:lnTo>
                  <a:pt x="3378" y="640"/>
                </a:lnTo>
                <a:lnTo>
                  <a:pt x="3380" y="639"/>
                </a:lnTo>
                <a:lnTo>
                  <a:pt x="3383" y="638"/>
                </a:lnTo>
                <a:lnTo>
                  <a:pt x="3386" y="638"/>
                </a:lnTo>
                <a:lnTo>
                  <a:pt x="3391" y="638"/>
                </a:lnTo>
                <a:lnTo>
                  <a:pt x="3395" y="640"/>
                </a:lnTo>
                <a:lnTo>
                  <a:pt x="3398" y="640"/>
                </a:lnTo>
                <a:lnTo>
                  <a:pt x="3400" y="639"/>
                </a:lnTo>
                <a:lnTo>
                  <a:pt x="3408" y="628"/>
                </a:lnTo>
                <a:lnTo>
                  <a:pt x="3414" y="628"/>
                </a:lnTo>
                <a:lnTo>
                  <a:pt x="3414" y="626"/>
                </a:lnTo>
                <a:lnTo>
                  <a:pt x="3414" y="625"/>
                </a:lnTo>
                <a:lnTo>
                  <a:pt x="3413" y="624"/>
                </a:lnTo>
                <a:lnTo>
                  <a:pt x="3412" y="622"/>
                </a:lnTo>
                <a:lnTo>
                  <a:pt x="3410" y="621"/>
                </a:lnTo>
                <a:lnTo>
                  <a:pt x="3408" y="620"/>
                </a:lnTo>
                <a:lnTo>
                  <a:pt x="3414" y="617"/>
                </a:lnTo>
                <a:lnTo>
                  <a:pt x="3418" y="615"/>
                </a:lnTo>
                <a:lnTo>
                  <a:pt x="3420" y="614"/>
                </a:lnTo>
                <a:lnTo>
                  <a:pt x="3420" y="608"/>
                </a:lnTo>
                <a:lnTo>
                  <a:pt x="3412" y="598"/>
                </a:lnTo>
                <a:lnTo>
                  <a:pt x="3409" y="594"/>
                </a:lnTo>
                <a:lnTo>
                  <a:pt x="3405" y="590"/>
                </a:lnTo>
                <a:lnTo>
                  <a:pt x="3402" y="588"/>
                </a:lnTo>
                <a:lnTo>
                  <a:pt x="3397" y="586"/>
                </a:lnTo>
                <a:lnTo>
                  <a:pt x="3392" y="584"/>
                </a:lnTo>
                <a:lnTo>
                  <a:pt x="3386" y="583"/>
                </a:lnTo>
                <a:lnTo>
                  <a:pt x="3386" y="573"/>
                </a:lnTo>
                <a:lnTo>
                  <a:pt x="3387" y="566"/>
                </a:lnTo>
                <a:lnTo>
                  <a:pt x="3387" y="559"/>
                </a:lnTo>
                <a:lnTo>
                  <a:pt x="3388" y="552"/>
                </a:lnTo>
                <a:lnTo>
                  <a:pt x="3387" y="546"/>
                </a:lnTo>
                <a:lnTo>
                  <a:pt x="3386" y="543"/>
                </a:lnTo>
                <a:lnTo>
                  <a:pt x="3386" y="541"/>
                </a:lnTo>
                <a:lnTo>
                  <a:pt x="3384" y="539"/>
                </a:lnTo>
                <a:lnTo>
                  <a:pt x="3383" y="538"/>
                </a:lnTo>
                <a:lnTo>
                  <a:pt x="3389" y="538"/>
                </a:lnTo>
                <a:lnTo>
                  <a:pt x="3389" y="533"/>
                </a:lnTo>
                <a:lnTo>
                  <a:pt x="3390" y="531"/>
                </a:lnTo>
                <a:lnTo>
                  <a:pt x="3391" y="530"/>
                </a:lnTo>
                <a:lnTo>
                  <a:pt x="3389" y="526"/>
                </a:lnTo>
                <a:lnTo>
                  <a:pt x="3388" y="524"/>
                </a:lnTo>
                <a:lnTo>
                  <a:pt x="3388" y="522"/>
                </a:lnTo>
                <a:lnTo>
                  <a:pt x="3389" y="521"/>
                </a:lnTo>
                <a:lnTo>
                  <a:pt x="3390" y="520"/>
                </a:lnTo>
                <a:lnTo>
                  <a:pt x="3394" y="520"/>
                </a:lnTo>
                <a:lnTo>
                  <a:pt x="3397" y="519"/>
                </a:lnTo>
                <a:lnTo>
                  <a:pt x="3400" y="518"/>
                </a:lnTo>
                <a:lnTo>
                  <a:pt x="3401" y="517"/>
                </a:lnTo>
                <a:lnTo>
                  <a:pt x="3401" y="515"/>
                </a:lnTo>
                <a:lnTo>
                  <a:pt x="3401" y="513"/>
                </a:lnTo>
                <a:lnTo>
                  <a:pt x="3401" y="512"/>
                </a:lnTo>
                <a:lnTo>
                  <a:pt x="3400" y="508"/>
                </a:lnTo>
                <a:lnTo>
                  <a:pt x="3400" y="507"/>
                </a:lnTo>
                <a:lnTo>
                  <a:pt x="3402" y="506"/>
                </a:lnTo>
                <a:lnTo>
                  <a:pt x="3406" y="506"/>
                </a:lnTo>
                <a:lnTo>
                  <a:pt x="3409" y="505"/>
                </a:lnTo>
                <a:lnTo>
                  <a:pt x="3410" y="505"/>
                </a:lnTo>
                <a:lnTo>
                  <a:pt x="3411" y="504"/>
                </a:lnTo>
                <a:lnTo>
                  <a:pt x="3412" y="502"/>
                </a:lnTo>
                <a:lnTo>
                  <a:pt x="3413" y="499"/>
                </a:lnTo>
                <a:lnTo>
                  <a:pt x="3413" y="494"/>
                </a:lnTo>
                <a:lnTo>
                  <a:pt x="3414" y="488"/>
                </a:lnTo>
                <a:lnTo>
                  <a:pt x="3415" y="486"/>
                </a:lnTo>
                <a:lnTo>
                  <a:pt x="3417" y="485"/>
                </a:lnTo>
                <a:lnTo>
                  <a:pt x="3419" y="483"/>
                </a:lnTo>
                <a:lnTo>
                  <a:pt x="3423" y="482"/>
                </a:lnTo>
                <a:lnTo>
                  <a:pt x="3432" y="480"/>
                </a:lnTo>
                <a:lnTo>
                  <a:pt x="3441" y="479"/>
                </a:lnTo>
                <a:lnTo>
                  <a:pt x="3445" y="477"/>
                </a:lnTo>
                <a:lnTo>
                  <a:pt x="3448" y="476"/>
                </a:lnTo>
                <a:lnTo>
                  <a:pt x="3449" y="475"/>
                </a:lnTo>
                <a:lnTo>
                  <a:pt x="3450" y="473"/>
                </a:lnTo>
                <a:lnTo>
                  <a:pt x="3452" y="469"/>
                </a:lnTo>
                <a:lnTo>
                  <a:pt x="3454" y="464"/>
                </a:lnTo>
                <a:lnTo>
                  <a:pt x="3455" y="463"/>
                </a:lnTo>
                <a:lnTo>
                  <a:pt x="3456" y="462"/>
                </a:lnTo>
                <a:lnTo>
                  <a:pt x="3462" y="462"/>
                </a:lnTo>
                <a:lnTo>
                  <a:pt x="3463" y="458"/>
                </a:lnTo>
                <a:lnTo>
                  <a:pt x="3463" y="455"/>
                </a:lnTo>
                <a:lnTo>
                  <a:pt x="3462" y="453"/>
                </a:lnTo>
                <a:lnTo>
                  <a:pt x="3461" y="450"/>
                </a:lnTo>
                <a:lnTo>
                  <a:pt x="3460" y="448"/>
                </a:lnTo>
                <a:lnTo>
                  <a:pt x="3459" y="445"/>
                </a:lnTo>
                <a:lnTo>
                  <a:pt x="3458" y="441"/>
                </a:lnTo>
                <a:lnTo>
                  <a:pt x="3459" y="437"/>
                </a:lnTo>
                <a:lnTo>
                  <a:pt x="3460" y="434"/>
                </a:lnTo>
                <a:lnTo>
                  <a:pt x="3463" y="431"/>
                </a:lnTo>
                <a:lnTo>
                  <a:pt x="3466" y="428"/>
                </a:lnTo>
                <a:lnTo>
                  <a:pt x="3467" y="426"/>
                </a:lnTo>
                <a:lnTo>
                  <a:pt x="3467" y="425"/>
                </a:lnTo>
                <a:lnTo>
                  <a:pt x="3467" y="420"/>
                </a:lnTo>
                <a:lnTo>
                  <a:pt x="3470" y="419"/>
                </a:lnTo>
                <a:lnTo>
                  <a:pt x="3473" y="418"/>
                </a:lnTo>
                <a:lnTo>
                  <a:pt x="3476" y="418"/>
                </a:lnTo>
                <a:lnTo>
                  <a:pt x="3479" y="417"/>
                </a:lnTo>
                <a:lnTo>
                  <a:pt x="3481" y="414"/>
                </a:lnTo>
                <a:lnTo>
                  <a:pt x="3481" y="411"/>
                </a:lnTo>
                <a:lnTo>
                  <a:pt x="3481" y="409"/>
                </a:lnTo>
                <a:lnTo>
                  <a:pt x="3481" y="407"/>
                </a:lnTo>
                <a:lnTo>
                  <a:pt x="3481" y="405"/>
                </a:lnTo>
                <a:lnTo>
                  <a:pt x="3482" y="404"/>
                </a:lnTo>
                <a:lnTo>
                  <a:pt x="3485" y="403"/>
                </a:lnTo>
                <a:lnTo>
                  <a:pt x="3490" y="403"/>
                </a:lnTo>
                <a:lnTo>
                  <a:pt x="3493" y="409"/>
                </a:lnTo>
                <a:lnTo>
                  <a:pt x="3505" y="409"/>
                </a:lnTo>
                <a:lnTo>
                  <a:pt x="3516" y="410"/>
                </a:lnTo>
                <a:lnTo>
                  <a:pt x="3529" y="411"/>
                </a:lnTo>
                <a:lnTo>
                  <a:pt x="3531" y="424"/>
                </a:lnTo>
                <a:lnTo>
                  <a:pt x="3532" y="430"/>
                </a:lnTo>
                <a:lnTo>
                  <a:pt x="3532" y="434"/>
                </a:lnTo>
                <a:lnTo>
                  <a:pt x="3531" y="436"/>
                </a:lnTo>
                <a:lnTo>
                  <a:pt x="3529" y="438"/>
                </a:lnTo>
                <a:lnTo>
                  <a:pt x="3524" y="442"/>
                </a:lnTo>
                <a:lnTo>
                  <a:pt x="3519" y="447"/>
                </a:lnTo>
                <a:lnTo>
                  <a:pt x="3515" y="451"/>
                </a:lnTo>
                <a:lnTo>
                  <a:pt x="3513" y="456"/>
                </a:lnTo>
                <a:lnTo>
                  <a:pt x="3511" y="461"/>
                </a:lnTo>
                <a:lnTo>
                  <a:pt x="3509" y="466"/>
                </a:lnTo>
                <a:lnTo>
                  <a:pt x="3508" y="468"/>
                </a:lnTo>
                <a:lnTo>
                  <a:pt x="3507" y="470"/>
                </a:lnTo>
                <a:lnTo>
                  <a:pt x="3502" y="474"/>
                </a:lnTo>
                <a:lnTo>
                  <a:pt x="3495" y="478"/>
                </a:lnTo>
                <a:lnTo>
                  <a:pt x="3484" y="485"/>
                </a:lnTo>
                <a:lnTo>
                  <a:pt x="3484" y="486"/>
                </a:lnTo>
                <a:lnTo>
                  <a:pt x="3484" y="487"/>
                </a:lnTo>
                <a:lnTo>
                  <a:pt x="3484" y="490"/>
                </a:lnTo>
                <a:lnTo>
                  <a:pt x="3485" y="493"/>
                </a:lnTo>
                <a:lnTo>
                  <a:pt x="3484" y="496"/>
                </a:lnTo>
                <a:lnTo>
                  <a:pt x="3483" y="495"/>
                </a:lnTo>
                <a:lnTo>
                  <a:pt x="3481" y="493"/>
                </a:lnTo>
                <a:lnTo>
                  <a:pt x="3479" y="490"/>
                </a:lnTo>
                <a:lnTo>
                  <a:pt x="3476" y="494"/>
                </a:lnTo>
                <a:lnTo>
                  <a:pt x="3474" y="499"/>
                </a:lnTo>
                <a:lnTo>
                  <a:pt x="3470" y="507"/>
                </a:lnTo>
                <a:lnTo>
                  <a:pt x="3467" y="507"/>
                </a:lnTo>
                <a:lnTo>
                  <a:pt x="3467" y="511"/>
                </a:lnTo>
                <a:lnTo>
                  <a:pt x="3468" y="514"/>
                </a:lnTo>
                <a:lnTo>
                  <a:pt x="3471" y="521"/>
                </a:lnTo>
                <a:lnTo>
                  <a:pt x="3474" y="528"/>
                </a:lnTo>
                <a:lnTo>
                  <a:pt x="3475" y="530"/>
                </a:lnTo>
                <a:lnTo>
                  <a:pt x="3476" y="532"/>
                </a:lnTo>
                <a:lnTo>
                  <a:pt x="3476" y="537"/>
                </a:lnTo>
                <a:lnTo>
                  <a:pt x="3475" y="542"/>
                </a:lnTo>
                <a:lnTo>
                  <a:pt x="3474" y="546"/>
                </a:lnTo>
                <a:lnTo>
                  <a:pt x="3473" y="549"/>
                </a:lnTo>
                <a:lnTo>
                  <a:pt x="3473" y="552"/>
                </a:lnTo>
                <a:lnTo>
                  <a:pt x="3473" y="553"/>
                </a:lnTo>
                <a:lnTo>
                  <a:pt x="3473" y="558"/>
                </a:lnTo>
                <a:lnTo>
                  <a:pt x="3473" y="566"/>
                </a:lnTo>
                <a:lnTo>
                  <a:pt x="3476" y="564"/>
                </a:lnTo>
                <a:lnTo>
                  <a:pt x="3477" y="563"/>
                </a:lnTo>
                <a:lnTo>
                  <a:pt x="3479" y="563"/>
                </a:lnTo>
                <a:lnTo>
                  <a:pt x="3479" y="564"/>
                </a:lnTo>
                <a:lnTo>
                  <a:pt x="3479" y="565"/>
                </a:lnTo>
                <a:lnTo>
                  <a:pt x="3479" y="569"/>
                </a:lnTo>
                <a:lnTo>
                  <a:pt x="3478" y="572"/>
                </a:lnTo>
                <a:lnTo>
                  <a:pt x="3479" y="575"/>
                </a:lnTo>
                <a:lnTo>
                  <a:pt x="3484" y="572"/>
                </a:lnTo>
                <a:lnTo>
                  <a:pt x="3488" y="571"/>
                </a:lnTo>
                <a:lnTo>
                  <a:pt x="3489" y="571"/>
                </a:lnTo>
                <a:lnTo>
                  <a:pt x="3487" y="572"/>
                </a:lnTo>
                <a:lnTo>
                  <a:pt x="3493" y="575"/>
                </a:lnTo>
                <a:lnTo>
                  <a:pt x="3496" y="577"/>
                </a:lnTo>
                <a:lnTo>
                  <a:pt x="3499" y="579"/>
                </a:lnTo>
                <a:lnTo>
                  <a:pt x="3500" y="580"/>
                </a:lnTo>
                <a:lnTo>
                  <a:pt x="3500" y="581"/>
                </a:lnTo>
                <a:lnTo>
                  <a:pt x="3499" y="582"/>
                </a:lnTo>
                <a:lnTo>
                  <a:pt x="3498" y="582"/>
                </a:lnTo>
                <a:lnTo>
                  <a:pt x="3496" y="583"/>
                </a:lnTo>
                <a:lnTo>
                  <a:pt x="3490" y="583"/>
                </a:lnTo>
                <a:lnTo>
                  <a:pt x="3487" y="594"/>
                </a:lnTo>
                <a:lnTo>
                  <a:pt x="3489" y="594"/>
                </a:lnTo>
                <a:lnTo>
                  <a:pt x="3491" y="594"/>
                </a:lnTo>
                <a:lnTo>
                  <a:pt x="3495" y="594"/>
                </a:lnTo>
                <a:lnTo>
                  <a:pt x="3494" y="594"/>
                </a:lnTo>
                <a:lnTo>
                  <a:pt x="3494" y="593"/>
                </a:lnTo>
                <a:lnTo>
                  <a:pt x="3494" y="592"/>
                </a:lnTo>
                <a:lnTo>
                  <a:pt x="3495" y="590"/>
                </a:lnTo>
                <a:lnTo>
                  <a:pt x="3498" y="589"/>
                </a:lnTo>
                <a:lnTo>
                  <a:pt x="3500" y="588"/>
                </a:lnTo>
                <a:lnTo>
                  <a:pt x="3502" y="587"/>
                </a:lnTo>
                <a:lnTo>
                  <a:pt x="3501" y="589"/>
                </a:lnTo>
                <a:lnTo>
                  <a:pt x="3504" y="589"/>
                </a:lnTo>
                <a:lnTo>
                  <a:pt x="3504" y="593"/>
                </a:lnTo>
                <a:lnTo>
                  <a:pt x="3504" y="597"/>
                </a:lnTo>
                <a:lnTo>
                  <a:pt x="3505" y="598"/>
                </a:lnTo>
                <a:lnTo>
                  <a:pt x="3506" y="598"/>
                </a:lnTo>
                <a:lnTo>
                  <a:pt x="3508" y="599"/>
                </a:lnTo>
                <a:lnTo>
                  <a:pt x="3511" y="599"/>
                </a:lnTo>
                <a:lnTo>
                  <a:pt x="3512" y="600"/>
                </a:lnTo>
                <a:lnTo>
                  <a:pt x="3517" y="599"/>
                </a:lnTo>
                <a:lnTo>
                  <a:pt x="3521" y="598"/>
                </a:lnTo>
                <a:lnTo>
                  <a:pt x="3524" y="597"/>
                </a:lnTo>
                <a:lnTo>
                  <a:pt x="3529" y="590"/>
                </a:lnTo>
                <a:lnTo>
                  <a:pt x="3534" y="586"/>
                </a:lnTo>
                <a:lnTo>
                  <a:pt x="3536" y="584"/>
                </a:lnTo>
                <a:lnTo>
                  <a:pt x="3538" y="583"/>
                </a:lnTo>
                <a:lnTo>
                  <a:pt x="3540" y="583"/>
                </a:lnTo>
                <a:lnTo>
                  <a:pt x="3542" y="583"/>
                </a:lnTo>
                <a:lnTo>
                  <a:pt x="3544" y="583"/>
                </a:lnTo>
                <a:lnTo>
                  <a:pt x="3546" y="583"/>
                </a:lnTo>
                <a:lnTo>
                  <a:pt x="3544" y="580"/>
                </a:lnTo>
                <a:lnTo>
                  <a:pt x="3543" y="577"/>
                </a:lnTo>
                <a:lnTo>
                  <a:pt x="3550" y="576"/>
                </a:lnTo>
                <a:lnTo>
                  <a:pt x="3555" y="576"/>
                </a:lnTo>
                <a:lnTo>
                  <a:pt x="3559" y="576"/>
                </a:lnTo>
                <a:lnTo>
                  <a:pt x="3563" y="576"/>
                </a:lnTo>
                <a:lnTo>
                  <a:pt x="3569" y="577"/>
                </a:lnTo>
                <a:lnTo>
                  <a:pt x="3572" y="577"/>
                </a:lnTo>
                <a:lnTo>
                  <a:pt x="3575" y="577"/>
                </a:lnTo>
                <a:lnTo>
                  <a:pt x="3581" y="575"/>
                </a:lnTo>
                <a:lnTo>
                  <a:pt x="3588" y="572"/>
                </a:lnTo>
                <a:lnTo>
                  <a:pt x="3589" y="573"/>
                </a:lnTo>
                <a:lnTo>
                  <a:pt x="3589" y="574"/>
                </a:lnTo>
                <a:lnTo>
                  <a:pt x="3588" y="576"/>
                </a:lnTo>
                <a:lnTo>
                  <a:pt x="3585" y="580"/>
                </a:lnTo>
                <a:lnTo>
                  <a:pt x="3589" y="584"/>
                </a:lnTo>
                <a:lnTo>
                  <a:pt x="3594" y="588"/>
                </a:lnTo>
                <a:lnTo>
                  <a:pt x="3599" y="592"/>
                </a:lnTo>
                <a:lnTo>
                  <a:pt x="3602" y="594"/>
                </a:lnTo>
                <a:lnTo>
                  <a:pt x="3604" y="594"/>
                </a:lnTo>
                <a:lnTo>
                  <a:pt x="3608" y="592"/>
                </a:lnTo>
                <a:lnTo>
                  <a:pt x="3612" y="591"/>
                </a:lnTo>
                <a:lnTo>
                  <a:pt x="3614" y="591"/>
                </a:lnTo>
                <a:lnTo>
                  <a:pt x="3616" y="591"/>
                </a:lnTo>
                <a:lnTo>
                  <a:pt x="3618" y="593"/>
                </a:lnTo>
                <a:lnTo>
                  <a:pt x="3619" y="596"/>
                </a:lnTo>
                <a:lnTo>
                  <a:pt x="3621" y="598"/>
                </a:lnTo>
                <a:lnTo>
                  <a:pt x="3622" y="600"/>
                </a:lnTo>
                <a:lnTo>
                  <a:pt x="3624" y="600"/>
                </a:lnTo>
                <a:lnTo>
                  <a:pt x="3626" y="600"/>
                </a:lnTo>
                <a:lnTo>
                  <a:pt x="3628" y="599"/>
                </a:lnTo>
                <a:lnTo>
                  <a:pt x="3629" y="599"/>
                </a:lnTo>
                <a:lnTo>
                  <a:pt x="3630" y="600"/>
                </a:lnTo>
                <a:lnTo>
                  <a:pt x="3621" y="601"/>
                </a:lnTo>
                <a:lnTo>
                  <a:pt x="3608" y="603"/>
                </a:lnTo>
                <a:lnTo>
                  <a:pt x="3605" y="608"/>
                </a:lnTo>
                <a:lnTo>
                  <a:pt x="3599" y="608"/>
                </a:lnTo>
                <a:lnTo>
                  <a:pt x="3594" y="607"/>
                </a:lnTo>
                <a:lnTo>
                  <a:pt x="3589" y="606"/>
                </a:lnTo>
                <a:lnTo>
                  <a:pt x="3585" y="606"/>
                </a:lnTo>
                <a:lnTo>
                  <a:pt x="3584" y="616"/>
                </a:lnTo>
                <a:lnTo>
                  <a:pt x="3584" y="617"/>
                </a:lnTo>
                <a:lnTo>
                  <a:pt x="3584" y="618"/>
                </a:lnTo>
                <a:lnTo>
                  <a:pt x="3583" y="620"/>
                </a:lnTo>
                <a:lnTo>
                  <a:pt x="3580" y="620"/>
                </a:lnTo>
                <a:lnTo>
                  <a:pt x="3575" y="619"/>
                </a:lnTo>
                <a:lnTo>
                  <a:pt x="3564" y="616"/>
                </a:lnTo>
                <a:lnTo>
                  <a:pt x="3552" y="612"/>
                </a:lnTo>
                <a:lnTo>
                  <a:pt x="3547" y="611"/>
                </a:lnTo>
                <a:lnTo>
                  <a:pt x="3543" y="611"/>
                </a:lnTo>
                <a:lnTo>
                  <a:pt x="3542" y="611"/>
                </a:lnTo>
                <a:lnTo>
                  <a:pt x="3541" y="612"/>
                </a:lnTo>
                <a:lnTo>
                  <a:pt x="3540" y="614"/>
                </a:lnTo>
                <a:lnTo>
                  <a:pt x="3539" y="616"/>
                </a:lnTo>
                <a:lnTo>
                  <a:pt x="3538" y="617"/>
                </a:lnTo>
                <a:lnTo>
                  <a:pt x="3534" y="617"/>
                </a:lnTo>
                <a:lnTo>
                  <a:pt x="3531" y="617"/>
                </a:lnTo>
                <a:lnTo>
                  <a:pt x="3527" y="617"/>
                </a:lnTo>
                <a:lnTo>
                  <a:pt x="3524" y="617"/>
                </a:lnTo>
                <a:lnTo>
                  <a:pt x="3519" y="618"/>
                </a:lnTo>
                <a:lnTo>
                  <a:pt x="3514" y="621"/>
                </a:lnTo>
                <a:lnTo>
                  <a:pt x="3509" y="623"/>
                </a:lnTo>
                <a:lnTo>
                  <a:pt x="3504" y="625"/>
                </a:lnTo>
                <a:lnTo>
                  <a:pt x="3504" y="635"/>
                </a:lnTo>
                <a:lnTo>
                  <a:pt x="3504" y="648"/>
                </a:lnTo>
                <a:lnTo>
                  <a:pt x="3512" y="651"/>
                </a:lnTo>
                <a:lnTo>
                  <a:pt x="3513" y="657"/>
                </a:lnTo>
                <a:lnTo>
                  <a:pt x="3514" y="663"/>
                </a:lnTo>
                <a:lnTo>
                  <a:pt x="3513" y="667"/>
                </a:lnTo>
                <a:lnTo>
                  <a:pt x="3513" y="671"/>
                </a:lnTo>
                <a:lnTo>
                  <a:pt x="3511" y="679"/>
                </a:lnTo>
                <a:lnTo>
                  <a:pt x="3509" y="685"/>
                </a:lnTo>
                <a:lnTo>
                  <a:pt x="3507" y="690"/>
                </a:lnTo>
                <a:lnTo>
                  <a:pt x="3503" y="689"/>
                </a:lnTo>
                <a:lnTo>
                  <a:pt x="3498" y="689"/>
                </a:lnTo>
                <a:lnTo>
                  <a:pt x="3490" y="690"/>
                </a:lnTo>
                <a:lnTo>
                  <a:pt x="3484" y="679"/>
                </a:lnTo>
                <a:lnTo>
                  <a:pt x="3481" y="673"/>
                </a:lnTo>
                <a:lnTo>
                  <a:pt x="3479" y="667"/>
                </a:lnTo>
                <a:lnTo>
                  <a:pt x="3467" y="673"/>
                </a:lnTo>
                <a:lnTo>
                  <a:pt x="3467" y="675"/>
                </a:lnTo>
                <a:lnTo>
                  <a:pt x="3467" y="677"/>
                </a:lnTo>
                <a:lnTo>
                  <a:pt x="3467" y="681"/>
                </a:lnTo>
                <a:lnTo>
                  <a:pt x="3467" y="686"/>
                </a:lnTo>
                <a:lnTo>
                  <a:pt x="3467" y="690"/>
                </a:lnTo>
                <a:lnTo>
                  <a:pt x="3467" y="692"/>
                </a:lnTo>
                <a:lnTo>
                  <a:pt x="3465" y="694"/>
                </a:lnTo>
                <a:lnTo>
                  <a:pt x="3462" y="698"/>
                </a:lnTo>
                <a:lnTo>
                  <a:pt x="3458" y="703"/>
                </a:lnTo>
                <a:lnTo>
                  <a:pt x="3456" y="707"/>
                </a:lnTo>
                <a:lnTo>
                  <a:pt x="3455" y="711"/>
                </a:lnTo>
                <a:lnTo>
                  <a:pt x="3455" y="715"/>
                </a:lnTo>
                <a:lnTo>
                  <a:pt x="3453" y="720"/>
                </a:lnTo>
                <a:lnTo>
                  <a:pt x="3453" y="724"/>
                </a:lnTo>
                <a:lnTo>
                  <a:pt x="3453" y="731"/>
                </a:lnTo>
                <a:lnTo>
                  <a:pt x="3453" y="739"/>
                </a:lnTo>
                <a:lnTo>
                  <a:pt x="3453" y="746"/>
                </a:lnTo>
                <a:lnTo>
                  <a:pt x="3450" y="747"/>
                </a:lnTo>
                <a:lnTo>
                  <a:pt x="3447" y="749"/>
                </a:lnTo>
                <a:lnTo>
                  <a:pt x="3442" y="752"/>
                </a:lnTo>
                <a:lnTo>
                  <a:pt x="3445" y="743"/>
                </a:lnTo>
                <a:lnTo>
                  <a:pt x="3439" y="743"/>
                </a:lnTo>
                <a:lnTo>
                  <a:pt x="3437" y="746"/>
                </a:lnTo>
                <a:lnTo>
                  <a:pt x="3435" y="748"/>
                </a:lnTo>
                <a:lnTo>
                  <a:pt x="3432" y="750"/>
                </a:lnTo>
                <a:lnTo>
                  <a:pt x="3431" y="752"/>
                </a:lnTo>
                <a:lnTo>
                  <a:pt x="3430" y="755"/>
                </a:lnTo>
                <a:lnTo>
                  <a:pt x="3430" y="759"/>
                </a:lnTo>
                <a:lnTo>
                  <a:pt x="3431" y="762"/>
                </a:lnTo>
                <a:lnTo>
                  <a:pt x="3431" y="766"/>
                </a:lnTo>
                <a:lnTo>
                  <a:pt x="3429" y="769"/>
                </a:lnTo>
                <a:lnTo>
                  <a:pt x="3427" y="773"/>
                </a:lnTo>
                <a:lnTo>
                  <a:pt x="3424" y="772"/>
                </a:lnTo>
                <a:lnTo>
                  <a:pt x="3422" y="772"/>
                </a:lnTo>
                <a:lnTo>
                  <a:pt x="3421" y="771"/>
                </a:lnTo>
                <a:lnTo>
                  <a:pt x="3421" y="770"/>
                </a:lnTo>
                <a:lnTo>
                  <a:pt x="3422" y="770"/>
                </a:lnTo>
                <a:lnTo>
                  <a:pt x="3422" y="769"/>
                </a:lnTo>
                <a:lnTo>
                  <a:pt x="3421" y="769"/>
                </a:lnTo>
                <a:lnTo>
                  <a:pt x="3420" y="769"/>
                </a:lnTo>
                <a:lnTo>
                  <a:pt x="3414" y="774"/>
                </a:lnTo>
                <a:lnTo>
                  <a:pt x="3409" y="776"/>
                </a:lnTo>
                <a:lnTo>
                  <a:pt x="3405" y="777"/>
                </a:lnTo>
                <a:lnTo>
                  <a:pt x="3403" y="769"/>
                </a:lnTo>
                <a:lnTo>
                  <a:pt x="3405" y="769"/>
                </a:lnTo>
                <a:lnTo>
                  <a:pt x="3406" y="769"/>
                </a:lnTo>
                <a:lnTo>
                  <a:pt x="3407" y="768"/>
                </a:lnTo>
                <a:lnTo>
                  <a:pt x="3406" y="767"/>
                </a:lnTo>
                <a:lnTo>
                  <a:pt x="3405" y="765"/>
                </a:lnTo>
                <a:lnTo>
                  <a:pt x="3403" y="764"/>
                </a:lnTo>
                <a:lnTo>
                  <a:pt x="3400" y="763"/>
                </a:lnTo>
                <a:lnTo>
                  <a:pt x="3397" y="763"/>
                </a:lnTo>
                <a:lnTo>
                  <a:pt x="3391" y="764"/>
                </a:lnTo>
                <a:lnTo>
                  <a:pt x="3384" y="767"/>
                </a:lnTo>
                <a:lnTo>
                  <a:pt x="3377" y="771"/>
                </a:lnTo>
                <a:lnTo>
                  <a:pt x="3370" y="775"/>
                </a:lnTo>
                <a:lnTo>
                  <a:pt x="3362" y="779"/>
                </a:lnTo>
                <a:lnTo>
                  <a:pt x="3354" y="782"/>
                </a:lnTo>
                <a:lnTo>
                  <a:pt x="3346" y="784"/>
                </a:lnTo>
                <a:lnTo>
                  <a:pt x="3342" y="785"/>
                </a:lnTo>
                <a:lnTo>
                  <a:pt x="3338" y="786"/>
                </a:lnTo>
                <a:lnTo>
                  <a:pt x="3333" y="786"/>
                </a:lnTo>
                <a:lnTo>
                  <a:pt x="3331" y="786"/>
                </a:lnTo>
                <a:lnTo>
                  <a:pt x="3329" y="786"/>
                </a:lnTo>
                <a:lnTo>
                  <a:pt x="3321" y="783"/>
                </a:lnTo>
                <a:lnTo>
                  <a:pt x="3313" y="780"/>
                </a:lnTo>
                <a:lnTo>
                  <a:pt x="3310" y="774"/>
                </a:lnTo>
                <a:lnTo>
                  <a:pt x="3306" y="774"/>
                </a:lnTo>
                <a:lnTo>
                  <a:pt x="3301" y="774"/>
                </a:lnTo>
                <a:lnTo>
                  <a:pt x="3297" y="775"/>
                </a:lnTo>
                <a:lnTo>
                  <a:pt x="3293" y="774"/>
                </a:lnTo>
                <a:lnTo>
                  <a:pt x="3290" y="779"/>
                </a:lnTo>
                <a:lnTo>
                  <a:pt x="3289" y="781"/>
                </a:lnTo>
                <a:lnTo>
                  <a:pt x="3287" y="783"/>
                </a:lnTo>
                <a:lnTo>
                  <a:pt x="3285" y="783"/>
                </a:lnTo>
                <a:lnTo>
                  <a:pt x="3283" y="783"/>
                </a:lnTo>
                <a:lnTo>
                  <a:pt x="3281" y="782"/>
                </a:lnTo>
                <a:lnTo>
                  <a:pt x="3280" y="782"/>
                </a:lnTo>
                <a:lnTo>
                  <a:pt x="3279" y="783"/>
                </a:lnTo>
                <a:lnTo>
                  <a:pt x="3280" y="784"/>
                </a:lnTo>
                <a:lnTo>
                  <a:pt x="3280" y="785"/>
                </a:lnTo>
                <a:lnTo>
                  <a:pt x="3279" y="786"/>
                </a:lnTo>
                <a:lnTo>
                  <a:pt x="3279" y="788"/>
                </a:lnTo>
                <a:lnTo>
                  <a:pt x="3276" y="791"/>
                </a:lnTo>
                <a:lnTo>
                  <a:pt x="3273" y="786"/>
                </a:lnTo>
                <a:lnTo>
                  <a:pt x="3270" y="780"/>
                </a:lnTo>
                <a:lnTo>
                  <a:pt x="3267" y="780"/>
                </a:lnTo>
                <a:lnTo>
                  <a:pt x="3263" y="780"/>
                </a:lnTo>
                <a:lnTo>
                  <a:pt x="3259" y="781"/>
                </a:lnTo>
                <a:lnTo>
                  <a:pt x="3258" y="780"/>
                </a:lnTo>
                <a:lnTo>
                  <a:pt x="3256" y="780"/>
                </a:lnTo>
                <a:lnTo>
                  <a:pt x="3256" y="774"/>
                </a:lnTo>
                <a:lnTo>
                  <a:pt x="3255" y="771"/>
                </a:lnTo>
                <a:lnTo>
                  <a:pt x="3252" y="768"/>
                </a:lnTo>
                <a:lnTo>
                  <a:pt x="3248" y="763"/>
                </a:lnTo>
                <a:lnTo>
                  <a:pt x="3250" y="759"/>
                </a:lnTo>
                <a:lnTo>
                  <a:pt x="3254" y="755"/>
                </a:lnTo>
                <a:lnTo>
                  <a:pt x="3245" y="755"/>
                </a:lnTo>
                <a:lnTo>
                  <a:pt x="3245" y="752"/>
                </a:lnTo>
                <a:lnTo>
                  <a:pt x="3246" y="749"/>
                </a:lnTo>
                <a:lnTo>
                  <a:pt x="3249" y="744"/>
                </a:lnTo>
                <a:lnTo>
                  <a:pt x="3251" y="742"/>
                </a:lnTo>
                <a:lnTo>
                  <a:pt x="3251" y="741"/>
                </a:lnTo>
                <a:lnTo>
                  <a:pt x="3252" y="742"/>
                </a:lnTo>
                <a:lnTo>
                  <a:pt x="3251" y="746"/>
                </a:lnTo>
                <a:lnTo>
                  <a:pt x="3254" y="749"/>
                </a:lnTo>
                <a:lnTo>
                  <a:pt x="3256" y="752"/>
                </a:lnTo>
                <a:lnTo>
                  <a:pt x="3262" y="752"/>
                </a:lnTo>
                <a:lnTo>
                  <a:pt x="3265" y="759"/>
                </a:lnTo>
                <a:lnTo>
                  <a:pt x="3268" y="766"/>
                </a:lnTo>
                <a:lnTo>
                  <a:pt x="3265" y="751"/>
                </a:lnTo>
                <a:lnTo>
                  <a:pt x="3262" y="738"/>
                </a:lnTo>
                <a:lnTo>
                  <a:pt x="3259" y="738"/>
                </a:lnTo>
                <a:lnTo>
                  <a:pt x="3258" y="739"/>
                </a:lnTo>
                <a:lnTo>
                  <a:pt x="3257" y="739"/>
                </a:lnTo>
                <a:lnTo>
                  <a:pt x="3254" y="738"/>
                </a:lnTo>
                <a:lnTo>
                  <a:pt x="3255" y="732"/>
                </a:lnTo>
                <a:lnTo>
                  <a:pt x="3256" y="726"/>
                </a:lnTo>
                <a:lnTo>
                  <a:pt x="3257" y="721"/>
                </a:lnTo>
                <a:lnTo>
                  <a:pt x="3259" y="715"/>
                </a:lnTo>
                <a:lnTo>
                  <a:pt x="3263" y="718"/>
                </a:lnTo>
                <a:lnTo>
                  <a:pt x="3264" y="719"/>
                </a:lnTo>
                <a:lnTo>
                  <a:pt x="3265" y="719"/>
                </a:lnTo>
                <a:lnTo>
                  <a:pt x="3266" y="719"/>
                </a:lnTo>
                <a:lnTo>
                  <a:pt x="3268" y="718"/>
                </a:lnTo>
                <a:lnTo>
                  <a:pt x="3267" y="716"/>
                </a:lnTo>
                <a:lnTo>
                  <a:pt x="3267" y="714"/>
                </a:lnTo>
                <a:lnTo>
                  <a:pt x="3268" y="710"/>
                </a:lnTo>
                <a:lnTo>
                  <a:pt x="3259" y="710"/>
                </a:lnTo>
                <a:lnTo>
                  <a:pt x="3259" y="707"/>
                </a:lnTo>
                <a:lnTo>
                  <a:pt x="3258" y="705"/>
                </a:lnTo>
                <a:lnTo>
                  <a:pt x="3259" y="700"/>
                </a:lnTo>
                <a:lnTo>
                  <a:pt x="3259" y="695"/>
                </a:lnTo>
                <a:lnTo>
                  <a:pt x="3259" y="690"/>
                </a:lnTo>
                <a:lnTo>
                  <a:pt x="3252" y="689"/>
                </a:lnTo>
                <a:lnTo>
                  <a:pt x="3250" y="689"/>
                </a:lnTo>
                <a:lnTo>
                  <a:pt x="3248" y="687"/>
                </a:lnTo>
                <a:lnTo>
                  <a:pt x="3251" y="686"/>
                </a:lnTo>
                <a:lnTo>
                  <a:pt x="3253" y="686"/>
                </a:lnTo>
                <a:lnTo>
                  <a:pt x="3257" y="686"/>
                </a:lnTo>
                <a:lnTo>
                  <a:pt x="3258" y="686"/>
                </a:lnTo>
                <a:lnTo>
                  <a:pt x="3259" y="685"/>
                </a:lnTo>
                <a:lnTo>
                  <a:pt x="3262" y="681"/>
                </a:lnTo>
                <a:lnTo>
                  <a:pt x="3263" y="677"/>
                </a:lnTo>
                <a:lnTo>
                  <a:pt x="3264" y="672"/>
                </a:lnTo>
                <a:lnTo>
                  <a:pt x="3263" y="667"/>
                </a:lnTo>
                <a:lnTo>
                  <a:pt x="3263" y="666"/>
                </a:lnTo>
                <a:lnTo>
                  <a:pt x="3262" y="665"/>
                </a:lnTo>
                <a:lnTo>
                  <a:pt x="3255" y="669"/>
                </a:lnTo>
                <a:lnTo>
                  <a:pt x="3251" y="671"/>
                </a:lnTo>
                <a:lnTo>
                  <a:pt x="3248" y="673"/>
                </a:lnTo>
                <a:lnTo>
                  <a:pt x="3247" y="674"/>
                </a:lnTo>
                <a:lnTo>
                  <a:pt x="3246" y="676"/>
                </a:lnTo>
                <a:lnTo>
                  <a:pt x="3245" y="679"/>
                </a:lnTo>
                <a:lnTo>
                  <a:pt x="3244" y="682"/>
                </a:lnTo>
                <a:lnTo>
                  <a:pt x="3243" y="683"/>
                </a:lnTo>
                <a:lnTo>
                  <a:pt x="3242" y="684"/>
                </a:lnTo>
                <a:lnTo>
                  <a:pt x="3239" y="685"/>
                </a:lnTo>
                <a:lnTo>
                  <a:pt x="3235" y="685"/>
                </a:lnTo>
                <a:lnTo>
                  <a:pt x="3232" y="684"/>
                </a:lnTo>
                <a:lnTo>
                  <a:pt x="3228" y="684"/>
                </a:lnTo>
                <a:lnTo>
                  <a:pt x="3227" y="685"/>
                </a:lnTo>
                <a:lnTo>
                  <a:pt x="3225" y="686"/>
                </a:lnTo>
                <a:lnTo>
                  <a:pt x="3222" y="689"/>
                </a:lnTo>
                <a:lnTo>
                  <a:pt x="3220" y="693"/>
                </a:lnTo>
                <a:lnTo>
                  <a:pt x="3217" y="696"/>
                </a:lnTo>
                <a:lnTo>
                  <a:pt x="3218" y="697"/>
                </a:lnTo>
                <a:lnTo>
                  <a:pt x="3219" y="699"/>
                </a:lnTo>
                <a:lnTo>
                  <a:pt x="3220" y="701"/>
                </a:lnTo>
                <a:lnTo>
                  <a:pt x="3221" y="701"/>
                </a:lnTo>
                <a:lnTo>
                  <a:pt x="3223" y="701"/>
                </a:lnTo>
                <a:lnTo>
                  <a:pt x="3225" y="693"/>
                </a:lnTo>
                <a:lnTo>
                  <a:pt x="3231" y="693"/>
                </a:lnTo>
                <a:lnTo>
                  <a:pt x="3230" y="695"/>
                </a:lnTo>
                <a:lnTo>
                  <a:pt x="3229" y="698"/>
                </a:lnTo>
                <a:lnTo>
                  <a:pt x="3228" y="700"/>
                </a:lnTo>
                <a:lnTo>
                  <a:pt x="3228" y="701"/>
                </a:lnTo>
                <a:lnTo>
                  <a:pt x="3229" y="702"/>
                </a:lnTo>
                <a:lnTo>
                  <a:pt x="3231" y="701"/>
                </a:lnTo>
                <a:lnTo>
                  <a:pt x="3232" y="700"/>
                </a:lnTo>
                <a:lnTo>
                  <a:pt x="3233" y="699"/>
                </a:lnTo>
                <a:lnTo>
                  <a:pt x="3233" y="697"/>
                </a:lnTo>
                <a:lnTo>
                  <a:pt x="3233" y="695"/>
                </a:lnTo>
                <a:lnTo>
                  <a:pt x="3233" y="693"/>
                </a:lnTo>
                <a:lnTo>
                  <a:pt x="3233" y="691"/>
                </a:lnTo>
                <a:lnTo>
                  <a:pt x="3232" y="690"/>
                </a:lnTo>
                <a:lnTo>
                  <a:pt x="3231" y="690"/>
                </a:lnTo>
                <a:lnTo>
                  <a:pt x="3237" y="690"/>
                </a:lnTo>
                <a:lnTo>
                  <a:pt x="3240" y="690"/>
                </a:lnTo>
                <a:lnTo>
                  <a:pt x="3242" y="690"/>
                </a:lnTo>
                <a:lnTo>
                  <a:pt x="3242" y="691"/>
                </a:lnTo>
                <a:lnTo>
                  <a:pt x="3242" y="692"/>
                </a:lnTo>
                <a:lnTo>
                  <a:pt x="3242" y="695"/>
                </a:lnTo>
                <a:lnTo>
                  <a:pt x="3243" y="699"/>
                </a:lnTo>
                <a:lnTo>
                  <a:pt x="3243" y="700"/>
                </a:lnTo>
                <a:lnTo>
                  <a:pt x="3242" y="701"/>
                </a:lnTo>
                <a:lnTo>
                  <a:pt x="3241" y="702"/>
                </a:lnTo>
                <a:lnTo>
                  <a:pt x="3240" y="700"/>
                </a:lnTo>
                <a:lnTo>
                  <a:pt x="3239" y="699"/>
                </a:lnTo>
                <a:lnTo>
                  <a:pt x="3238" y="698"/>
                </a:lnTo>
                <a:lnTo>
                  <a:pt x="3237" y="698"/>
                </a:lnTo>
                <a:lnTo>
                  <a:pt x="3235" y="700"/>
                </a:lnTo>
                <a:lnTo>
                  <a:pt x="3233" y="704"/>
                </a:lnTo>
                <a:lnTo>
                  <a:pt x="3231" y="710"/>
                </a:lnTo>
                <a:lnTo>
                  <a:pt x="3214" y="710"/>
                </a:lnTo>
                <a:lnTo>
                  <a:pt x="3215" y="711"/>
                </a:lnTo>
                <a:lnTo>
                  <a:pt x="3216" y="712"/>
                </a:lnTo>
                <a:lnTo>
                  <a:pt x="3216" y="715"/>
                </a:lnTo>
                <a:lnTo>
                  <a:pt x="3214" y="721"/>
                </a:lnTo>
                <a:lnTo>
                  <a:pt x="3219" y="722"/>
                </a:lnTo>
                <a:lnTo>
                  <a:pt x="3221" y="722"/>
                </a:lnTo>
                <a:lnTo>
                  <a:pt x="3223" y="724"/>
                </a:lnTo>
                <a:lnTo>
                  <a:pt x="3223" y="729"/>
                </a:lnTo>
                <a:lnTo>
                  <a:pt x="3222" y="729"/>
                </a:lnTo>
                <a:lnTo>
                  <a:pt x="3222" y="730"/>
                </a:lnTo>
                <a:lnTo>
                  <a:pt x="3221" y="734"/>
                </a:lnTo>
                <a:lnTo>
                  <a:pt x="3220" y="743"/>
                </a:lnTo>
                <a:lnTo>
                  <a:pt x="3228" y="746"/>
                </a:lnTo>
                <a:lnTo>
                  <a:pt x="3229" y="750"/>
                </a:lnTo>
                <a:lnTo>
                  <a:pt x="3229" y="751"/>
                </a:lnTo>
                <a:lnTo>
                  <a:pt x="3229" y="752"/>
                </a:lnTo>
                <a:lnTo>
                  <a:pt x="3226" y="757"/>
                </a:lnTo>
                <a:lnTo>
                  <a:pt x="3225" y="760"/>
                </a:lnTo>
                <a:lnTo>
                  <a:pt x="3225" y="763"/>
                </a:lnTo>
                <a:lnTo>
                  <a:pt x="3231" y="763"/>
                </a:lnTo>
                <a:lnTo>
                  <a:pt x="3231" y="769"/>
                </a:lnTo>
                <a:lnTo>
                  <a:pt x="3232" y="773"/>
                </a:lnTo>
                <a:lnTo>
                  <a:pt x="3233" y="780"/>
                </a:lnTo>
                <a:lnTo>
                  <a:pt x="3234" y="788"/>
                </a:lnTo>
                <a:lnTo>
                  <a:pt x="3234" y="791"/>
                </a:lnTo>
                <a:lnTo>
                  <a:pt x="3234" y="794"/>
                </a:lnTo>
                <a:lnTo>
                  <a:pt x="3233" y="795"/>
                </a:lnTo>
                <a:lnTo>
                  <a:pt x="3233" y="796"/>
                </a:lnTo>
                <a:lnTo>
                  <a:pt x="3232" y="794"/>
                </a:lnTo>
                <a:lnTo>
                  <a:pt x="3231" y="791"/>
                </a:lnTo>
                <a:lnTo>
                  <a:pt x="3230" y="791"/>
                </a:lnTo>
                <a:lnTo>
                  <a:pt x="3229" y="792"/>
                </a:lnTo>
                <a:lnTo>
                  <a:pt x="3227" y="796"/>
                </a:lnTo>
                <a:lnTo>
                  <a:pt x="3225" y="802"/>
                </a:lnTo>
                <a:lnTo>
                  <a:pt x="3223" y="802"/>
                </a:lnTo>
                <a:lnTo>
                  <a:pt x="3221" y="802"/>
                </a:lnTo>
                <a:lnTo>
                  <a:pt x="3220" y="801"/>
                </a:lnTo>
                <a:lnTo>
                  <a:pt x="3219" y="801"/>
                </a:lnTo>
                <a:lnTo>
                  <a:pt x="3216" y="799"/>
                </a:lnTo>
                <a:lnTo>
                  <a:pt x="3214" y="799"/>
                </a:lnTo>
                <a:lnTo>
                  <a:pt x="3211" y="800"/>
                </a:lnTo>
                <a:lnTo>
                  <a:pt x="3210" y="801"/>
                </a:lnTo>
                <a:lnTo>
                  <a:pt x="3208" y="802"/>
                </a:lnTo>
                <a:lnTo>
                  <a:pt x="3205" y="804"/>
                </a:lnTo>
                <a:lnTo>
                  <a:pt x="3203" y="805"/>
                </a:lnTo>
                <a:lnTo>
                  <a:pt x="3203" y="808"/>
                </a:lnTo>
                <a:lnTo>
                  <a:pt x="3200" y="808"/>
                </a:lnTo>
                <a:lnTo>
                  <a:pt x="3197" y="807"/>
                </a:lnTo>
                <a:lnTo>
                  <a:pt x="3189" y="806"/>
                </a:lnTo>
                <a:lnTo>
                  <a:pt x="3185" y="805"/>
                </a:lnTo>
                <a:lnTo>
                  <a:pt x="3180" y="804"/>
                </a:lnTo>
                <a:lnTo>
                  <a:pt x="3176" y="804"/>
                </a:lnTo>
                <a:lnTo>
                  <a:pt x="3172" y="805"/>
                </a:lnTo>
                <a:lnTo>
                  <a:pt x="3169" y="814"/>
                </a:lnTo>
                <a:lnTo>
                  <a:pt x="3166" y="815"/>
                </a:lnTo>
                <a:lnTo>
                  <a:pt x="3163" y="815"/>
                </a:lnTo>
                <a:lnTo>
                  <a:pt x="3161" y="815"/>
                </a:lnTo>
                <a:lnTo>
                  <a:pt x="3158" y="817"/>
                </a:lnTo>
                <a:lnTo>
                  <a:pt x="3157" y="818"/>
                </a:lnTo>
                <a:lnTo>
                  <a:pt x="3156" y="819"/>
                </a:lnTo>
                <a:lnTo>
                  <a:pt x="3155" y="821"/>
                </a:lnTo>
                <a:lnTo>
                  <a:pt x="3154" y="823"/>
                </a:lnTo>
                <a:lnTo>
                  <a:pt x="3151" y="833"/>
                </a:lnTo>
                <a:lnTo>
                  <a:pt x="3150" y="844"/>
                </a:lnTo>
                <a:lnTo>
                  <a:pt x="3149" y="853"/>
                </a:lnTo>
                <a:lnTo>
                  <a:pt x="3132" y="854"/>
                </a:lnTo>
                <a:lnTo>
                  <a:pt x="3119" y="856"/>
                </a:lnTo>
                <a:lnTo>
                  <a:pt x="3108" y="859"/>
                </a:lnTo>
                <a:lnTo>
                  <a:pt x="3093" y="864"/>
                </a:lnTo>
                <a:lnTo>
                  <a:pt x="3095" y="875"/>
                </a:lnTo>
                <a:lnTo>
                  <a:pt x="3096" y="888"/>
                </a:lnTo>
                <a:lnTo>
                  <a:pt x="3093" y="889"/>
                </a:lnTo>
                <a:lnTo>
                  <a:pt x="3091" y="889"/>
                </a:lnTo>
                <a:lnTo>
                  <a:pt x="3085" y="890"/>
                </a:lnTo>
                <a:lnTo>
                  <a:pt x="3083" y="890"/>
                </a:lnTo>
                <a:lnTo>
                  <a:pt x="3081" y="891"/>
                </a:lnTo>
                <a:lnTo>
                  <a:pt x="3078" y="892"/>
                </a:lnTo>
                <a:lnTo>
                  <a:pt x="3076" y="893"/>
                </a:lnTo>
                <a:lnTo>
                  <a:pt x="3075" y="896"/>
                </a:lnTo>
                <a:lnTo>
                  <a:pt x="3075" y="899"/>
                </a:lnTo>
                <a:lnTo>
                  <a:pt x="3074" y="905"/>
                </a:lnTo>
                <a:lnTo>
                  <a:pt x="3072" y="906"/>
                </a:lnTo>
                <a:lnTo>
                  <a:pt x="3070" y="906"/>
                </a:lnTo>
                <a:lnTo>
                  <a:pt x="3066" y="907"/>
                </a:lnTo>
                <a:lnTo>
                  <a:pt x="3058" y="907"/>
                </a:lnTo>
                <a:lnTo>
                  <a:pt x="3051" y="906"/>
                </a:lnTo>
                <a:lnTo>
                  <a:pt x="3045" y="905"/>
                </a:lnTo>
                <a:lnTo>
                  <a:pt x="3045" y="896"/>
                </a:lnTo>
                <a:lnTo>
                  <a:pt x="3043" y="896"/>
                </a:lnTo>
                <a:lnTo>
                  <a:pt x="3041" y="896"/>
                </a:lnTo>
                <a:lnTo>
                  <a:pt x="3038" y="897"/>
                </a:lnTo>
                <a:lnTo>
                  <a:pt x="3036" y="898"/>
                </a:lnTo>
                <a:lnTo>
                  <a:pt x="3035" y="899"/>
                </a:lnTo>
                <a:lnTo>
                  <a:pt x="3034" y="900"/>
                </a:lnTo>
                <a:lnTo>
                  <a:pt x="3033" y="901"/>
                </a:lnTo>
                <a:lnTo>
                  <a:pt x="3034" y="902"/>
                </a:lnTo>
                <a:lnTo>
                  <a:pt x="3038" y="913"/>
                </a:lnTo>
                <a:lnTo>
                  <a:pt x="3041" y="919"/>
                </a:lnTo>
                <a:lnTo>
                  <a:pt x="3043" y="924"/>
                </a:lnTo>
                <a:lnTo>
                  <a:pt x="3043" y="930"/>
                </a:lnTo>
                <a:lnTo>
                  <a:pt x="3040" y="930"/>
                </a:lnTo>
                <a:lnTo>
                  <a:pt x="3038" y="929"/>
                </a:lnTo>
                <a:lnTo>
                  <a:pt x="3034" y="928"/>
                </a:lnTo>
                <a:lnTo>
                  <a:pt x="3031" y="927"/>
                </a:lnTo>
                <a:lnTo>
                  <a:pt x="3026" y="927"/>
                </a:lnTo>
                <a:lnTo>
                  <a:pt x="3017" y="933"/>
                </a:lnTo>
                <a:lnTo>
                  <a:pt x="3015" y="933"/>
                </a:lnTo>
                <a:lnTo>
                  <a:pt x="3014" y="932"/>
                </a:lnTo>
                <a:lnTo>
                  <a:pt x="3013" y="932"/>
                </a:lnTo>
                <a:lnTo>
                  <a:pt x="3012" y="931"/>
                </a:lnTo>
                <a:lnTo>
                  <a:pt x="3012" y="930"/>
                </a:lnTo>
                <a:lnTo>
                  <a:pt x="3012" y="929"/>
                </a:lnTo>
                <a:lnTo>
                  <a:pt x="3011" y="928"/>
                </a:lnTo>
                <a:lnTo>
                  <a:pt x="3010" y="927"/>
                </a:lnTo>
                <a:lnTo>
                  <a:pt x="3009" y="927"/>
                </a:lnTo>
                <a:lnTo>
                  <a:pt x="3007" y="927"/>
                </a:lnTo>
                <a:lnTo>
                  <a:pt x="3000" y="928"/>
                </a:lnTo>
                <a:lnTo>
                  <a:pt x="2991" y="930"/>
                </a:lnTo>
                <a:lnTo>
                  <a:pt x="2987" y="932"/>
                </a:lnTo>
                <a:lnTo>
                  <a:pt x="2984" y="933"/>
                </a:lnTo>
                <a:lnTo>
                  <a:pt x="2981" y="933"/>
                </a:lnTo>
                <a:lnTo>
                  <a:pt x="2989" y="939"/>
                </a:lnTo>
                <a:lnTo>
                  <a:pt x="2987" y="939"/>
                </a:lnTo>
                <a:lnTo>
                  <a:pt x="2985" y="940"/>
                </a:lnTo>
                <a:lnTo>
                  <a:pt x="2983" y="940"/>
                </a:lnTo>
                <a:lnTo>
                  <a:pt x="2981" y="941"/>
                </a:lnTo>
                <a:lnTo>
                  <a:pt x="2982" y="946"/>
                </a:lnTo>
                <a:lnTo>
                  <a:pt x="2982" y="950"/>
                </a:lnTo>
                <a:lnTo>
                  <a:pt x="2981" y="951"/>
                </a:lnTo>
                <a:lnTo>
                  <a:pt x="2981" y="953"/>
                </a:lnTo>
                <a:lnTo>
                  <a:pt x="2990" y="953"/>
                </a:lnTo>
                <a:lnTo>
                  <a:pt x="2994" y="953"/>
                </a:lnTo>
                <a:lnTo>
                  <a:pt x="2998" y="955"/>
                </a:lnTo>
                <a:lnTo>
                  <a:pt x="3006" y="958"/>
                </a:lnTo>
                <a:lnTo>
                  <a:pt x="3006" y="964"/>
                </a:lnTo>
                <a:lnTo>
                  <a:pt x="3017" y="958"/>
                </a:lnTo>
                <a:lnTo>
                  <a:pt x="3014" y="967"/>
                </a:lnTo>
                <a:lnTo>
                  <a:pt x="3018" y="968"/>
                </a:lnTo>
                <a:lnTo>
                  <a:pt x="3019" y="968"/>
                </a:lnTo>
                <a:lnTo>
                  <a:pt x="3020" y="972"/>
                </a:lnTo>
                <a:lnTo>
                  <a:pt x="3024" y="972"/>
                </a:lnTo>
                <a:lnTo>
                  <a:pt x="3029" y="972"/>
                </a:lnTo>
                <a:lnTo>
                  <a:pt x="3027" y="975"/>
                </a:lnTo>
                <a:lnTo>
                  <a:pt x="3026" y="979"/>
                </a:lnTo>
                <a:lnTo>
                  <a:pt x="3025" y="982"/>
                </a:lnTo>
                <a:lnTo>
                  <a:pt x="3025" y="984"/>
                </a:lnTo>
                <a:lnTo>
                  <a:pt x="3025" y="987"/>
                </a:lnTo>
                <a:lnTo>
                  <a:pt x="3026" y="989"/>
                </a:lnTo>
                <a:lnTo>
                  <a:pt x="3028" y="992"/>
                </a:lnTo>
                <a:lnTo>
                  <a:pt x="3030" y="994"/>
                </a:lnTo>
                <a:lnTo>
                  <a:pt x="3033" y="996"/>
                </a:lnTo>
                <a:lnTo>
                  <a:pt x="3037" y="998"/>
                </a:lnTo>
                <a:lnTo>
                  <a:pt x="3051" y="1003"/>
                </a:lnTo>
                <a:lnTo>
                  <a:pt x="3052" y="1024"/>
                </a:lnTo>
                <a:lnTo>
                  <a:pt x="3052" y="1032"/>
                </a:lnTo>
                <a:lnTo>
                  <a:pt x="3051" y="1040"/>
                </a:lnTo>
                <a:lnTo>
                  <a:pt x="3050" y="1047"/>
                </a:lnTo>
                <a:lnTo>
                  <a:pt x="3049" y="1054"/>
                </a:lnTo>
                <a:lnTo>
                  <a:pt x="3045" y="1071"/>
                </a:lnTo>
                <a:close/>
              </a:path>
            </a:pathLst>
          </a:custGeom>
          <a:solidFill>
            <a:schemeClr val="bg1">
              <a:lumMod val="85000"/>
            </a:schemeClr>
          </a:solidFill>
          <a:ln>
            <a:noFill/>
          </a:ln>
        </p:spPr>
        <p:txBody>
          <a:bodyPr vert="horz" wrap="square" lIns="68562" tIns="34281" rIns="68562" bIns="34281" numCol="1" anchor="t" anchorCtr="0" compatLnSpc="1">
            <a:prstTxWarp prst="textNoShape">
              <a:avLst/>
            </a:prstTxWarp>
          </a:bodyPr>
          <a:lstStyle/>
          <a:p>
            <a:endParaRPr lang="fi-FI" sz="1349"/>
          </a:p>
        </p:txBody>
      </p:sp>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9DAB92B-1CD9-4A3D-B9E1-A0D421768470}" type="datetime1">
              <a:rPr lang="fi-FI" smtClean="0"/>
              <a:t>6.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07678541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image" Target="../media/image16.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theme" Target="../theme/theme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8"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theme" Target="../theme/theme3.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image" Target="../media/image16.png"/><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theme" Target="../theme/theme4.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8"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09.xml"/><Relationship Id="rId7" Type="http://schemas.openxmlformats.org/officeDocument/2006/relationships/tags" Target="../tags/tag2.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tags" Target="../tags/tag1.xml"/><Relationship Id="rId5" Type="http://schemas.openxmlformats.org/officeDocument/2006/relationships/theme" Target="../theme/theme5.xml"/><Relationship Id="rId4" Type="http://schemas.openxmlformats.org/officeDocument/2006/relationships/slideLayout" Target="../slideLayouts/slideLayout110.xml"/><Relationship Id="rId9" Type="http://schemas.openxmlformats.org/officeDocument/2006/relationships/image" Target="../media/image20.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6.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4" name="Date Placeholder 3"/>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2" name="Alatunnisteen paikkamerkki 1">
            <a:extLst>
              <a:ext uri="{FF2B5EF4-FFF2-40B4-BE49-F238E27FC236}">
                <a16:creationId xmlns:a16="http://schemas.microsoft.com/office/drawing/2014/main" id="{1C150BC1-EEBC-48B9-AEAE-962A54F46FC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Tree>
    <p:extLst>
      <p:ext uri="{BB962C8B-B14F-4D97-AF65-F5344CB8AC3E}">
        <p14:creationId xmlns:p14="http://schemas.microsoft.com/office/powerpoint/2010/main" val="1833754440"/>
      </p:ext>
    </p:extLst>
  </p:cSld>
  <p:clrMap bg1="lt1" tx1="dk1" bg2="lt2" tx2="dk2" accent1="accent1" accent2="accent2" accent3="accent3" accent4="accent4" accent5="accent5" accent6="accent6" hlink="hlink" folHlink="folHlink"/>
  <p:sldLayoutIdLst>
    <p:sldLayoutId id="2147483667" r:id="rId1"/>
    <p:sldLayoutId id="2147483650" r:id="rId2"/>
    <p:sldLayoutId id="2147483704" r:id="rId3"/>
    <p:sldLayoutId id="2147483708" r:id="rId4"/>
    <p:sldLayoutId id="2147483707" r:id="rId5"/>
    <p:sldLayoutId id="2147483694" r:id="rId6"/>
    <p:sldLayoutId id="2147483695" r:id="rId7"/>
    <p:sldLayoutId id="2147483702" r:id="rId8"/>
    <p:sldLayoutId id="2147483678" r:id="rId9"/>
    <p:sldLayoutId id="2147483705" r:id="rId10"/>
    <p:sldLayoutId id="2147483701" r:id="rId11"/>
    <p:sldLayoutId id="2147483697" r:id="rId12"/>
    <p:sldLayoutId id="2147483703" r:id="rId13"/>
    <p:sldLayoutId id="2147483691" r:id="rId14"/>
    <p:sldLayoutId id="2147483699" r:id="rId15"/>
    <p:sldLayoutId id="2147483679" r:id="rId16"/>
    <p:sldLayoutId id="2147483709" r:id="rId17"/>
    <p:sldLayoutId id="2147483710" r:id="rId18"/>
    <p:sldLayoutId id="2147483711" r:id="rId19"/>
    <p:sldLayoutId id="2147483712" r:id="rId20"/>
    <p:sldLayoutId id="2147483713" r:id="rId21"/>
    <p:sldLayoutId id="2147483714" r:id="rId22"/>
  </p:sldLayoutIdLst>
  <p:hf sldNum="0" hdr="0" ftr="0" dt="0"/>
  <p:txStyles>
    <p:titleStyle>
      <a:lvl1pPr algn="l" defTabSz="685800" rtl="0" eaLnBrk="1" latinLnBrk="0" hangingPunct="1">
        <a:lnSpc>
          <a:spcPct val="90000"/>
        </a:lnSpc>
        <a:spcBef>
          <a:spcPct val="0"/>
        </a:spcBef>
        <a:buNone/>
        <a:defRPr sz="3300" kern="1200" baseline="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1" userDrawn="1">
          <p15:clr>
            <a:srgbClr val="F26B43"/>
          </p15:clr>
        </p15:guide>
        <p15:guide id="3" orient="horz" pos="32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573882"/>
            <a:ext cx="8729770" cy="602326"/>
          </a:xfrm>
          <a:prstGeom prst="rect">
            <a:avLst/>
          </a:prstGeom>
          <a:solidFill>
            <a:srgbClr val="B1059D"/>
          </a:solidFill>
        </p:spPr>
        <p:txBody>
          <a:bodyPr vert="horz" wrap="square" lIns="540000" tIns="72000" rIns="540000" bIns="72000" rtlCol="0" anchor="t" anchorCtr="0">
            <a:spAutoFit/>
          </a:bodyPr>
          <a:lstStyle/>
          <a:p>
            <a:r>
              <a:rPr lang="en-US" dirty="0"/>
              <a:t>Click to add title</a:t>
            </a:r>
          </a:p>
        </p:txBody>
      </p:sp>
      <p:sp>
        <p:nvSpPr>
          <p:cNvPr id="3" name="Text Placeholder 2"/>
          <p:cNvSpPr>
            <a:spLocks noGrp="1"/>
          </p:cNvSpPr>
          <p:nvPr>
            <p:ph type="body" idx="1"/>
          </p:nvPr>
        </p:nvSpPr>
        <p:spPr>
          <a:xfrm>
            <a:off x="414230" y="1869673"/>
            <a:ext cx="8315541" cy="2538022"/>
          </a:xfrm>
          <a:prstGeom prst="rect">
            <a:avLst/>
          </a:prstGeom>
        </p:spPr>
        <p:txBody>
          <a:bodyPr vert="horz" lIns="36000" tIns="36000" rIns="36000" bIns="3600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p:cNvSpPr>
            <a:spLocks noGrp="1"/>
          </p:cNvSpPr>
          <p:nvPr>
            <p:ph type="dt" sz="half" idx="2"/>
          </p:nvPr>
        </p:nvSpPr>
        <p:spPr>
          <a:xfrm>
            <a:off x="252347" y="4785997"/>
            <a:ext cx="1404572" cy="162018"/>
          </a:xfrm>
          <a:prstGeom prst="rect">
            <a:avLst/>
          </a:prstGeom>
        </p:spPr>
        <p:txBody>
          <a:bodyPr vert="horz" lIns="36000" tIns="36000" rIns="36000" bIns="36000" rtlCol="0" anchor="ctr">
            <a:noAutofit/>
          </a:bodyPr>
          <a:lstStyle>
            <a:lvl1pPr algn="l">
              <a:defRPr sz="750">
                <a:solidFill>
                  <a:srgbClr val="B3B2B2"/>
                </a:solidFill>
              </a:defRPr>
            </a:lvl1pPr>
          </a:lstStyle>
          <a:p>
            <a:fld id="{84266EE4-B32D-421F-BB25-BEBAFA688870}" type="datetime1">
              <a:rPr lang="fi-FI" smtClean="0"/>
              <a:t>6.11.2023</a:t>
            </a:fld>
            <a:endParaRPr lang="en-US" dirty="0"/>
          </a:p>
        </p:txBody>
      </p:sp>
      <p:sp>
        <p:nvSpPr>
          <p:cNvPr id="5" name="Footer Placeholder 4"/>
          <p:cNvSpPr>
            <a:spLocks noGrp="1"/>
          </p:cNvSpPr>
          <p:nvPr>
            <p:ph type="ftr" sz="quarter" idx="3"/>
          </p:nvPr>
        </p:nvSpPr>
        <p:spPr>
          <a:xfrm>
            <a:off x="1656919" y="4785997"/>
            <a:ext cx="5830163" cy="165832"/>
          </a:xfrm>
          <a:prstGeom prst="rect">
            <a:avLst/>
          </a:prstGeom>
        </p:spPr>
        <p:txBody>
          <a:bodyPr vert="horz" lIns="36000" tIns="36000" rIns="36000" bIns="36000" rtlCol="0" anchor="ctr">
            <a:noAutofit/>
          </a:bodyPr>
          <a:lstStyle>
            <a:lvl1pPr algn="ctr">
              <a:defRPr sz="750">
                <a:solidFill>
                  <a:srgbClr val="B3B2B2"/>
                </a:solidFill>
              </a:defRPr>
            </a:lvl1pPr>
          </a:lstStyle>
          <a:p>
            <a:r>
              <a:rPr lang="en-US" dirty="0"/>
              <a:t>© Aalto University Executive Education</a:t>
            </a:r>
          </a:p>
        </p:txBody>
      </p:sp>
      <p:sp>
        <p:nvSpPr>
          <p:cNvPr id="6" name="Slide Number Placeholder 5"/>
          <p:cNvSpPr>
            <a:spLocks noGrp="1"/>
          </p:cNvSpPr>
          <p:nvPr>
            <p:ph type="sldNum" sz="quarter" idx="4"/>
          </p:nvPr>
        </p:nvSpPr>
        <p:spPr>
          <a:xfrm>
            <a:off x="7487082" y="4515967"/>
            <a:ext cx="1404273" cy="432048"/>
          </a:xfrm>
          <a:prstGeom prst="rect">
            <a:avLst/>
          </a:prstGeom>
        </p:spPr>
        <p:txBody>
          <a:bodyPr vert="horz" lIns="36000" tIns="36000" rIns="36000" bIns="36000" rtlCol="0" anchor="ctr">
            <a:noAutofit/>
          </a:bodyPr>
          <a:lstStyle>
            <a:lvl1pPr algn="r">
              <a:defRPr sz="3599" b="1">
                <a:solidFill>
                  <a:srgbClr val="B3B2B2"/>
                </a:solidFill>
              </a:defRPr>
            </a:lvl1pPr>
          </a:lstStyle>
          <a:p>
            <a:fld id="{FCCA222D-FCF7-48C1-A274-EBDDEF75DC66}" type="slidenum">
              <a:rPr lang="en-US" smtClean="0"/>
              <a:pPr/>
              <a:t>‹#›</a:t>
            </a:fld>
            <a:endParaRPr lang="en-US" dirty="0"/>
          </a:p>
        </p:txBody>
      </p:sp>
      <p:grpSp>
        <p:nvGrpSpPr>
          <p:cNvPr id="12" name="Group 11"/>
          <p:cNvGrpSpPr>
            <a:grpSpLocks noChangeAspect="1"/>
          </p:cNvGrpSpPr>
          <p:nvPr/>
        </p:nvGrpSpPr>
        <p:grpSpPr>
          <a:xfrm>
            <a:off x="7595548" y="249492"/>
            <a:ext cx="1294116" cy="199800"/>
            <a:chOff x="4067175" y="114301"/>
            <a:chExt cx="3630613" cy="560388"/>
          </a:xfrm>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solidFill>
              <a:srgbClr val="928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17" name="(c)" hidden="1"/>
          <p:cNvSpPr txBox="1"/>
          <p:nvPr userDrawn="1"/>
        </p:nvSpPr>
        <p:spPr>
          <a:xfrm>
            <a:off x="8971478" y="5168847"/>
            <a:ext cx="165110" cy="23083"/>
          </a:xfrm>
          <a:prstGeom prst="rect">
            <a:avLst/>
          </a:prstGeom>
          <a:noFill/>
        </p:spPr>
        <p:txBody>
          <a:bodyPr wrap="none" lIns="0" tIns="0" rIns="0" bIns="0" rtlCol="0">
            <a:spAutoFit/>
          </a:bodyPr>
          <a:lstStyle/>
          <a:p>
            <a:pPr algn="r"/>
            <a:r>
              <a:rPr lang="fi-FI" sz="150" dirty="0">
                <a:solidFill>
                  <a:schemeClr val="bg1"/>
                </a:solidFill>
                <a:latin typeface="+mn-lt"/>
              </a:rPr>
              <a:t>©grow. for</a:t>
            </a:r>
            <a:r>
              <a:rPr lang="fi-FI" sz="150" baseline="0" dirty="0">
                <a:solidFill>
                  <a:schemeClr val="bg1"/>
                </a:solidFill>
                <a:latin typeface="+mn-lt"/>
              </a:rPr>
              <a:t> aalto ee</a:t>
            </a:r>
            <a:endParaRPr lang="en-GB" sz="150" dirty="0" err="1">
              <a:solidFill>
                <a:schemeClr val="bg1"/>
              </a:solidFill>
              <a:latin typeface="+mn-lt"/>
            </a:endParaRPr>
          </a:p>
        </p:txBody>
      </p:sp>
      <p:pic>
        <p:nvPicPr>
          <p:cNvPr id="18" name="(logo)" descr="Z:\GRW (grow)\logot\copyright_grow.png" hidden="1"/>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0" y="-27000"/>
            <a:ext cx="45184" cy="1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17370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Lst>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hf hdr="0" dt="0"/>
  <p:txStyles>
    <p:titleStyle>
      <a:lvl1pPr algn="l" defTabSz="685617" rtl="0" eaLnBrk="1" latinLnBrk="0" hangingPunct="1">
        <a:lnSpc>
          <a:spcPct val="90000"/>
        </a:lnSpc>
        <a:spcBef>
          <a:spcPct val="0"/>
        </a:spcBef>
        <a:buNone/>
        <a:defRPr sz="3299" b="1" kern="1200" spc="-22" baseline="0">
          <a:solidFill>
            <a:schemeClr val="bg1"/>
          </a:solidFill>
          <a:latin typeface="+mj-lt"/>
          <a:ea typeface="+mj-ea"/>
          <a:cs typeface="+mj-cs"/>
        </a:defRPr>
      </a:lvl1pPr>
    </p:titleStyle>
    <p:bodyStyle>
      <a:lvl1pPr marL="199972" indent="-199972" algn="l" defTabSz="685617" rtl="0" eaLnBrk="1" latinLnBrk="0" hangingPunct="1">
        <a:spcBef>
          <a:spcPts val="0"/>
        </a:spcBef>
        <a:spcAft>
          <a:spcPts val="450"/>
        </a:spcAft>
        <a:buFont typeface="Arial" pitchFamily="34" charset="0"/>
        <a:buChar char="•"/>
        <a:defRPr sz="1500" kern="1200">
          <a:solidFill>
            <a:schemeClr val="tx1"/>
          </a:solidFill>
          <a:latin typeface="+mn-lt"/>
          <a:ea typeface="+mn-ea"/>
          <a:cs typeface="+mn-cs"/>
        </a:defRPr>
      </a:lvl1pPr>
      <a:lvl2pPr marL="404705" indent="-204733" algn="l" defTabSz="685617" rtl="0" eaLnBrk="1" latinLnBrk="0" hangingPunct="1">
        <a:spcBef>
          <a:spcPts val="0"/>
        </a:spcBef>
        <a:spcAft>
          <a:spcPts val="450"/>
        </a:spcAft>
        <a:buFont typeface="Arial" pitchFamily="34" charset="0"/>
        <a:buChar char="–"/>
        <a:defRPr sz="1350" kern="1200">
          <a:solidFill>
            <a:schemeClr val="tx1"/>
          </a:solidFill>
          <a:latin typeface="+mn-lt"/>
          <a:ea typeface="+mn-ea"/>
          <a:cs typeface="+mn-cs"/>
        </a:defRPr>
      </a:lvl2pPr>
      <a:lvl3pPr marL="604676" indent="-199972" algn="l" defTabSz="685617" rtl="0" eaLnBrk="1" latinLnBrk="0" hangingPunct="1">
        <a:spcBef>
          <a:spcPts val="0"/>
        </a:spcBef>
        <a:spcAft>
          <a:spcPts val="450"/>
        </a:spcAft>
        <a:buFont typeface="Arial" pitchFamily="34" charset="0"/>
        <a:buChar char="•"/>
        <a:defRPr sz="1200" kern="1200">
          <a:solidFill>
            <a:schemeClr val="tx1"/>
          </a:solidFill>
          <a:latin typeface="+mn-lt"/>
          <a:ea typeface="+mn-ea"/>
          <a:cs typeface="+mn-cs"/>
        </a:defRPr>
      </a:lvl3pPr>
      <a:lvl4pPr marL="803458" indent="-198782" algn="l" defTabSz="685617"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4pPr>
      <a:lvl5pPr marL="1009381" indent="-205924" algn="l" defTabSz="685617"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5pPr>
      <a:lvl6pPr marL="1209352" indent="-19997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6pPr>
      <a:lvl7pPr marL="1408134" indent="-19878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7pPr>
      <a:lvl8pPr marL="1614057" indent="-205924"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8pPr>
      <a:lvl9pPr marL="1814029" indent="-19997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9pPr>
    </p:bodyStyle>
    <p:otherStyle>
      <a:defPPr>
        <a:defRPr lang="fi-FI"/>
      </a:defPPr>
      <a:lvl1pPr marL="0" algn="l" defTabSz="685617" rtl="0" eaLnBrk="1" latinLnBrk="0" hangingPunct="1">
        <a:defRPr sz="1350" kern="1200">
          <a:solidFill>
            <a:schemeClr val="tx1"/>
          </a:solidFill>
          <a:latin typeface="+mn-lt"/>
          <a:ea typeface="+mn-ea"/>
          <a:cs typeface="+mn-cs"/>
        </a:defRPr>
      </a:lvl1pPr>
      <a:lvl2pPr marL="342809" algn="l" defTabSz="685617" rtl="0" eaLnBrk="1" latinLnBrk="0" hangingPunct="1">
        <a:defRPr sz="1350" kern="1200">
          <a:solidFill>
            <a:schemeClr val="tx1"/>
          </a:solidFill>
          <a:latin typeface="+mn-lt"/>
          <a:ea typeface="+mn-ea"/>
          <a:cs typeface="+mn-cs"/>
        </a:defRPr>
      </a:lvl2pPr>
      <a:lvl3pPr marL="685617" algn="l" defTabSz="685617" rtl="0" eaLnBrk="1" latinLnBrk="0" hangingPunct="1">
        <a:defRPr sz="1350" kern="1200">
          <a:solidFill>
            <a:schemeClr val="tx1"/>
          </a:solidFill>
          <a:latin typeface="+mn-lt"/>
          <a:ea typeface="+mn-ea"/>
          <a:cs typeface="+mn-cs"/>
        </a:defRPr>
      </a:lvl3pPr>
      <a:lvl4pPr marL="1028426" algn="l" defTabSz="685617" rtl="0" eaLnBrk="1" latinLnBrk="0" hangingPunct="1">
        <a:defRPr sz="1350" kern="1200">
          <a:solidFill>
            <a:schemeClr val="tx1"/>
          </a:solidFill>
          <a:latin typeface="+mn-lt"/>
          <a:ea typeface="+mn-ea"/>
          <a:cs typeface="+mn-cs"/>
        </a:defRPr>
      </a:lvl4pPr>
      <a:lvl5pPr marL="1371234" algn="l" defTabSz="685617" rtl="0" eaLnBrk="1" latinLnBrk="0" hangingPunct="1">
        <a:defRPr sz="1350" kern="1200">
          <a:solidFill>
            <a:schemeClr val="tx1"/>
          </a:solidFill>
          <a:latin typeface="+mn-lt"/>
          <a:ea typeface="+mn-ea"/>
          <a:cs typeface="+mn-cs"/>
        </a:defRPr>
      </a:lvl5pPr>
      <a:lvl6pPr marL="1714043" algn="l" defTabSz="685617" rtl="0" eaLnBrk="1" latinLnBrk="0" hangingPunct="1">
        <a:defRPr sz="1350" kern="1200">
          <a:solidFill>
            <a:schemeClr val="tx1"/>
          </a:solidFill>
          <a:latin typeface="+mn-lt"/>
          <a:ea typeface="+mn-ea"/>
          <a:cs typeface="+mn-cs"/>
        </a:defRPr>
      </a:lvl6pPr>
      <a:lvl7pPr marL="2056851" algn="l" defTabSz="685617" rtl="0" eaLnBrk="1" latinLnBrk="0" hangingPunct="1">
        <a:defRPr sz="1350" kern="1200">
          <a:solidFill>
            <a:schemeClr val="tx1"/>
          </a:solidFill>
          <a:latin typeface="+mn-lt"/>
          <a:ea typeface="+mn-ea"/>
          <a:cs typeface="+mn-cs"/>
        </a:defRPr>
      </a:lvl7pPr>
      <a:lvl8pPr marL="2399660" algn="l" defTabSz="685617" rtl="0" eaLnBrk="1" latinLnBrk="0" hangingPunct="1">
        <a:defRPr sz="1350" kern="1200">
          <a:solidFill>
            <a:schemeClr val="tx1"/>
          </a:solidFill>
          <a:latin typeface="+mn-lt"/>
          <a:ea typeface="+mn-ea"/>
          <a:cs typeface="+mn-cs"/>
        </a:defRPr>
      </a:lvl8pPr>
      <a:lvl9pPr marL="2742468" algn="l" defTabSz="685617"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4" name="Date Placeholder 3"/>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2" name="Alatunnisteen paikkamerkki 1">
            <a:extLst>
              <a:ext uri="{FF2B5EF4-FFF2-40B4-BE49-F238E27FC236}">
                <a16:creationId xmlns:a16="http://schemas.microsoft.com/office/drawing/2014/main" id="{1C150BC1-EEBC-48B9-AEAE-962A54F46FC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Tree>
    <p:extLst>
      <p:ext uri="{BB962C8B-B14F-4D97-AF65-F5344CB8AC3E}">
        <p14:creationId xmlns:p14="http://schemas.microsoft.com/office/powerpoint/2010/main" val="396441230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Lst>
  <p:hf sldNum="0" hdr="0" ftr="0" dt="0"/>
  <p:txStyles>
    <p:titleStyle>
      <a:lvl1pPr algn="l" defTabSz="685800" rtl="0" eaLnBrk="1" latinLnBrk="0" hangingPunct="1">
        <a:lnSpc>
          <a:spcPct val="90000"/>
        </a:lnSpc>
        <a:spcBef>
          <a:spcPct val="0"/>
        </a:spcBef>
        <a:buNone/>
        <a:defRPr sz="3300" kern="1200" baseline="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1">
          <p15:clr>
            <a:srgbClr val="F26B43"/>
          </p15:clr>
        </p15:guide>
        <p15:guide id="3" orient="horz" pos="32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573882"/>
            <a:ext cx="8729771" cy="602326"/>
          </a:xfrm>
          <a:prstGeom prst="rect">
            <a:avLst/>
          </a:prstGeom>
          <a:solidFill>
            <a:srgbClr val="B1059D"/>
          </a:solidFill>
        </p:spPr>
        <p:txBody>
          <a:bodyPr vert="horz" wrap="square" lIns="540000" tIns="72000" rIns="540000" bIns="72000" rtlCol="0" anchor="t" anchorCtr="0">
            <a:spAutoFit/>
          </a:bodyPr>
          <a:lstStyle/>
          <a:p>
            <a:r>
              <a:rPr lang="en-US" dirty="0"/>
              <a:t>Click to add title</a:t>
            </a:r>
          </a:p>
        </p:txBody>
      </p:sp>
      <p:sp>
        <p:nvSpPr>
          <p:cNvPr id="3" name="Text Placeholder 2"/>
          <p:cNvSpPr>
            <a:spLocks noGrp="1"/>
          </p:cNvSpPr>
          <p:nvPr>
            <p:ph type="body" idx="1"/>
          </p:nvPr>
        </p:nvSpPr>
        <p:spPr>
          <a:xfrm>
            <a:off x="414230" y="1869674"/>
            <a:ext cx="8315541" cy="2538022"/>
          </a:xfrm>
          <a:prstGeom prst="rect">
            <a:avLst/>
          </a:prstGeom>
        </p:spPr>
        <p:txBody>
          <a:bodyPr vert="horz" lIns="36000" tIns="36000" rIns="36000" bIns="3600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p:cNvSpPr>
            <a:spLocks noGrp="1"/>
          </p:cNvSpPr>
          <p:nvPr>
            <p:ph type="dt" sz="half" idx="2"/>
          </p:nvPr>
        </p:nvSpPr>
        <p:spPr>
          <a:xfrm>
            <a:off x="252347" y="4785997"/>
            <a:ext cx="1404572" cy="162018"/>
          </a:xfrm>
          <a:prstGeom prst="rect">
            <a:avLst/>
          </a:prstGeom>
        </p:spPr>
        <p:txBody>
          <a:bodyPr vert="horz" lIns="36000" tIns="36000" rIns="36000" bIns="36000" rtlCol="0" anchor="ctr">
            <a:noAutofit/>
          </a:bodyPr>
          <a:lstStyle>
            <a:lvl1pPr algn="l">
              <a:defRPr sz="750">
                <a:solidFill>
                  <a:srgbClr val="B3B2B2"/>
                </a:solidFill>
              </a:defRPr>
            </a:lvl1pPr>
          </a:lstStyle>
          <a:p>
            <a:fld id="{84266EE4-B32D-421F-BB25-BEBAFA688870}" type="datetime1">
              <a:rPr lang="fi-FI" smtClean="0"/>
              <a:t>6.11.2023</a:t>
            </a:fld>
            <a:endParaRPr lang="en-US" dirty="0"/>
          </a:p>
        </p:txBody>
      </p:sp>
      <p:sp>
        <p:nvSpPr>
          <p:cNvPr id="5" name="Footer Placeholder 4"/>
          <p:cNvSpPr>
            <a:spLocks noGrp="1"/>
          </p:cNvSpPr>
          <p:nvPr>
            <p:ph type="ftr" sz="quarter" idx="3"/>
          </p:nvPr>
        </p:nvSpPr>
        <p:spPr>
          <a:xfrm>
            <a:off x="1656919" y="4785998"/>
            <a:ext cx="5830163" cy="165832"/>
          </a:xfrm>
          <a:prstGeom prst="rect">
            <a:avLst/>
          </a:prstGeom>
        </p:spPr>
        <p:txBody>
          <a:bodyPr vert="horz" lIns="36000" tIns="36000" rIns="36000" bIns="36000" rtlCol="0" anchor="ctr">
            <a:noAutofit/>
          </a:bodyPr>
          <a:lstStyle>
            <a:lvl1pPr algn="ctr">
              <a:defRPr sz="750">
                <a:solidFill>
                  <a:srgbClr val="B3B2B2"/>
                </a:solidFill>
              </a:defRPr>
            </a:lvl1pPr>
          </a:lstStyle>
          <a:p>
            <a:r>
              <a:rPr lang="en-US" dirty="0"/>
              <a:t>© Aalto University Executive Education</a:t>
            </a:r>
          </a:p>
        </p:txBody>
      </p:sp>
      <p:sp>
        <p:nvSpPr>
          <p:cNvPr id="6" name="Slide Number Placeholder 5"/>
          <p:cNvSpPr>
            <a:spLocks noGrp="1"/>
          </p:cNvSpPr>
          <p:nvPr>
            <p:ph type="sldNum" sz="quarter" idx="4"/>
          </p:nvPr>
        </p:nvSpPr>
        <p:spPr>
          <a:xfrm>
            <a:off x="7487082" y="4515967"/>
            <a:ext cx="1404273" cy="432048"/>
          </a:xfrm>
          <a:prstGeom prst="rect">
            <a:avLst/>
          </a:prstGeom>
        </p:spPr>
        <p:txBody>
          <a:bodyPr vert="horz" lIns="36000" tIns="36000" rIns="36000" bIns="36000" rtlCol="0" anchor="ctr">
            <a:noAutofit/>
          </a:bodyPr>
          <a:lstStyle>
            <a:lvl1pPr algn="r">
              <a:defRPr sz="3599" b="1">
                <a:solidFill>
                  <a:srgbClr val="B3B2B2"/>
                </a:solidFill>
              </a:defRPr>
            </a:lvl1pPr>
          </a:lstStyle>
          <a:p>
            <a:fld id="{FCCA222D-FCF7-48C1-A274-EBDDEF75DC66}" type="slidenum">
              <a:rPr lang="en-US" smtClean="0"/>
              <a:pPr/>
              <a:t>‹#›</a:t>
            </a:fld>
            <a:endParaRPr lang="en-US" dirty="0"/>
          </a:p>
        </p:txBody>
      </p:sp>
      <p:grpSp>
        <p:nvGrpSpPr>
          <p:cNvPr id="12" name="Group 11"/>
          <p:cNvGrpSpPr>
            <a:grpSpLocks noChangeAspect="1"/>
          </p:cNvGrpSpPr>
          <p:nvPr/>
        </p:nvGrpSpPr>
        <p:grpSpPr>
          <a:xfrm>
            <a:off x="7595548" y="249492"/>
            <a:ext cx="1294117" cy="199800"/>
            <a:chOff x="4067175" y="114301"/>
            <a:chExt cx="3630613" cy="560388"/>
          </a:xfrm>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solidFill>
              <a:srgbClr val="928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17" name="(c)" hidden="1"/>
          <p:cNvSpPr txBox="1"/>
          <p:nvPr userDrawn="1"/>
        </p:nvSpPr>
        <p:spPr>
          <a:xfrm>
            <a:off x="8971479" y="5168847"/>
            <a:ext cx="165110" cy="23083"/>
          </a:xfrm>
          <a:prstGeom prst="rect">
            <a:avLst/>
          </a:prstGeom>
          <a:noFill/>
        </p:spPr>
        <p:txBody>
          <a:bodyPr wrap="none" lIns="0" tIns="0" rIns="0" bIns="0" rtlCol="0">
            <a:spAutoFit/>
          </a:bodyPr>
          <a:lstStyle/>
          <a:p>
            <a:pPr algn="r"/>
            <a:r>
              <a:rPr lang="fi-FI" sz="150" dirty="0">
                <a:solidFill>
                  <a:schemeClr val="bg1"/>
                </a:solidFill>
                <a:latin typeface="+mn-lt"/>
              </a:rPr>
              <a:t>©grow. for</a:t>
            </a:r>
            <a:r>
              <a:rPr lang="fi-FI" sz="150" baseline="0" dirty="0">
                <a:solidFill>
                  <a:schemeClr val="bg1"/>
                </a:solidFill>
                <a:latin typeface="+mn-lt"/>
              </a:rPr>
              <a:t> aalto ee</a:t>
            </a:r>
            <a:endParaRPr lang="en-GB" sz="150" dirty="0" err="1">
              <a:solidFill>
                <a:schemeClr val="bg1"/>
              </a:solidFill>
              <a:latin typeface="+mn-lt"/>
            </a:endParaRPr>
          </a:p>
        </p:txBody>
      </p:sp>
      <p:pic>
        <p:nvPicPr>
          <p:cNvPr id="18" name="(logo)" descr="Z:\GRW (grow)\logot\copyright_grow.png" hidden="1"/>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 y="-27000"/>
            <a:ext cx="45184" cy="1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7060904"/>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 id="2147483890" r:id="rId22"/>
    <p:sldLayoutId id="2147483891" r:id="rId23"/>
    <p:sldLayoutId id="2147483892" r:id="rId24"/>
    <p:sldLayoutId id="2147483893" r:id="rId25"/>
    <p:sldLayoutId id="2147483894" r:id="rId26"/>
    <p:sldLayoutId id="2147483895" r:id="rId27"/>
    <p:sldLayoutId id="2147483896" r:id="rId28"/>
    <p:sldLayoutId id="2147483897" r:id="rId29"/>
    <p:sldLayoutId id="2147483898" r:id="rId30"/>
    <p:sldLayoutId id="2147483899" r:id="rId31"/>
  </p:sldLayoutIdLst>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hf hdr="0" dt="0"/>
  <p:txStyles>
    <p:titleStyle>
      <a:lvl1pPr algn="l" defTabSz="685595" rtl="0" eaLnBrk="1" latinLnBrk="0" hangingPunct="1">
        <a:lnSpc>
          <a:spcPct val="90000"/>
        </a:lnSpc>
        <a:spcBef>
          <a:spcPct val="0"/>
        </a:spcBef>
        <a:buNone/>
        <a:defRPr sz="3299" b="1" kern="1200" spc="-23" baseline="0">
          <a:solidFill>
            <a:schemeClr val="bg1"/>
          </a:solidFill>
          <a:latin typeface="+mj-lt"/>
          <a:ea typeface="+mj-ea"/>
          <a:cs typeface="+mj-cs"/>
        </a:defRPr>
      </a:lvl1pPr>
    </p:titleStyle>
    <p:bodyStyle>
      <a:lvl1pPr marL="199965" indent="-199965" algn="l" defTabSz="685595" rtl="0" eaLnBrk="1" latinLnBrk="0" hangingPunct="1">
        <a:spcBef>
          <a:spcPts val="0"/>
        </a:spcBef>
        <a:spcAft>
          <a:spcPts val="450"/>
        </a:spcAft>
        <a:buFont typeface="Arial" pitchFamily="34" charset="0"/>
        <a:buChar char="•"/>
        <a:defRPr sz="1499" kern="1200">
          <a:solidFill>
            <a:schemeClr val="tx1"/>
          </a:solidFill>
          <a:latin typeface="+mn-lt"/>
          <a:ea typeface="+mn-ea"/>
          <a:cs typeface="+mn-cs"/>
        </a:defRPr>
      </a:lvl1pPr>
      <a:lvl2pPr marL="404691" indent="-204726" algn="l" defTabSz="685595" rtl="0" eaLnBrk="1" latinLnBrk="0" hangingPunct="1">
        <a:spcBef>
          <a:spcPts val="0"/>
        </a:spcBef>
        <a:spcAft>
          <a:spcPts val="450"/>
        </a:spcAft>
        <a:buFont typeface="Arial" pitchFamily="34" charset="0"/>
        <a:buChar char="–"/>
        <a:defRPr sz="1349" kern="1200">
          <a:solidFill>
            <a:schemeClr val="tx1"/>
          </a:solidFill>
          <a:latin typeface="+mn-lt"/>
          <a:ea typeface="+mn-ea"/>
          <a:cs typeface="+mn-cs"/>
        </a:defRPr>
      </a:lvl2pPr>
      <a:lvl3pPr marL="604656" indent="-199965" algn="l" defTabSz="685595" rtl="0" eaLnBrk="1" latinLnBrk="0" hangingPunct="1">
        <a:spcBef>
          <a:spcPts val="0"/>
        </a:spcBef>
        <a:spcAft>
          <a:spcPts val="450"/>
        </a:spcAft>
        <a:buFont typeface="Arial" pitchFamily="34" charset="0"/>
        <a:buChar char="•"/>
        <a:defRPr sz="1200" kern="1200">
          <a:solidFill>
            <a:schemeClr val="tx1"/>
          </a:solidFill>
          <a:latin typeface="+mn-lt"/>
          <a:ea typeface="+mn-ea"/>
          <a:cs typeface="+mn-cs"/>
        </a:defRPr>
      </a:lvl3pPr>
      <a:lvl4pPr marL="803432" indent="-198775" algn="l" defTabSz="685595"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4pPr>
      <a:lvl5pPr marL="1009347" indent="-205917" algn="l" defTabSz="685595"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5pPr>
      <a:lvl6pPr marL="1209312" indent="-199965"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6pPr>
      <a:lvl7pPr marL="1408088" indent="-198775"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7pPr>
      <a:lvl8pPr marL="1614003" indent="-205917"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8pPr>
      <a:lvl9pPr marL="1813968" indent="-199965"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9pPr>
    </p:bodyStyle>
    <p:otherStyle>
      <a:defPPr>
        <a:defRPr lang="fi-FI"/>
      </a:defPPr>
      <a:lvl1pPr marL="0" algn="l" defTabSz="685595" rtl="0" eaLnBrk="1" latinLnBrk="0" hangingPunct="1">
        <a:defRPr sz="1349" kern="1200">
          <a:solidFill>
            <a:schemeClr val="tx1"/>
          </a:solidFill>
          <a:latin typeface="+mn-lt"/>
          <a:ea typeface="+mn-ea"/>
          <a:cs typeface="+mn-cs"/>
        </a:defRPr>
      </a:lvl1pPr>
      <a:lvl2pPr marL="342797" algn="l" defTabSz="685595" rtl="0" eaLnBrk="1" latinLnBrk="0" hangingPunct="1">
        <a:defRPr sz="1349" kern="1200">
          <a:solidFill>
            <a:schemeClr val="tx1"/>
          </a:solidFill>
          <a:latin typeface="+mn-lt"/>
          <a:ea typeface="+mn-ea"/>
          <a:cs typeface="+mn-cs"/>
        </a:defRPr>
      </a:lvl2pPr>
      <a:lvl3pPr marL="685595" algn="l" defTabSz="685595" rtl="0" eaLnBrk="1" latinLnBrk="0" hangingPunct="1">
        <a:defRPr sz="1349" kern="1200">
          <a:solidFill>
            <a:schemeClr val="tx1"/>
          </a:solidFill>
          <a:latin typeface="+mn-lt"/>
          <a:ea typeface="+mn-ea"/>
          <a:cs typeface="+mn-cs"/>
        </a:defRPr>
      </a:lvl3pPr>
      <a:lvl4pPr marL="1028392" algn="l" defTabSz="685595" rtl="0" eaLnBrk="1" latinLnBrk="0" hangingPunct="1">
        <a:defRPr sz="1349" kern="1200">
          <a:solidFill>
            <a:schemeClr val="tx1"/>
          </a:solidFill>
          <a:latin typeface="+mn-lt"/>
          <a:ea typeface="+mn-ea"/>
          <a:cs typeface="+mn-cs"/>
        </a:defRPr>
      </a:lvl4pPr>
      <a:lvl5pPr marL="1371188" algn="l" defTabSz="685595" rtl="0" eaLnBrk="1" latinLnBrk="0" hangingPunct="1">
        <a:defRPr sz="1349" kern="1200">
          <a:solidFill>
            <a:schemeClr val="tx1"/>
          </a:solidFill>
          <a:latin typeface="+mn-lt"/>
          <a:ea typeface="+mn-ea"/>
          <a:cs typeface="+mn-cs"/>
        </a:defRPr>
      </a:lvl5pPr>
      <a:lvl6pPr marL="1713986" algn="l" defTabSz="685595" rtl="0" eaLnBrk="1" latinLnBrk="0" hangingPunct="1">
        <a:defRPr sz="1349" kern="1200">
          <a:solidFill>
            <a:schemeClr val="tx1"/>
          </a:solidFill>
          <a:latin typeface="+mn-lt"/>
          <a:ea typeface="+mn-ea"/>
          <a:cs typeface="+mn-cs"/>
        </a:defRPr>
      </a:lvl6pPr>
      <a:lvl7pPr marL="2056783" algn="l" defTabSz="685595" rtl="0" eaLnBrk="1" latinLnBrk="0" hangingPunct="1">
        <a:defRPr sz="1349" kern="1200">
          <a:solidFill>
            <a:schemeClr val="tx1"/>
          </a:solidFill>
          <a:latin typeface="+mn-lt"/>
          <a:ea typeface="+mn-ea"/>
          <a:cs typeface="+mn-cs"/>
        </a:defRPr>
      </a:lvl7pPr>
      <a:lvl8pPr marL="2399580" algn="l" defTabSz="685595" rtl="0" eaLnBrk="1" latinLnBrk="0" hangingPunct="1">
        <a:defRPr sz="1349" kern="1200">
          <a:solidFill>
            <a:schemeClr val="tx1"/>
          </a:solidFill>
          <a:latin typeface="+mn-lt"/>
          <a:ea typeface="+mn-ea"/>
          <a:cs typeface="+mn-cs"/>
        </a:defRPr>
      </a:lvl8pPr>
      <a:lvl9pPr marL="2742377" algn="l" defTabSz="685595" rtl="0" eaLnBrk="1" latinLnBrk="0" hangingPunct="1">
        <a:defRPr sz="134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6410226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385586" y="273844"/>
            <a:ext cx="8305089" cy="811283"/>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381239" y="1245726"/>
            <a:ext cx="8309436" cy="118495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6885896" y="4974536"/>
            <a:ext cx="2057400" cy="140674"/>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2092919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p:hf hdr="0" ftr="0" dt="0"/>
  <p:txStyles>
    <p:titleStyle>
      <a:lvl1pPr algn="l" defTabSz="685783" rtl="0" eaLnBrk="1" latinLnBrk="0" hangingPunct="1">
        <a:lnSpc>
          <a:spcPct val="90000"/>
        </a:lnSpc>
        <a:spcBef>
          <a:spcPct val="0"/>
        </a:spcBef>
        <a:buNone/>
        <a:defRPr sz="15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685783" rtl="0" eaLnBrk="1" latinLnBrk="0" hangingPunct="1">
        <a:lnSpc>
          <a:spcPct val="90000"/>
        </a:lnSpc>
        <a:spcBef>
          <a:spcPts val="750"/>
        </a:spcBef>
        <a:buFont typeface="Arial" panose="020B0604020202020204" pitchFamily="34" charset="0"/>
        <a:buNone/>
        <a:defRPr sz="1200" kern="1200">
          <a:solidFill>
            <a:srgbClr val="002060"/>
          </a:solidFill>
          <a:latin typeface="Arial" panose="020B0604020202020204" pitchFamily="34" charset="0"/>
          <a:ea typeface="+mn-ea"/>
          <a:cs typeface="Arial" panose="020B0604020202020204" pitchFamily="34" charset="0"/>
        </a:defRPr>
      </a:lvl1pPr>
      <a:lvl2pPr marL="300031" indent="-126203"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2pPr>
      <a:lvl3pPr marL="685783" indent="-129776"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3pPr>
      <a:lvl4pPr marL="1115588" indent="-128585"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4pPr>
      <a:lvl5pPr marL="1501342" indent="-128585"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66"/>
            <a:ext cx="3619500" cy="119063"/>
          </a:xfrm>
          <a:prstGeom prst="rect">
            <a:avLst/>
          </a:prstGeom>
        </p:spPr>
        <p:txBody>
          <a:bodyPr vert="horz" lIns="91436" tIns="45718" rIns="0" bIns="45718" rtlCol="0" anchor="ctr"/>
          <a:lstStyle>
            <a:lvl1pPr algn="r">
              <a:defRPr sz="810">
                <a:solidFill>
                  <a:schemeClr val="tx1">
                    <a:tint val="75000"/>
                  </a:schemeClr>
                </a:solidFill>
              </a:defRPr>
            </a:lvl1pPr>
          </a:lstStyle>
          <a:p>
            <a:pPr>
              <a:defRPr/>
            </a:pPr>
            <a:endParaRPr lang="fi-FI"/>
          </a:p>
        </p:txBody>
      </p:sp>
      <p:sp>
        <p:nvSpPr>
          <p:cNvPr id="8" name="Date Placeholder 7"/>
          <p:cNvSpPr>
            <a:spLocks noGrp="1"/>
          </p:cNvSpPr>
          <p:nvPr>
            <p:ph type="dt" sz="half" idx="2"/>
          </p:nvPr>
        </p:nvSpPr>
        <p:spPr>
          <a:xfrm>
            <a:off x="5056956" y="4635029"/>
            <a:ext cx="3619500" cy="139304"/>
          </a:xfrm>
          <a:prstGeom prst="rect">
            <a:avLst/>
          </a:prstGeom>
        </p:spPr>
        <p:txBody>
          <a:bodyPr vert="horz" lIns="91436" tIns="45718" rIns="0" bIns="45718" rtlCol="0" anchor="ctr"/>
          <a:lstStyle>
            <a:lvl1pPr algn="r">
              <a:defRPr sz="810">
                <a:solidFill>
                  <a:schemeClr val="tx1">
                    <a:tint val="75000"/>
                  </a:schemeClr>
                </a:solidFill>
              </a:defRPr>
            </a:lvl1pPr>
          </a:lstStyle>
          <a:p>
            <a:pPr>
              <a:defRPr/>
            </a:pPr>
            <a:fld id="{ED520173-7D7F-4FBC-A781-33E654CAA422}" type="datetime1">
              <a:rPr lang="fi-FI" smtClean="0"/>
              <a:t>6.11.2023</a:t>
            </a:fld>
            <a:endParaRPr lang="fi-FI"/>
          </a:p>
        </p:txBody>
      </p:sp>
      <p:sp>
        <p:nvSpPr>
          <p:cNvPr id="9" name="Slide Number Placeholder 8"/>
          <p:cNvSpPr>
            <a:spLocks noGrp="1"/>
          </p:cNvSpPr>
          <p:nvPr>
            <p:ph type="sldNum" sz="quarter" idx="4"/>
          </p:nvPr>
        </p:nvSpPr>
        <p:spPr>
          <a:xfrm>
            <a:off x="5056956" y="4774333"/>
            <a:ext cx="3619500" cy="121444"/>
          </a:xfrm>
          <a:prstGeom prst="rect">
            <a:avLst/>
          </a:prstGeom>
        </p:spPr>
        <p:txBody>
          <a:bodyPr vert="horz" lIns="91436" tIns="45718" rIns="0" bIns="45718" rtlCol="0" anchor="ctr"/>
          <a:lstStyle>
            <a:lvl1pPr algn="r">
              <a:defRPr sz="810">
                <a:solidFill>
                  <a:schemeClr val="tx1">
                    <a:tint val="75000"/>
                  </a:schemeClr>
                </a:solidFill>
              </a:defRPr>
            </a:lvl1pPr>
          </a:lstStyle>
          <a:p>
            <a:pPr>
              <a:defRPr/>
            </a:pPr>
            <a:fld id="{805BCDE0-955E-2A43-932A-046BF80DB991}" type="slidenum">
              <a:rPr lang="fi-FI"/>
              <a:pPr>
                <a:defRPr/>
              </a:pPr>
              <a:t>‹#›</a:t>
            </a:fld>
            <a:endParaRPr lang="fi-FI"/>
          </a:p>
        </p:txBody>
      </p:sp>
    </p:spTree>
    <p:extLst>
      <p:ext uri="{BB962C8B-B14F-4D97-AF65-F5344CB8AC3E}">
        <p14:creationId xmlns:p14="http://schemas.microsoft.com/office/powerpoint/2010/main" val="3663085057"/>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Lst>
  <p:hf hdr="0" ftr="0"/>
  <p:txStyles>
    <p:titleStyle>
      <a:lvl1pPr algn="ctr" defTabSz="411463" rtl="0" eaLnBrk="1" fontAlgn="base" hangingPunct="1">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463"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2928"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391"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5854"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597" indent="-308597" algn="l" defTabSz="411463" rtl="0" eaLnBrk="1" fontAlgn="base" hangingPunct="1">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628" indent="-257165" algn="l" defTabSz="411463" rtl="0" eaLnBrk="1" fontAlgn="base" hangingPunct="1">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659" indent="-205732" algn="l" defTabSz="411463" rtl="0" eaLnBrk="1" fontAlgn="base" hangingPunct="1">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122" indent="-205732" algn="l" defTabSz="411463"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1586" indent="-205732" algn="l" defTabSz="411463" rtl="0" eaLnBrk="1" fontAlgn="base" hangingPunct="1">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049" indent="-205732" algn="l" defTabSz="411463" rtl="0" eaLnBrk="1" latinLnBrk="0" hangingPunct="1">
        <a:spcBef>
          <a:spcPct val="20000"/>
        </a:spcBef>
        <a:buFont typeface="Arial"/>
        <a:buChar char="•"/>
        <a:defRPr sz="1800" kern="1200">
          <a:solidFill>
            <a:schemeClr val="tx1"/>
          </a:solidFill>
          <a:latin typeface="+mn-lt"/>
          <a:ea typeface="+mn-ea"/>
          <a:cs typeface="+mn-cs"/>
        </a:defRPr>
      </a:lvl6pPr>
      <a:lvl7pPr marL="2674513" indent="-205732" algn="l" defTabSz="411463" rtl="0" eaLnBrk="1" latinLnBrk="0" hangingPunct="1">
        <a:spcBef>
          <a:spcPct val="20000"/>
        </a:spcBef>
        <a:buFont typeface="Arial"/>
        <a:buChar char="•"/>
        <a:defRPr sz="1800" kern="1200">
          <a:solidFill>
            <a:schemeClr val="tx1"/>
          </a:solidFill>
          <a:latin typeface="+mn-lt"/>
          <a:ea typeface="+mn-ea"/>
          <a:cs typeface="+mn-cs"/>
        </a:defRPr>
      </a:lvl7pPr>
      <a:lvl8pPr marL="3085977" indent="-205732" algn="l" defTabSz="411463" rtl="0" eaLnBrk="1" latinLnBrk="0" hangingPunct="1">
        <a:spcBef>
          <a:spcPct val="20000"/>
        </a:spcBef>
        <a:buFont typeface="Arial"/>
        <a:buChar char="•"/>
        <a:defRPr sz="1800" kern="1200">
          <a:solidFill>
            <a:schemeClr val="tx1"/>
          </a:solidFill>
          <a:latin typeface="+mn-lt"/>
          <a:ea typeface="+mn-ea"/>
          <a:cs typeface="+mn-cs"/>
        </a:defRPr>
      </a:lvl8pPr>
      <a:lvl9pPr marL="3497440" indent="-205732" algn="l" defTabSz="411463"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63" rtl="0" eaLnBrk="1" latinLnBrk="0" hangingPunct="1">
        <a:defRPr sz="1620" kern="1200">
          <a:solidFill>
            <a:schemeClr val="tx1"/>
          </a:solidFill>
          <a:latin typeface="+mn-lt"/>
          <a:ea typeface="+mn-ea"/>
          <a:cs typeface="+mn-cs"/>
        </a:defRPr>
      </a:lvl1pPr>
      <a:lvl2pPr marL="411463" algn="l" defTabSz="411463" rtl="0" eaLnBrk="1" latinLnBrk="0" hangingPunct="1">
        <a:defRPr sz="1620" kern="1200">
          <a:solidFill>
            <a:schemeClr val="tx1"/>
          </a:solidFill>
          <a:latin typeface="+mn-lt"/>
          <a:ea typeface="+mn-ea"/>
          <a:cs typeface="+mn-cs"/>
        </a:defRPr>
      </a:lvl2pPr>
      <a:lvl3pPr marL="822928" algn="l" defTabSz="411463" rtl="0" eaLnBrk="1" latinLnBrk="0" hangingPunct="1">
        <a:defRPr sz="1620" kern="1200">
          <a:solidFill>
            <a:schemeClr val="tx1"/>
          </a:solidFill>
          <a:latin typeface="+mn-lt"/>
          <a:ea typeface="+mn-ea"/>
          <a:cs typeface="+mn-cs"/>
        </a:defRPr>
      </a:lvl3pPr>
      <a:lvl4pPr marL="1234391" algn="l" defTabSz="411463" rtl="0" eaLnBrk="1" latinLnBrk="0" hangingPunct="1">
        <a:defRPr sz="1620" kern="1200">
          <a:solidFill>
            <a:schemeClr val="tx1"/>
          </a:solidFill>
          <a:latin typeface="+mn-lt"/>
          <a:ea typeface="+mn-ea"/>
          <a:cs typeface="+mn-cs"/>
        </a:defRPr>
      </a:lvl4pPr>
      <a:lvl5pPr marL="1645854" algn="l" defTabSz="411463" rtl="0" eaLnBrk="1" latinLnBrk="0" hangingPunct="1">
        <a:defRPr sz="1620" kern="1200">
          <a:solidFill>
            <a:schemeClr val="tx1"/>
          </a:solidFill>
          <a:latin typeface="+mn-lt"/>
          <a:ea typeface="+mn-ea"/>
          <a:cs typeface="+mn-cs"/>
        </a:defRPr>
      </a:lvl5pPr>
      <a:lvl6pPr marL="2057318" algn="l" defTabSz="411463" rtl="0" eaLnBrk="1" latinLnBrk="0" hangingPunct="1">
        <a:defRPr sz="1620" kern="1200">
          <a:solidFill>
            <a:schemeClr val="tx1"/>
          </a:solidFill>
          <a:latin typeface="+mn-lt"/>
          <a:ea typeface="+mn-ea"/>
          <a:cs typeface="+mn-cs"/>
        </a:defRPr>
      </a:lvl6pPr>
      <a:lvl7pPr marL="2468781" algn="l" defTabSz="411463" rtl="0" eaLnBrk="1" latinLnBrk="0" hangingPunct="1">
        <a:defRPr sz="1620" kern="1200">
          <a:solidFill>
            <a:schemeClr val="tx1"/>
          </a:solidFill>
          <a:latin typeface="+mn-lt"/>
          <a:ea typeface="+mn-ea"/>
          <a:cs typeface="+mn-cs"/>
        </a:defRPr>
      </a:lvl7pPr>
      <a:lvl8pPr marL="2880245" algn="l" defTabSz="411463" rtl="0" eaLnBrk="1" latinLnBrk="0" hangingPunct="1">
        <a:defRPr sz="1620" kern="1200">
          <a:solidFill>
            <a:schemeClr val="tx1"/>
          </a:solidFill>
          <a:latin typeface="+mn-lt"/>
          <a:ea typeface="+mn-ea"/>
          <a:cs typeface="+mn-cs"/>
        </a:defRPr>
      </a:lvl8pPr>
      <a:lvl9pPr marL="3291709" algn="l" defTabSz="411463" rtl="0" eaLnBrk="1" latinLnBrk="0" hangingPunct="1">
        <a:defRPr sz="16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42.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xml"/><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92131C-DD02-4BD5-B58F-D9B69E9678DB}"/>
              </a:ext>
            </a:extLst>
          </p:cNvPr>
          <p:cNvSpPr>
            <a:spLocks noGrp="1"/>
          </p:cNvSpPr>
          <p:nvPr>
            <p:ph type="body" sz="half" idx="11"/>
          </p:nvPr>
        </p:nvSpPr>
        <p:spPr>
          <a:xfrm>
            <a:off x="1010576" y="527561"/>
            <a:ext cx="7948556" cy="901982"/>
          </a:xfrm>
        </p:spPr>
        <p:txBody>
          <a:bodyPr/>
          <a:lstStyle/>
          <a:p>
            <a:r>
              <a:rPr lang="en-US" sz="2400" dirty="0">
                <a:solidFill>
                  <a:schemeClr val="tx2">
                    <a:lumMod val="20000"/>
                    <a:lumOff val="80000"/>
                  </a:schemeClr>
                </a:solidFill>
              </a:rPr>
              <a:t>CEMS</a:t>
            </a:r>
          </a:p>
          <a:p>
            <a:r>
              <a:rPr lang="en-US" sz="2400" dirty="0"/>
              <a:t>Global Strategy</a:t>
            </a:r>
            <a:endParaRPr lang="en-FI" sz="2400" dirty="0"/>
          </a:p>
        </p:txBody>
      </p:sp>
      <p:sp>
        <p:nvSpPr>
          <p:cNvPr id="3" name="Text Placeholder 2">
            <a:extLst>
              <a:ext uri="{FF2B5EF4-FFF2-40B4-BE49-F238E27FC236}">
                <a16:creationId xmlns:a16="http://schemas.microsoft.com/office/drawing/2014/main" id="{8A46F9C8-1964-44D9-B1CD-B6CEC744D5F3}"/>
              </a:ext>
            </a:extLst>
          </p:cNvPr>
          <p:cNvSpPr>
            <a:spLocks noGrp="1"/>
          </p:cNvSpPr>
          <p:nvPr>
            <p:ph type="body" sz="half" idx="2"/>
          </p:nvPr>
        </p:nvSpPr>
        <p:spPr>
          <a:xfrm>
            <a:off x="1010576" y="2112693"/>
            <a:ext cx="7998597" cy="1153021"/>
          </a:xfrm>
        </p:spPr>
        <p:txBody>
          <a:bodyPr/>
          <a:lstStyle/>
          <a:p>
            <a:r>
              <a:rPr lang="en-US" dirty="0">
                <a:solidFill>
                  <a:schemeClr val="bg2">
                    <a:lumMod val="60000"/>
                    <a:lumOff val="40000"/>
                  </a:schemeClr>
                </a:solidFill>
              </a:rPr>
              <a:t>Session 6</a:t>
            </a:r>
          </a:p>
          <a:p>
            <a:r>
              <a:rPr lang="en-US" i="1" dirty="0"/>
              <a:t>CSR, Ethics, and Corruption in Global Strategy</a:t>
            </a:r>
            <a:endParaRPr lang="en-FI" i="1" dirty="0"/>
          </a:p>
        </p:txBody>
      </p:sp>
      <p:sp>
        <p:nvSpPr>
          <p:cNvPr id="4" name="Text Placeholder 3">
            <a:extLst>
              <a:ext uri="{FF2B5EF4-FFF2-40B4-BE49-F238E27FC236}">
                <a16:creationId xmlns:a16="http://schemas.microsoft.com/office/drawing/2014/main" id="{65F52422-E70E-4ECC-A8B5-2921A9E81C26}"/>
              </a:ext>
            </a:extLst>
          </p:cNvPr>
          <p:cNvSpPr>
            <a:spLocks noGrp="1"/>
          </p:cNvSpPr>
          <p:nvPr>
            <p:ph type="body" sz="half" idx="12"/>
          </p:nvPr>
        </p:nvSpPr>
        <p:spPr>
          <a:xfrm>
            <a:off x="6594633" y="4213339"/>
            <a:ext cx="2464025" cy="294419"/>
          </a:xfrm>
        </p:spPr>
        <p:txBody>
          <a:bodyPr/>
          <a:lstStyle/>
          <a:p>
            <a:r>
              <a:rPr lang="en-US" dirty="0"/>
              <a:t>Aleksi Niittymies	</a:t>
            </a:r>
            <a:endParaRPr lang="en-FI" dirty="0"/>
          </a:p>
        </p:txBody>
      </p:sp>
      <p:sp>
        <p:nvSpPr>
          <p:cNvPr id="5" name="Text Placeholder 4">
            <a:extLst>
              <a:ext uri="{FF2B5EF4-FFF2-40B4-BE49-F238E27FC236}">
                <a16:creationId xmlns:a16="http://schemas.microsoft.com/office/drawing/2014/main" id="{14D9E3F0-1051-411B-B4E8-74150CD2A556}"/>
              </a:ext>
            </a:extLst>
          </p:cNvPr>
          <p:cNvSpPr>
            <a:spLocks noGrp="1"/>
          </p:cNvSpPr>
          <p:nvPr>
            <p:ph type="body" sz="half" idx="13"/>
          </p:nvPr>
        </p:nvSpPr>
        <p:spPr>
          <a:xfrm>
            <a:off x="6594633" y="4495328"/>
            <a:ext cx="2464025" cy="294419"/>
          </a:xfrm>
        </p:spPr>
        <p:txBody>
          <a:bodyPr/>
          <a:lstStyle/>
          <a:p>
            <a:r>
              <a:rPr lang="en-US" dirty="0"/>
              <a:t>November 8, 2023</a:t>
            </a:r>
            <a:endParaRPr lang="en-FI" dirty="0"/>
          </a:p>
        </p:txBody>
      </p:sp>
    </p:spTree>
    <p:extLst>
      <p:ext uri="{BB962C8B-B14F-4D97-AF65-F5344CB8AC3E}">
        <p14:creationId xmlns:p14="http://schemas.microsoft.com/office/powerpoint/2010/main" val="40229529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8" y="294871"/>
            <a:ext cx="6913689" cy="657950"/>
          </a:xfrm>
        </p:spPr>
        <p:txBody>
          <a:bodyPr/>
          <a:lstStyle/>
          <a:p>
            <a:r>
              <a:rPr lang="fi-FI" sz="2800" dirty="0" err="1">
                <a:solidFill>
                  <a:schemeClr val="tx2"/>
                </a:solidFill>
              </a:rPr>
              <a:t>What’s</a:t>
            </a:r>
            <a:r>
              <a:rPr lang="fi-FI" sz="2800" dirty="0">
                <a:solidFill>
                  <a:schemeClr val="tx2"/>
                </a:solidFill>
              </a:rPr>
              <a:t> </a:t>
            </a:r>
            <a:r>
              <a:rPr lang="fi-FI" sz="2800" dirty="0" err="1">
                <a:solidFill>
                  <a:schemeClr val="tx2"/>
                </a:solidFill>
              </a:rPr>
              <a:t>wrong</a:t>
            </a:r>
            <a:r>
              <a:rPr lang="fi-FI" sz="2800" dirty="0">
                <a:solidFill>
                  <a:schemeClr val="tx2"/>
                </a:solidFill>
              </a:rPr>
              <a:t> </a:t>
            </a:r>
            <a:r>
              <a:rPr lang="fi-FI" sz="2800" dirty="0" err="1">
                <a:solidFill>
                  <a:schemeClr val="tx2"/>
                </a:solidFill>
              </a:rPr>
              <a:t>with</a:t>
            </a:r>
            <a:r>
              <a:rPr lang="fi-FI" sz="2800" dirty="0">
                <a:solidFill>
                  <a:schemeClr val="tx2"/>
                </a:solidFill>
              </a:rPr>
              <a:t> </a:t>
            </a:r>
            <a:r>
              <a:rPr lang="fi-FI" sz="2800" dirty="0" err="1">
                <a:solidFill>
                  <a:schemeClr val="tx2"/>
                </a:solidFill>
              </a:rPr>
              <a:t>corruption</a:t>
            </a:r>
            <a:r>
              <a:rPr lang="fi-FI" sz="2800" dirty="0">
                <a:solidFill>
                  <a:schemeClr val="tx2"/>
                </a:solidFill>
              </a:rPr>
              <a:t>?</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0</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869823"/>
            <a:ext cx="5043946" cy="2891564"/>
          </a:xfrm>
        </p:spPr>
        <p:txBody>
          <a:bodyPr/>
          <a:lstStyle/>
          <a:p>
            <a:r>
              <a:rPr lang="fi-FI" sz="1600" dirty="0" err="1">
                <a:solidFill>
                  <a:srgbClr val="000000"/>
                </a:solidFill>
              </a:rPr>
              <a:t>Corruption</a:t>
            </a:r>
            <a:r>
              <a:rPr lang="fi-FI" sz="1600" dirty="0">
                <a:solidFill>
                  <a:srgbClr val="000000"/>
                </a:solidFill>
              </a:rPr>
              <a:t> is </a:t>
            </a:r>
            <a:r>
              <a:rPr lang="fi-FI" sz="1600" dirty="0" err="1">
                <a:solidFill>
                  <a:srgbClr val="000000"/>
                </a:solidFill>
              </a:rPr>
              <a:t>mainly</a:t>
            </a:r>
            <a:r>
              <a:rPr lang="fi-FI" sz="1600" dirty="0">
                <a:solidFill>
                  <a:srgbClr val="000000"/>
                </a:solidFill>
              </a:rPr>
              <a:t> </a:t>
            </a:r>
            <a:r>
              <a:rPr lang="fi-FI" sz="1600" dirty="0" err="1">
                <a:solidFill>
                  <a:srgbClr val="000000"/>
                </a:solidFill>
              </a:rPr>
              <a:t>considered</a:t>
            </a:r>
            <a:r>
              <a:rPr lang="fi-FI" sz="1600" dirty="0">
                <a:solidFill>
                  <a:srgbClr val="000000"/>
                </a:solidFill>
              </a:rPr>
              <a:t> </a:t>
            </a:r>
            <a:r>
              <a:rPr lang="fi-FI" sz="1600" dirty="0" err="1">
                <a:solidFill>
                  <a:srgbClr val="000000"/>
                </a:solidFill>
              </a:rPr>
              <a:t>bad</a:t>
            </a:r>
            <a:r>
              <a:rPr lang="fi-FI" sz="1600" dirty="0">
                <a:solidFill>
                  <a:srgbClr val="000000"/>
                </a:solidFill>
              </a:rPr>
              <a:t>, </a:t>
            </a:r>
            <a:r>
              <a:rPr lang="fi-FI" sz="1600" dirty="0" err="1">
                <a:solidFill>
                  <a:srgbClr val="000000"/>
                </a:solidFill>
              </a:rPr>
              <a:t>because</a:t>
            </a:r>
            <a:r>
              <a:rPr lang="fi-FI" sz="1600" dirty="0">
                <a:solidFill>
                  <a:srgbClr val="000000"/>
                </a:solidFill>
              </a:rPr>
              <a:t>...</a:t>
            </a:r>
          </a:p>
          <a:p>
            <a:pPr lvl="1"/>
            <a:r>
              <a:rPr lang="fi-FI" sz="1600" dirty="0" err="1">
                <a:solidFill>
                  <a:srgbClr val="000000"/>
                </a:solidFill>
              </a:rPr>
              <a:t>Sets</a:t>
            </a:r>
            <a:r>
              <a:rPr lang="fi-FI" sz="1600" dirty="0">
                <a:solidFill>
                  <a:srgbClr val="000000"/>
                </a:solidFill>
              </a:rPr>
              <a:t> </a:t>
            </a:r>
            <a:r>
              <a:rPr lang="fi-FI" sz="1600" dirty="0" err="1">
                <a:solidFill>
                  <a:srgbClr val="000000"/>
                </a:solidFill>
              </a:rPr>
              <a:t>individual</a:t>
            </a:r>
            <a:r>
              <a:rPr lang="fi-FI" sz="1600" dirty="0">
                <a:solidFill>
                  <a:srgbClr val="000000"/>
                </a:solidFill>
              </a:rPr>
              <a:t> </a:t>
            </a:r>
            <a:r>
              <a:rPr lang="fi-FI" sz="1600" dirty="0" err="1">
                <a:solidFill>
                  <a:srgbClr val="000000"/>
                </a:solidFill>
              </a:rPr>
              <a:t>gain</a:t>
            </a:r>
            <a:r>
              <a:rPr lang="fi-FI" sz="1600" dirty="0">
                <a:solidFill>
                  <a:srgbClr val="000000"/>
                </a:solidFill>
              </a:rPr>
              <a:t> </a:t>
            </a:r>
            <a:r>
              <a:rPr lang="fi-FI" sz="1600" dirty="0" err="1">
                <a:solidFill>
                  <a:srgbClr val="000000"/>
                </a:solidFill>
              </a:rPr>
              <a:t>over</a:t>
            </a:r>
            <a:r>
              <a:rPr lang="fi-FI" sz="1600" dirty="0">
                <a:solidFill>
                  <a:srgbClr val="000000"/>
                </a:solidFill>
              </a:rPr>
              <a:t> </a:t>
            </a:r>
            <a:r>
              <a:rPr lang="fi-FI" sz="1600" dirty="0" err="1">
                <a:solidFill>
                  <a:srgbClr val="000000"/>
                </a:solidFill>
              </a:rPr>
              <a:t>common</a:t>
            </a:r>
            <a:r>
              <a:rPr lang="fi-FI" sz="1600" dirty="0">
                <a:solidFill>
                  <a:srgbClr val="000000"/>
                </a:solidFill>
              </a:rPr>
              <a:t> </a:t>
            </a:r>
            <a:r>
              <a:rPr lang="fi-FI" sz="1600" dirty="0" err="1">
                <a:solidFill>
                  <a:srgbClr val="000000"/>
                </a:solidFill>
              </a:rPr>
              <a:t>good</a:t>
            </a:r>
            <a:endParaRPr lang="fi-FI" sz="1600" dirty="0">
              <a:solidFill>
                <a:srgbClr val="000000"/>
              </a:solidFill>
            </a:endParaRPr>
          </a:p>
          <a:p>
            <a:pPr lvl="1"/>
            <a:r>
              <a:rPr lang="fi-FI" sz="1600" dirty="0" err="1">
                <a:solidFill>
                  <a:srgbClr val="000000"/>
                </a:solidFill>
              </a:rPr>
              <a:t>High</a:t>
            </a:r>
            <a:r>
              <a:rPr lang="fi-FI" sz="1600" dirty="0">
                <a:solidFill>
                  <a:srgbClr val="000000"/>
                </a:solidFill>
              </a:rPr>
              <a:t> </a:t>
            </a:r>
            <a:r>
              <a:rPr lang="fi-FI" sz="1600" dirty="0" err="1">
                <a:solidFill>
                  <a:srgbClr val="000000"/>
                </a:solidFill>
              </a:rPr>
              <a:t>corruption</a:t>
            </a:r>
            <a:r>
              <a:rPr lang="fi-FI" sz="1600" dirty="0">
                <a:solidFill>
                  <a:srgbClr val="000000"/>
                </a:solidFill>
              </a:rPr>
              <a:t> </a:t>
            </a:r>
            <a:r>
              <a:rPr lang="fi-FI" sz="1600" dirty="0" err="1">
                <a:solidFill>
                  <a:srgbClr val="000000"/>
                </a:solidFill>
              </a:rPr>
              <a:t>decreases</a:t>
            </a:r>
            <a:endParaRPr lang="fi-FI" sz="1600" dirty="0">
              <a:solidFill>
                <a:srgbClr val="000000"/>
              </a:solidFill>
            </a:endParaRPr>
          </a:p>
          <a:p>
            <a:pPr lvl="2"/>
            <a:r>
              <a:rPr lang="fi-FI" sz="1600" dirty="0">
                <a:solidFill>
                  <a:srgbClr val="000000"/>
                </a:solidFill>
              </a:rPr>
              <a:t>National </a:t>
            </a:r>
            <a:r>
              <a:rPr lang="fi-FI" sz="1600" dirty="0" err="1">
                <a:solidFill>
                  <a:srgbClr val="000000"/>
                </a:solidFill>
              </a:rPr>
              <a:t>growth</a:t>
            </a:r>
            <a:r>
              <a:rPr lang="fi-FI" sz="1600" dirty="0">
                <a:solidFill>
                  <a:srgbClr val="000000"/>
                </a:solidFill>
              </a:rPr>
              <a:t> and </a:t>
            </a:r>
            <a:r>
              <a:rPr lang="fi-FI" sz="1600" dirty="0" err="1">
                <a:solidFill>
                  <a:srgbClr val="000000"/>
                </a:solidFill>
              </a:rPr>
              <a:t>internal</a:t>
            </a:r>
            <a:r>
              <a:rPr lang="fi-FI" sz="1600" dirty="0">
                <a:solidFill>
                  <a:srgbClr val="000000"/>
                </a:solidFill>
              </a:rPr>
              <a:t> </a:t>
            </a:r>
            <a:r>
              <a:rPr lang="fi-FI" sz="1600" dirty="0" err="1">
                <a:solidFill>
                  <a:srgbClr val="000000"/>
                </a:solidFill>
              </a:rPr>
              <a:t>efficiency</a:t>
            </a:r>
            <a:endParaRPr lang="fi-FI" sz="1600" dirty="0">
              <a:solidFill>
                <a:srgbClr val="000000"/>
              </a:solidFill>
            </a:endParaRPr>
          </a:p>
          <a:p>
            <a:pPr lvl="2"/>
            <a:r>
              <a:rPr lang="fi-FI" sz="1600" dirty="0" err="1">
                <a:solidFill>
                  <a:srgbClr val="000000"/>
                </a:solidFill>
              </a:rPr>
              <a:t>Foreign</a:t>
            </a:r>
            <a:r>
              <a:rPr lang="fi-FI" sz="1600" dirty="0">
                <a:solidFill>
                  <a:srgbClr val="000000"/>
                </a:solidFill>
              </a:rPr>
              <a:t> </a:t>
            </a:r>
            <a:r>
              <a:rPr lang="fi-FI" sz="1600" dirty="0" err="1">
                <a:solidFill>
                  <a:srgbClr val="000000"/>
                </a:solidFill>
              </a:rPr>
              <a:t>investments</a:t>
            </a:r>
            <a:r>
              <a:rPr lang="fi-FI" sz="1600" dirty="0">
                <a:solidFill>
                  <a:srgbClr val="000000"/>
                </a:solidFill>
              </a:rPr>
              <a:t> (</a:t>
            </a:r>
            <a:r>
              <a:rPr lang="fi-FI" sz="1600" dirty="0" err="1">
                <a:solidFill>
                  <a:srgbClr val="000000"/>
                </a:solidFill>
              </a:rPr>
              <a:t>except</a:t>
            </a:r>
            <a:r>
              <a:rPr lang="fi-FI" sz="1600" dirty="0">
                <a:solidFill>
                  <a:srgbClr val="000000"/>
                </a:solidFill>
              </a:rPr>
              <a:t> </a:t>
            </a:r>
            <a:r>
              <a:rPr lang="fi-FI" sz="1600" dirty="0" err="1">
                <a:solidFill>
                  <a:srgbClr val="000000"/>
                </a:solidFill>
              </a:rPr>
              <a:t>from</a:t>
            </a:r>
            <a:r>
              <a:rPr lang="fi-FI" sz="1600" dirty="0">
                <a:solidFill>
                  <a:srgbClr val="000000"/>
                </a:solidFill>
              </a:rPr>
              <a:t> </a:t>
            </a:r>
            <a:r>
              <a:rPr lang="fi-FI" sz="1600" dirty="0" err="1">
                <a:solidFill>
                  <a:srgbClr val="000000"/>
                </a:solidFill>
              </a:rPr>
              <a:t>corrupt</a:t>
            </a:r>
            <a:r>
              <a:rPr lang="fi-FI" sz="1600" dirty="0">
                <a:solidFill>
                  <a:srgbClr val="000000"/>
                </a:solidFill>
              </a:rPr>
              <a:t> </a:t>
            </a:r>
            <a:r>
              <a:rPr lang="fi-FI" sz="1600" dirty="0" err="1">
                <a:solidFill>
                  <a:srgbClr val="000000"/>
                </a:solidFill>
              </a:rPr>
              <a:t>countries</a:t>
            </a:r>
            <a:r>
              <a:rPr lang="fi-FI" sz="1600" dirty="0">
                <a:solidFill>
                  <a:srgbClr val="000000"/>
                </a:solidFill>
              </a:rPr>
              <a:t>)</a:t>
            </a:r>
          </a:p>
          <a:p>
            <a:r>
              <a:rPr lang="fi-FI" sz="1600" dirty="0">
                <a:solidFill>
                  <a:srgbClr val="000000"/>
                </a:solidFill>
              </a:rPr>
              <a:t>Country </a:t>
            </a:r>
            <a:r>
              <a:rPr lang="fi-FI" sz="1600" dirty="0" err="1">
                <a:solidFill>
                  <a:srgbClr val="000000"/>
                </a:solidFill>
              </a:rPr>
              <a:t>level</a:t>
            </a:r>
            <a:r>
              <a:rPr lang="fi-FI" sz="1600" dirty="0">
                <a:solidFill>
                  <a:srgbClr val="000000"/>
                </a:solidFill>
              </a:rPr>
              <a:t> </a:t>
            </a:r>
            <a:r>
              <a:rPr lang="fi-FI" sz="1600" dirty="0" err="1">
                <a:solidFill>
                  <a:srgbClr val="000000"/>
                </a:solidFill>
              </a:rPr>
              <a:t>vs</a:t>
            </a:r>
            <a:r>
              <a:rPr lang="fi-FI" sz="1600" dirty="0">
                <a:solidFill>
                  <a:srgbClr val="000000"/>
                </a:solidFill>
              </a:rPr>
              <a:t> </a:t>
            </a:r>
            <a:r>
              <a:rPr lang="fi-FI" sz="1600" dirty="0" err="1">
                <a:solidFill>
                  <a:srgbClr val="000000"/>
                </a:solidFill>
              </a:rPr>
              <a:t>firm</a:t>
            </a:r>
            <a:r>
              <a:rPr lang="fi-FI" sz="1600" dirty="0">
                <a:solidFill>
                  <a:srgbClr val="000000"/>
                </a:solidFill>
              </a:rPr>
              <a:t> </a:t>
            </a:r>
            <a:r>
              <a:rPr lang="fi-FI" sz="1600" dirty="0" err="1">
                <a:solidFill>
                  <a:srgbClr val="000000"/>
                </a:solidFill>
              </a:rPr>
              <a:t>level</a:t>
            </a:r>
            <a:endParaRPr lang="fi-FI" sz="1600" dirty="0">
              <a:solidFill>
                <a:srgbClr val="000000"/>
              </a:solidFill>
            </a:endParaRPr>
          </a:p>
          <a:p>
            <a:r>
              <a:rPr lang="fi-FI" sz="1600" dirty="0" err="1">
                <a:solidFill>
                  <a:srgbClr val="000000"/>
                </a:solidFill>
              </a:rPr>
              <a:t>Already</a:t>
            </a:r>
            <a:r>
              <a:rPr lang="fi-FI" sz="1600" dirty="0">
                <a:solidFill>
                  <a:srgbClr val="000000"/>
                </a:solidFill>
              </a:rPr>
              <a:t> </a:t>
            </a:r>
            <a:r>
              <a:rPr lang="fi-FI" sz="1600" dirty="0" err="1">
                <a:solidFill>
                  <a:srgbClr val="000000"/>
                </a:solidFill>
              </a:rPr>
              <a:t>banned</a:t>
            </a:r>
            <a:r>
              <a:rPr lang="fi-FI" sz="1600" dirty="0">
                <a:solidFill>
                  <a:srgbClr val="000000"/>
                </a:solidFill>
              </a:rPr>
              <a:t> in </a:t>
            </a:r>
            <a:r>
              <a:rPr lang="fi-FI" sz="1600" dirty="0" err="1">
                <a:solidFill>
                  <a:srgbClr val="000000"/>
                </a:solidFill>
              </a:rPr>
              <a:t>ancient</a:t>
            </a:r>
            <a:r>
              <a:rPr lang="fi-FI" sz="1600" dirty="0">
                <a:solidFill>
                  <a:srgbClr val="000000"/>
                </a:solidFill>
              </a:rPr>
              <a:t> </a:t>
            </a:r>
            <a:r>
              <a:rPr lang="fi-FI" sz="1600" dirty="0" err="1">
                <a:solidFill>
                  <a:srgbClr val="000000"/>
                </a:solidFill>
              </a:rPr>
              <a:t>cultures</a:t>
            </a:r>
            <a:r>
              <a:rPr lang="fi-FI" sz="1600" dirty="0">
                <a:solidFill>
                  <a:srgbClr val="000000"/>
                </a:solidFill>
              </a:rPr>
              <a:t>!</a:t>
            </a:r>
          </a:p>
          <a:p>
            <a:pPr lvl="1"/>
            <a:r>
              <a:rPr lang="fi-FI" sz="1600" dirty="0" err="1">
                <a:solidFill>
                  <a:srgbClr val="000000"/>
                </a:solidFill>
              </a:rPr>
              <a:t>Although</a:t>
            </a:r>
            <a:r>
              <a:rPr lang="fi-FI" sz="1600" dirty="0">
                <a:solidFill>
                  <a:srgbClr val="000000"/>
                </a:solidFill>
              </a:rPr>
              <a:t>, USA </a:t>
            </a:r>
            <a:r>
              <a:rPr lang="fi-FI" sz="1600" dirty="0" err="1">
                <a:solidFill>
                  <a:srgbClr val="000000"/>
                </a:solidFill>
              </a:rPr>
              <a:t>forbid</a:t>
            </a:r>
            <a:r>
              <a:rPr lang="fi-FI" sz="1600" dirty="0">
                <a:solidFill>
                  <a:srgbClr val="000000"/>
                </a:solidFill>
              </a:rPr>
              <a:t> it </a:t>
            </a:r>
            <a:r>
              <a:rPr lang="fi-FI" sz="1600" dirty="0" err="1">
                <a:solidFill>
                  <a:srgbClr val="000000"/>
                </a:solidFill>
              </a:rPr>
              <a:t>formally</a:t>
            </a:r>
            <a:r>
              <a:rPr lang="fi-FI" sz="1600" dirty="0">
                <a:solidFill>
                  <a:srgbClr val="000000"/>
                </a:solidFill>
              </a:rPr>
              <a:t> in 1977</a:t>
            </a:r>
          </a:p>
          <a:p>
            <a:pPr lvl="1"/>
            <a:r>
              <a:rPr lang="fi-FI" sz="1600" dirty="0">
                <a:solidFill>
                  <a:srgbClr val="000000"/>
                </a:solidFill>
              </a:rPr>
              <a:t>UN, EU, and OECD </a:t>
            </a:r>
            <a:r>
              <a:rPr lang="fi-FI" sz="1600" dirty="0" err="1">
                <a:solidFill>
                  <a:srgbClr val="000000"/>
                </a:solidFill>
              </a:rPr>
              <a:t>convened</a:t>
            </a:r>
            <a:r>
              <a:rPr lang="fi-FI" sz="1600" dirty="0">
                <a:solidFill>
                  <a:srgbClr val="000000"/>
                </a:solidFill>
              </a:rPr>
              <a:t> in 1997 </a:t>
            </a:r>
            <a:r>
              <a:rPr lang="fi-FI" sz="1600" dirty="0" err="1">
                <a:solidFill>
                  <a:srgbClr val="000000"/>
                </a:solidFill>
              </a:rPr>
              <a:t>about</a:t>
            </a:r>
            <a:r>
              <a:rPr lang="fi-FI" sz="1600" dirty="0">
                <a:solidFill>
                  <a:srgbClr val="000000"/>
                </a:solidFill>
              </a:rPr>
              <a:t> </a:t>
            </a:r>
            <a:r>
              <a:rPr lang="fi-FI" sz="1600" dirty="0" err="1">
                <a:solidFill>
                  <a:srgbClr val="000000"/>
                </a:solidFill>
              </a:rPr>
              <a:t>corruption</a:t>
            </a:r>
            <a:r>
              <a:rPr lang="fi-FI" sz="1600" dirty="0">
                <a:solidFill>
                  <a:srgbClr val="000000"/>
                </a:solidFill>
              </a:rPr>
              <a:t> in </a:t>
            </a:r>
            <a:r>
              <a:rPr lang="fi-FI" sz="1600" dirty="0" err="1">
                <a:solidFill>
                  <a:srgbClr val="000000"/>
                </a:solidFill>
              </a:rPr>
              <a:t>order</a:t>
            </a:r>
            <a:r>
              <a:rPr lang="fi-FI" sz="1600" dirty="0">
                <a:solidFill>
                  <a:srgbClr val="000000"/>
                </a:solidFill>
              </a:rPr>
              <a:t> to </a:t>
            </a:r>
            <a:r>
              <a:rPr lang="fi-FI" sz="1600" dirty="0" err="1">
                <a:solidFill>
                  <a:srgbClr val="000000"/>
                </a:solidFill>
              </a:rPr>
              <a:t>root</a:t>
            </a:r>
            <a:r>
              <a:rPr lang="fi-FI" sz="1600" dirty="0">
                <a:solidFill>
                  <a:srgbClr val="000000"/>
                </a:solidFill>
              </a:rPr>
              <a:t> it out</a:t>
            </a:r>
          </a:p>
        </p:txBody>
      </p:sp>
      <p:pic>
        <p:nvPicPr>
          <p:cNvPr id="3" name="Picture 2">
            <a:extLst>
              <a:ext uri="{FF2B5EF4-FFF2-40B4-BE49-F238E27FC236}">
                <a16:creationId xmlns:a16="http://schemas.microsoft.com/office/drawing/2014/main" id="{37D38F75-9514-B583-506A-1CAD53A652FA}"/>
              </a:ext>
            </a:extLst>
          </p:cNvPr>
          <p:cNvPicPr>
            <a:picLocks noChangeAspect="1"/>
          </p:cNvPicPr>
          <p:nvPr/>
        </p:nvPicPr>
        <p:blipFill>
          <a:blip r:embed="rId2"/>
          <a:stretch>
            <a:fillRect/>
          </a:stretch>
        </p:blipFill>
        <p:spPr>
          <a:xfrm>
            <a:off x="5552007" y="716508"/>
            <a:ext cx="3425588" cy="3425588"/>
          </a:xfrm>
          <a:prstGeom prst="rect">
            <a:avLst/>
          </a:prstGeom>
        </p:spPr>
      </p:pic>
    </p:spTree>
    <p:extLst>
      <p:ext uri="{BB962C8B-B14F-4D97-AF65-F5344CB8AC3E}">
        <p14:creationId xmlns:p14="http://schemas.microsoft.com/office/powerpoint/2010/main" val="573000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8" y="294871"/>
            <a:ext cx="6913689" cy="657950"/>
          </a:xfrm>
        </p:spPr>
        <p:txBody>
          <a:bodyPr/>
          <a:lstStyle/>
          <a:p>
            <a:r>
              <a:rPr lang="fi-FI" sz="2800" dirty="0" err="1">
                <a:solidFill>
                  <a:schemeClr val="tx2"/>
                </a:solidFill>
              </a:rPr>
              <a:t>Greasy</a:t>
            </a:r>
            <a:r>
              <a:rPr lang="fi-FI" sz="2800" dirty="0">
                <a:solidFill>
                  <a:schemeClr val="tx2"/>
                </a:solidFill>
              </a:rPr>
              <a:t> </a:t>
            </a:r>
            <a:r>
              <a:rPr lang="fi-FI" sz="2800" dirty="0" err="1">
                <a:solidFill>
                  <a:schemeClr val="tx2"/>
                </a:solidFill>
              </a:rPr>
              <a:t>hands</a:t>
            </a:r>
            <a:r>
              <a:rPr lang="fi-FI" sz="2800" dirty="0">
                <a:solidFill>
                  <a:schemeClr val="tx2"/>
                </a:solidFill>
              </a:rPr>
              <a:t> </a:t>
            </a:r>
            <a:r>
              <a:rPr lang="fi-FI" sz="2800" dirty="0" err="1">
                <a:solidFill>
                  <a:schemeClr val="tx2"/>
                </a:solidFill>
              </a:rPr>
              <a:t>can</a:t>
            </a:r>
            <a:r>
              <a:rPr lang="fi-FI" sz="2800" dirty="0">
                <a:solidFill>
                  <a:schemeClr val="tx2"/>
                </a:solidFill>
              </a:rPr>
              <a:t> </a:t>
            </a:r>
            <a:r>
              <a:rPr lang="fi-FI" sz="2800" dirty="0" err="1">
                <a:solidFill>
                  <a:schemeClr val="tx2"/>
                </a:solidFill>
              </a:rPr>
              <a:t>also</a:t>
            </a:r>
            <a:r>
              <a:rPr lang="fi-FI" sz="2800" dirty="0">
                <a:solidFill>
                  <a:schemeClr val="tx2"/>
                </a:solidFill>
              </a:rPr>
              <a:t> </a:t>
            </a:r>
            <a:r>
              <a:rPr lang="fi-FI" sz="2800" dirty="0" err="1">
                <a:solidFill>
                  <a:schemeClr val="tx2"/>
                </a:solidFill>
              </a:rPr>
              <a:t>be</a:t>
            </a:r>
            <a:r>
              <a:rPr lang="fi-FI" sz="2800" dirty="0">
                <a:solidFill>
                  <a:schemeClr val="tx2"/>
                </a:solidFill>
              </a:rPr>
              <a:t> </a:t>
            </a:r>
            <a:r>
              <a:rPr lang="fi-FI" sz="2800" dirty="0" err="1">
                <a:solidFill>
                  <a:schemeClr val="tx2"/>
                </a:solidFill>
              </a:rPr>
              <a:t>slippery</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1</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869823"/>
            <a:ext cx="5139480" cy="2891564"/>
          </a:xfrm>
        </p:spPr>
        <p:txBody>
          <a:bodyPr/>
          <a:lstStyle/>
          <a:p>
            <a:r>
              <a:rPr lang="fi-FI" sz="1600" dirty="0" err="1">
                <a:solidFill>
                  <a:srgbClr val="000000"/>
                </a:solidFill>
              </a:rPr>
              <a:t>Hands</a:t>
            </a:r>
            <a:r>
              <a:rPr lang="fi-FI" sz="1600" dirty="0">
                <a:solidFill>
                  <a:srgbClr val="000000"/>
                </a:solidFill>
              </a:rPr>
              <a:t> </a:t>
            </a:r>
            <a:r>
              <a:rPr lang="fi-FI" sz="1600" dirty="0" err="1">
                <a:solidFill>
                  <a:srgbClr val="000000"/>
                </a:solidFill>
              </a:rPr>
              <a:t>can</a:t>
            </a:r>
            <a:r>
              <a:rPr lang="fi-FI" sz="1600" dirty="0">
                <a:solidFill>
                  <a:srgbClr val="000000"/>
                </a:solidFill>
              </a:rPr>
              <a:t> </a:t>
            </a:r>
            <a:r>
              <a:rPr lang="fi-FI" sz="1600" dirty="0" err="1">
                <a:solidFill>
                  <a:srgbClr val="000000"/>
                </a:solidFill>
              </a:rPr>
              <a:t>get</a:t>
            </a:r>
            <a:r>
              <a:rPr lang="fi-FI" sz="1600" dirty="0">
                <a:solidFill>
                  <a:srgbClr val="000000"/>
                </a:solidFill>
              </a:rPr>
              <a:t> </a:t>
            </a:r>
            <a:r>
              <a:rPr lang="fi-FI" sz="1600" dirty="0" err="1">
                <a:solidFill>
                  <a:srgbClr val="000000"/>
                </a:solidFill>
              </a:rPr>
              <a:t>greasy</a:t>
            </a:r>
            <a:r>
              <a:rPr lang="fi-FI" sz="1600" dirty="0">
                <a:solidFill>
                  <a:srgbClr val="000000"/>
                </a:solidFill>
              </a:rPr>
              <a:t> </a:t>
            </a:r>
            <a:r>
              <a:rPr lang="fi-FI" sz="1600" dirty="0" err="1">
                <a:solidFill>
                  <a:srgbClr val="000000"/>
                </a:solidFill>
              </a:rPr>
              <a:t>when</a:t>
            </a:r>
            <a:r>
              <a:rPr lang="fi-FI" sz="1600" dirty="0">
                <a:solidFill>
                  <a:srgbClr val="000000"/>
                </a:solidFill>
              </a:rPr>
              <a:t> </a:t>
            </a:r>
            <a:r>
              <a:rPr lang="fi-FI" sz="1600" dirty="0" err="1">
                <a:solidFill>
                  <a:srgbClr val="000000"/>
                </a:solidFill>
              </a:rPr>
              <a:t>operation</a:t>
            </a:r>
            <a:r>
              <a:rPr lang="fi-FI" sz="1600" dirty="0">
                <a:solidFill>
                  <a:srgbClr val="000000"/>
                </a:solidFill>
              </a:rPr>
              <a:t> </a:t>
            </a:r>
            <a:r>
              <a:rPr lang="fi-FI" sz="1600" dirty="0" err="1">
                <a:solidFill>
                  <a:srgbClr val="000000"/>
                </a:solidFill>
              </a:rPr>
              <a:t>internationally</a:t>
            </a:r>
            <a:endParaRPr lang="fi-FI" sz="1600" dirty="0">
              <a:solidFill>
                <a:srgbClr val="000000"/>
              </a:solidFill>
            </a:endParaRPr>
          </a:p>
          <a:p>
            <a:pPr lvl="1"/>
            <a:r>
              <a:rPr lang="en-US" sz="1600" i="1" dirty="0">
                <a:solidFill>
                  <a:srgbClr val="000000"/>
                </a:solidFill>
              </a:rPr>
              <a:t>“CEB (formerly Corporate Executive Board) surveyed more than 700,000 employees at multinationals in more than 115 countries over the past five years. Only 1% reported observing instances of bribery, a number that sounds low—but the rate is higher in emerging-market countries, reaching 3% in Mexico and 8% in China. “ </a:t>
            </a:r>
            <a:r>
              <a:rPr lang="en-US" sz="1600" dirty="0">
                <a:solidFill>
                  <a:srgbClr val="000000"/>
                </a:solidFill>
              </a:rPr>
              <a:t>(</a:t>
            </a:r>
            <a:r>
              <a:rPr lang="en-US" sz="1600" dirty="0" err="1">
                <a:solidFill>
                  <a:srgbClr val="000000"/>
                </a:solidFill>
              </a:rPr>
              <a:t>Currell</a:t>
            </a:r>
            <a:r>
              <a:rPr lang="en-US" sz="1600" dirty="0">
                <a:solidFill>
                  <a:srgbClr val="000000"/>
                </a:solidFill>
              </a:rPr>
              <a:t> &amp; Bradley, 2012. HBR)</a:t>
            </a:r>
            <a:endParaRPr lang="en-US" sz="1600" i="1" dirty="0">
              <a:solidFill>
                <a:srgbClr val="000000"/>
              </a:solidFill>
            </a:endParaRPr>
          </a:p>
          <a:p>
            <a:r>
              <a:rPr lang="fi-FI" sz="1600" dirty="0" err="1">
                <a:solidFill>
                  <a:srgbClr val="000000"/>
                </a:solidFill>
              </a:rPr>
              <a:t>But</a:t>
            </a:r>
            <a:r>
              <a:rPr lang="fi-FI" sz="1600" dirty="0">
                <a:solidFill>
                  <a:srgbClr val="000000"/>
                </a:solidFill>
              </a:rPr>
              <a:t> </a:t>
            </a:r>
            <a:r>
              <a:rPr lang="fi-FI" sz="1600" dirty="0" err="1">
                <a:solidFill>
                  <a:srgbClr val="000000"/>
                </a:solidFill>
              </a:rPr>
              <a:t>greasy</a:t>
            </a:r>
            <a:r>
              <a:rPr lang="fi-FI" sz="1600" dirty="0">
                <a:solidFill>
                  <a:srgbClr val="000000"/>
                </a:solidFill>
              </a:rPr>
              <a:t> </a:t>
            </a:r>
            <a:r>
              <a:rPr lang="fi-FI" sz="1600" dirty="0" err="1">
                <a:solidFill>
                  <a:srgbClr val="000000"/>
                </a:solidFill>
              </a:rPr>
              <a:t>hands</a:t>
            </a:r>
            <a:r>
              <a:rPr lang="fi-FI" sz="1600" dirty="0">
                <a:solidFill>
                  <a:srgbClr val="000000"/>
                </a:solidFill>
              </a:rPr>
              <a:t> </a:t>
            </a:r>
            <a:r>
              <a:rPr lang="fi-FI" sz="1600" dirty="0" err="1">
                <a:solidFill>
                  <a:srgbClr val="000000"/>
                </a:solidFill>
              </a:rPr>
              <a:t>can</a:t>
            </a:r>
            <a:r>
              <a:rPr lang="fi-FI" sz="1600" dirty="0">
                <a:solidFill>
                  <a:srgbClr val="000000"/>
                </a:solidFill>
              </a:rPr>
              <a:t> </a:t>
            </a:r>
            <a:r>
              <a:rPr lang="fi-FI" sz="1600" dirty="0" err="1">
                <a:solidFill>
                  <a:srgbClr val="000000"/>
                </a:solidFill>
              </a:rPr>
              <a:t>lead</a:t>
            </a:r>
            <a:r>
              <a:rPr lang="fi-FI" sz="1600" dirty="0">
                <a:solidFill>
                  <a:srgbClr val="000000"/>
                </a:solidFill>
              </a:rPr>
              <a:t> to </a:t>
            </a:r>
            <a:r>
              <a:rPr lang="fi-FI" sz="1600" dirty="0" err="1">
                <a:solidFill>
                  <a:srgbClr val="000000"/>
                </a:solidFill>
              </a:rPr>
              <a:t>expensive</a:t>
            </a:r>
            <a:r>
              <a:rPr lang="fi-FI" sz="1600" dirty="0">
                <a:solidFill>
                  <a:srgbClr val="000000"/>
                </a:solidFill>
              </a:rPr>
              <a:t> </a:t>
            </a:r>
            <a:r>
              <a:rPr lang="fi-FI" sz="1600" dirty="0" err="1">
                <a:solidFill>
                  <a:srgbClr val="000000"/>
                </a:solidFill>
              </a:rPr>
              <a:t>slips</a:t>
            </a:r>
            <a:r>
              <a:rPr lang="fi-FI" sz="1600" dirty="0">
                <a:solidFill>
                  <a:srgbClr val="000000"/>
                </a:solidFill>
              </a:rPr>
              <a:t>…</a:t>
            </a:r>
          </a:p>
          <a:p>
            <a:pPr lvl="1"/>
            <a:r>
              <a:rPr lang="en-US" sz="1600" dirty="0">
                <a:solidFill>
                  <a:srgbClr val="000000"/>
                </a:solidFill>
              </a:rPr>
              <a:t>“</a:t>
            </a:r>
            <a:r>
              <a:rPr lang="en-US" sz="1600" i="1" dirty="0">
                <a:solidFill>
                  <a:srgbClr val="000000"/>
                </a:solidFill>
              </a:rPr>
              <a:t>in 2008 Siemens settled a global corruption case for $1.6 billion</a:t>
            </a:r>
            <a:r>
              <a:rPr lang="en-US" sz="1600" dirty="0">
                <a:solidFill>
                  <a:srgbClr val="000000"/>
                </a:solidFill>
              </a:rPr>
              <a:t>” (</a:t>
            </a:r>
            <a:r>
              <a:rPr lang="en-US" sz="1600" dirty="0" err="1">
                <a:solidFill>
                  <a:srgbClr val="000000"/>
                </a:solidFill>
              </a:rPr>
              <a:t>Currell</a:t>
            </a:r>
            <a:r>
              <a:rPr lang="en-US" sz="1600" dirty="0">
                <a:solidFill>
                  <a:srgbClr val="000000"/>
                </a:solidFill>
              </a:rPr>
              <a:t> &amp; Bradley, 2012. HBR)</a:t>
            </a:r>
          </a:p>
          <a:p>
            <a:pPr lvl="1"/>
            <a:r>
              <a:rPr lang="en-US" sz="1600" dirty="0">
                <a:solidFill>
                  <a:srgbClr val="000000"/>
                </a:solidFill>
              </a:rPr>
              <a:t>“</a:t>
            </a:r>
            <a:r>
              <a:rPr lang="en-US" sz="1600" i="1" dirty="0">
                <a:solidFill>
                  <a:srgbClr val="000000"/>
                </a:solidFill>
              </a:rPr>
              <a:t>in 2009 KBR settled a Nigerian corruption case for $579 million.” </a:t>
            </a:r>
            <a:r>
              <a:rPr lang="en-US" sz="1600" dirty="0">
                <a:solidFill>
                  <a:srgbClr val="000000"/>
                </a:solidFill>
              </a:rPr>
              <a:t>(</a:t>
            </a:r>
            <a:r>
              <a:rPr lang="en-US" sz="1600" dirty="0" err="1">
                <a:solidFill>
                  <a:srgbClr val="000000"/>
                </a:solidFill>
              </a:rPr>
              <a:t>Currell</a:t>
            </a:r>
            <a:r>
              <a:rPr lang="en-US" sz="1600" dirty="0">
                <a:solidFill>
                  <a:srgbClr val="000000"/>
                </a:solidFill>
              </a:rPr>
              <a:t> &amp; Bradley, 2012. HBR)</a:t>
            </a:r>
          </a:p>
          <a:p>
            <a:pPr lvl="1"/>
            <a:endParaRPr lang="fi-FI" sz="1600" dirty="0">
              <a:solidFill>
                <a:srgbClr val="000000"/>
              </a:solidFill>
            </a:endParaRPr>
          </a:p>
          <a:p>
            <a:endParaRPr lang="en-US" sz="1600" dirty="0">
              <a:solidFill>
                <a:srgbClr val="000000"/>
              </a:solidFill>
            </a:endParaRPr>
          </a:p>
          <a:p>
            <a:endParaRPr lang="fi-FI" sz="1600" dirty="0">
              <a:solidFill>
                <a:srgbClr val="000000"/>
              </a:solidFill>
            </a:endParaRPr>
          </a:p>
        </p:txBody>
      </p:sp>
      <p:pic>
        <p:nvPicPr>
          <p:cNvPr id="6" name="Picture 5">
            <a:extLst>
              <a:ext uri="{FF2B5EF4-FFF2-40B4-BE49-F238E27FC236}">
                <a16:creationId xmlns:a16="http://schemas.microsoft.com/office/drawing/2014/main" id="{C759CCD0-AE26-7ACB-C0E1-CE52361F3853}"/>
              </a:ext>
            </a:extLst>
          </p:cNvPr>
          <p:cNvPicPr>
            <a:picLocks noChangeAspect="1"/>
          </p:cNvPicPr>
          <p:nvPr/>
        </p:nvPicPr>
        <p:blipFill>
          <a:blip r:embed="rId2"/>
          <a:stretch>
            <a:fillRect/>
          </a:stretch>
        </p:blipFill>
        <p:spPr>
          <a:xfrm>
            <a:off x="5490665" y="856397"/>
            <a:ext cx="3430706" cy="3430706"/>
          </a:xfrm>
          <a:prstGeom prst="rect">
            <a:avLst/>
          </a:prstGeom>
        </p:spPr>
      </p:pic>
    </p:spTree>
    <p:extLst>
      <p:ext uri="{BB962C8B-B14F-4D97-AF65-F5344CB8AC3E}">
        <p14:creationId xmlns:p14="http://schemas.microsoft.com/office/powerpoint/2010/main" val="21783696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1"/>
            <a:ext cx="4909762" cy="657950"/>
          </a:xfrm>
        </p:spPr>
        <p:txBody>
          <a:bodyPr/>
          <a:lstStyle/>
          <a:p>
            <a:r>
              <a:rPr lang="en-US" sz="2800" dirty="0">
                <a:solidFill>
                  <a:schemeClr val="tx2"/>
                </a:solidFill>
              </a:rPr>
              <a:t>Why corruption then exists?</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2</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952821"/>
            <a:ext cx="8443871" cy="2066402"/>
          </a:xfrm>
        </p:spPr>
        <p:txBody>
          <a:bodyPr/>
          <a:lstStyle/>
          <a:p>
            <a:pPr marL="285750" indent="-285750">
              <a:buFont typeface="Arial" panose="020B0604020202020204" pitchFamily="34" charset="0"/>
              <a:buChar char="•"/>
            </a:pPr>
            <a:r>
              <a:rPr lang="en-US" sz="1600" b="0" dirty="0">
                <a:solidFill>
                  <a:srgbClr val="000000"/>
                </a:solidFill>
              </a:rPr>
              <a:t>Inability to make things happen without bribery</a:t>
            </a:r>
          </a:p>
          <a:p>
            <a:pPr marL="914400" lvl="1" indent="-285750"/>
            <a:r>
              <a:rPr lang="en-US" sz="1600" b="0" dirty="0">
                <a:solidFill>
                  <a:srgbClr val="000000"/>
                </a:solidFill>
              </a:rPr>
              <a:t>Ease vs. necessity?</a:t>
            </a:r>
          </a:p>
          <a:p>
            <a:pPr marL="285750" indent="-285750">
              <a:buFont typeface="Arial" panose="020B0604020202020204" pitchFamily="34" charset="0"/>
              <a:buChar char="•"/>
            </a:pPr>
            <a:r>
              <a:rPr lang="en-US" sz="1600" b="0" dirty="0">
                <a:solidFill>
                  <a:srgbClr val="000000"/>
                </a:solidFill>
              </a:rPr>
              <a:t>Weakness of local institutions</a:t>
            </a:r>
          </a:p>
          <a:p>
            <a:pPr marL="914400" lvl="1" indent="-285750"/>
            <a:r>
              <a:rPr lang="en-US" sz="1600" b="0" dirty="0">
                <a:solidFill>
                  <a:srgbClr val="000000"/>
                </a:solidFill>
              </a:rPr>
              <a:t>Opportunity?</a:t>
            </a:r>
          </a:p>
          <a:p>
            <a:pPr marL="914400" lvl="1" indent="-285750"/>
            <a:r>
              <a:rPr lang="en-US" sz="1600" b="0" dirty="0">
                <a:solidFill>
                  <a:srgbClr val="000000"/>
                </a:solidFill>
              </a:rPr>
              <a:t>National custom or habit?</a:t>
            </a:r>
          </a:p>
          <a:p>
            <a:pPr marL="285750" indent="-285750">
              <a:buFont typeface="Arial" panose="020B0604020202020204" pitchFamily="34" charset="0"/>
              <a:buChar char="•"/>
            </a:pPr>
            <a:r>
              <a:rPr lang="en-US" sz="1600" b="0" dirty="0">
                <a:solidFill>
                  <a:srgbClr val="000000"/>
                </a:solidFill>
              </a:rPr>
              <a:t>Reasons for corruption follow from home-market</a:t>
            </a:r>
          </a:p>
          <a:p>
            <a:pPr marL="285750" indent="-285750">
              <a:buFont typeface="Arial" panose="020B0604020202020204" pitchFamily="34" charset="0"/>
              <a:buChar char="•"/>
            </a:pPr>
            <a:r>
              <a:rPr lang="en-US" sz="1600" b="0" dirty="0">
                <a:solidFill>
                  <a:srgbClr val="000000"/>
                </a:solidFill>
              </a:rPr>
              <a:t>Legality of corruption and different perceptions concerning its ”evilness”</a:t>
            </a:r>
          </a:p>
          <a:p>
            <a:pPr marL="285750" indent="-285750">
              <a:buFont typeface="Arial" panose="020B0604020202020204" pitchFamily="34" charset="0"/>
              <a:buChar char="•"/>
            </a:pPr>
            <a:r>
              <a:rPr lang="en-US" sz="1600" b="0" dirty="0">
                <a:solidFill>
                  <a:srgbClr val="000000"/>
                </a:solidFill>
              </a:rPr>
              <a:t>Individual level drivers</a:t>
            </a:r>
          </a:p>
          <a:p>
            <a:pPr marL="285750" indent="-285750">
              <a:buFont typeface="Arial" panose="020B0604020202020204" pitchFamily="34" charset="0"/>
              <a:buChar char="•"/>
            </a:pPr>
            <a:r>
              <a:rPr lang="en-US" sz="1600" b="0" dirty="0">
                <a:solidFill>
                  <a:srgbClr val="000000"/>
                </a:solidFill>
              </a:rPr>
              <a:t>Economical drivers (low income, high </a:t>
            </a:r>
            <a:r>
              <a:rPr lang="en-US" sz="1600" b="0" dirty="0" err="1">
                <a:solidFill>
                  <a:srgbClr val="000000"/>
                </a:solidFill>
              </a:rPr>
              <a:t>powerdistance</a:t>
            </a:r>
            <a:r>
              <a:rPr lang="en-US" sz="1600" b="0" dirty="0">
                <a:solidFill>
                  <a:srgbClr val="000000"/>
                </a:solidFill>
              </a:rPr>
              <a:t>, unfair distribution)</a:t>
            </a:r>
          </a:p>
          <a:p>
            <a:endParaRPr lang="fi-FI" sz="1600" dirty="0">
              <a:solidFill>
                <a:srgbClr val="000000"/>
              </a:solidFill>
            </a:endParaRPr>
          </a:p>
        </p:txBody>
      </p:sp>
    </p:spTree>
    <p:extLst>
      <p:ext uri="{BB962C8B-B14F-4D97-AF65-F5344CB8AC3E}">
        <p14:creationId xmlns:p14="http://schemas.microsoft.com/office/powerpoint/2010/main" val="13725464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8" y="294871"/>
            <a:ext cx="7742125" cy="657950"/>
          </a:xfrm>
        </p:spPr>
        <p:txBody>
          <a:bodyPr/>
          <a:lstStyle/>
          <a:p>
            <a:r>
              <a:rPr lang="fi-FI" sz="2800" dirty="0" err="1">
                <a:solidFill>
                  <a:schemeClr val="tx2"/>
                </a:solidFill>
              </a:rPr>
              <a:t>Do</a:t>
            </a:r>
            <a:r>
              <a:rPr lang="fi-FI" sz="2800" dirty="0">
                <a:solidFill>
                  <a:schemeClr val="tx2"/>
                </a:solidFill>
              </a:rPr>
              <a:t> </a:t>
            </a:r>
            <a:r>
              <a:rPr lang="fi-FI" sz="2800" dirty="0" err="1">
                <a:solidFill>
                  <a:schemeClr val="tx2"/>
                </a:solidFill>
              </a:rPr>
              <a:t>you</a:t>
            </a:r>
            <a:r>
              <a:rPr lang="fi-FI" sz="2800" dirty="0">
                <a:solidFill>
                  <a:schemeClr val="tx2"/>
                </a:solidFill>
              </a:rPr>
              <a:t> </a:t>
            </a:r>
            <a:r>
              <a:rPr lang="fi-FI" sz="2800" dirty="0" err="1">
                <a:solidFill>
                  <a:schemeClr val="tx2"/>
                </a:solidFill>
              </a:rPr>
              <a:t>have</a:t>
            </a:r>
            <a:r>
              <a:rPr lang="fi-FI" sz="2800" dirty="0">
                <a:solidFill>
                  <a:schemeClr val="tx2"/>
                </a:solidFill>
              </a:rPr>
              <a:t> </a:t>
            </a:r>
            <a:r>
              <a:rPr lang="fi-FI" sz="2800" dirty="0" err="1">
                <a:solidFill>
                  <a:schemeClr val="tx2"/>
                </a:solidFill>
              </a:rPr>
              <a:t>what</a:t>
            </a:r>
            <a:r>
              <a:rPr lang="fi-FI" sz="2800" dirty="0">
                <a:solidFill>
                  <a:schemeClr val="tx2"/>
                </a:solidFill>
              </a:rPr>
              <a:t> it </a:t>
            </a:r>
            <a:r>
              <a:rPr lang="fi-FI" sz="2800" dirty="0" err="1">
                <a:solidFill>
                  <a:schemeClr val="tx2"/>
                </a:solidFill>
              </a:rPr>
              <a:t>takes</a:t>
            </a:r>
            <a:r>
              <a:rPr lang="fi-FI" sz="2800" dirty="0">
                <a:solidFill>
                  <a:schemeClr val="tx2"/>
                </a:solidFill>
              </a:rPr>
              <a:t> to </a:t>
            </a:r>
            <a:r>
              <a:rPr lang="fi-FI" sz="2800" dirty="0" err="1">
                <a:solidFill>
                  <a:schemeClr val="tx2"/>
                </a:solidFill>
              </a:rPr>
              <a:t>be</a:t>
            </a:r>
            <a:r>
              <a:rPr lang="fi-FI" sz="2800" dirty="0">
                <a:solidFill>
                  <a:schemeClr val="tx2"/>
                </a:solidFill>
              </a:rPr>
              <a:t> </a:t>
            </a:r>
            <a:r>
              <a:rPr lang="fi-FI" sz="2800" dirty="0" err="1">
                <a:solidFill>
                  <a:schemeClr val="tx2"/>
                </a:solidFill>
              </a:rPr>
              <a:t>corrupt</a:t>
            </a:r>
            <a:r>
              <a:rPr lang="fi-FI" sz="2800" dirty="0">
                <a:solidFill>
                  <a:schemeClr val="tx2"/>
                </a:solidFill>
              </a:rPr>
              <a:t>?</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3</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869823"/>
            <a:ext cx="8443871" cy="2891564"/>
          </a:xfrm>
        </p:spPr>
        <p:txBody>
          <a:bodyPr/>
          <a:lstStyle/>
          <a:p>
            <a:pPr>
              <a:spcBef>
                <a:spcPts val="600"/>
              </a:spcBef>
            </a:pPr>
            <a:endParaRPr lang="en-US" sz="1600" b="0" dirty="0"/>
          </a:p>
          <a:p>
            <a:pPr marL="285750" indent="-285750">
              <a:spcBef>
                <a:spcPts val="600"/>
              </a:spcBef>
              <a:buFont typeface="Arial" panose="020B0604020202020204" pitchFamily="34" charset="0"/>
              <a:buChar char="•"/>
            </a:pPr>
            <a:r>
              <a:rPr lang="en-US" sz="1600" b="0" dirty="0"/>
              <a:t>Firms where managers have a lot of power in relation to their stakeholders are more prone to corruption (Chen et al., 2015)</a:t>
            </a:r>
          </a:p>
          <a:p>
            <a:pPr marL="285750" indent="-285750">
              <a:spcBef>
                <a:spcPts val="600"/>
              </a:spcBef>
              <a:buFont typeface="Arial" panose="020B0604020202020204" pitchFamily="34" charset="0"/>
              <a:buChar char="•"/>
            </a:pPr>
            <a:r>
              <a:rPr lang="en-US" sz="1600" b="0" dirty="0"/>
              <a:t>Men tend to be more corrupt than women (</a:t>
            </a:r>
            <a:r>
              <a:rPr lang="en-US" sz="1600" b="0" dirty="0" err="1"/>
              <a:t>Guvenli</a:t>
            </a:r>
            <a:r>
              <a:rPr lang="en-US" sz="1600" b="0" dirty="0"/>
              <a:t> &amp; Sanyal, 2012)</a:t>
            </a:r>
          </a:p>
          <a:p>
            <a:pPr marL="285750" indent="-285750">
              <a:spcBef>
                <a:spcPts val="600"/>
              </a:spcBef>
              <a:buFont typeface="Arial" panose="020B0604020202020204" pitchFamily="34" charset="0"/>
              <a:buChar char="•"/>
            </a:pPr>
            <a:r>
              <a:rPr lang="en-US" sz="1600" b="0" dirty="0"/>
              <a:t>Large power distance and masculine cultural characteristics correlates with corruption (Sanyal, 2005)</a:t>
            </a:r>
          </a:p>
          <a:p>
            <a:pPr marL="285750" indent="-285750">
              <a:spcBef>
                <a:spcPts val="600"/>
              </a:spcBef>
              <a:buFont typeface="Arial" panose="020B0604020202020204" pitchFamily="34" charset="0"/>
              <a:buChar char="•"/>
            </a:pPr>
            <a:r>
              <a:rPr lang="en-US" sz="1600" b="0" dirty="0"/>
              <a:t>Individualistic and countries with low power distances (like Finland) are less prone to corruption (Sanyal &amp; </a:t>
            </a:r>
            <a:r>
              <a:rPr lang="en-US" sz="1600" b="0" dirty="0" err="1"/>
              <a:t>Guvenli</a:t>
            </a:r>
            <a:r>
              <a:rPr lang="en-US" sz="1600" b="0" dirty="0"/>
              <a:t>, 2009)</a:t>
            </a:r>
          </a:p>
          <a:p>
            <a:pPr marL="285750" indent="-285750">
              <a:spcBef>
                <a:spcPts val="600"/>
              </a:spcBef>
              <a:buFont typeface="Arial" panose="020B0604020202020204" pitchFamily="34" charset="0"/>
              <a:buChar char="•"/>
            </a:pPr>
            <a:r>
              <a:rPr lang="en-US" sz="1600" b="0" dirty="0"/>
              <a:t>Bribery in trade relationships: Hong Kong 5%, Russia 20%, Indonesia 30% (</a:t>
            </a:r>
            <a:r>
              <a:rPr lang="en-US" sz="1600" b="0" dirty="0" err="1"/>
              <a:t>Ghauri</a:t>
            </a:r>
            <a:r>
              <a:rPr lang="en-US" sz="1600" b="0" dirty="0"/>
              <a:t> &amp; </a:t>
            </a:r>
            <a:r>
              <a:rPr lang="en-US" sz="1600" b="0" dirty="0" err="1"/>
              <a:t>Cateora</a:t>
            </a:r>
            <a:r>
              <a:rPr lang="en-US" sz="1600" b="0" dirty="0"/>
              <a:t>, 2006)</a:t>
            </a:r>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5569319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1"/>
            <a:ext cx="4909762" cy="657950"/>
          </a:xfrm>
        </p:spPr>
        <p:txBody>
          <a:bodyPr/>
          <a:lstStyle/>
          <a:p>
            <a:r>
              <a:rPr lang="en-US" sz="2800" dirty="0">
                <a:solidFill>
                  <a:schemeClr val="tx2"/>
                </a:solidFill>
              </a:rPr>
              <a:t>Reducing corruption</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4</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952821"/>
            <a:ext cx="8443871" cy="2066402"/>
          </a:xfrm>
        </p:spPr>
        <p:txBody>
          <a:bodyPr/>
          <a:lstStyle/>
          <a:p>
            <a:pPr marL="285750" indent="-285750">
              <a:buFont typeface="Arial" panose="020B0604020202020204" pitchFamily="34" charset="0"/>
              <a:buChar char="•"/>
            </a:pPr>
            <a:r>
              <a:rPr lang="en-US" sz="1600" b="0" dirty="0">
                <a:solidFill>
                  <a:srgbClr val="000000"/>
                </a:solidFill>
              </a:rPr>
              <a:t>There are anti-corruption laws already, but weak institutions make it hard to monitor and enforce them.</a:t>
            </a:r>
          </a:p>
          <a:p>
            <a:pPr marL="914400" lvl="1" indent="-285750"/>
            <a:r>
              <a:rPr lang="en-US" sz="1600" b="0" dirty="0">
                <a:solidFill>
                  <a:srgbClr val="000000"/>
                </a:solidFill>
              </a:rPr>
              <a:t>Areal differences in defining corruption and dealing with it</a:t>
            </a:r>
          </a:p>
          <a:p>
            <a:pPr marL="285750" indent="-285750">
              <a:buFont typeface="Arial" panose="020B0604020202020204" pitchFamily="34" charset="0"/>
              <a:buChar char="•"/>
            </a:pPr>
            <a:r>
              <a:rPr lang="en-US" sz="1600" b="0" dirty="0">
                <a:solidFill>
                  <a:srgbClr val="000000"/>
                </a:solidFill>
              </a:rPr>
              <a:t>NGOs in major role</a:t>
            </a:r>
          </a:p>
          <a:p>
            <a:pPr marL="285750" indent="-285750">
              <a:buFont typeface="Arial" panose="020B0604020202020204" pitchFamily="34" charset="0"/>
              <a:buChar char="•"/>
            </a:pPr>
            <a:r>
              <a:rPr lang="en-US" sz="1600" b="0" dirty="0">
                <a:solidFill>
                  <a:srgbClr val="000000"/>
                </a:solidFill>
              </a:rPr>
              <a:t>Growing importance of CSR and Ethical behavior</a:t>
            </a:r>
          </a:p>
          <a:p>
            <a:pPr marL="285750" indent="-285750">
              <a:buFont typeface="Arial" panose="020B0604020202020204" pitchFamily="34" charset="0"/>
              <a:buChar char="•"/>
            </a:pPr>
            <a:r>
              <a:rPr lang="en-US" sz="1600" b="0" dirty="0">
                <a:solidFill>
                  <a:srgbClr val="000000"/>
                </a:solidFill>
              </a:rPr>
              <a:t>Influencing the demand as well as the supply of corruption</a:t>
            </a:r>
          </a:p>
          <a:p>
            <a:pPr marL="285750" indent="-285750">
              <a:buFont typeface="Arial" panose="020B0604020202020204" pitchFamily="34" charset="0"/>
              <a:buChar char="•"/>
            </a:pPr>
            <a:r>
              <a:rPr lang="en-US" sz="1600" b="0" dirty="0">
                <a:solidFill>
                  <a:srgbClr val="000000"/>
                </a:solidFill>
              </a:rPr>
              <a:t>Distribution of power and transparency of decisions</a:t>
            </a:r>
          </a:p>
          <a:p>
            <a:pPr marL="285750" indent="-285750">
              <a:buFont typeface="Arial" panose="020B0604020202020204" pitchFamily="34" charset="0"/>
              <a:buChar char="•"/>
            </a:pPr>
            <a:r>
              <a:rPr lang="en-US" sz="1600" b="0" dirty="0">
                <a:solidFill>
                  <a:srgbClr val="000000"/>
                </a:solidFill>
              </a:rPr>
              <a:t>Changing cost/benefit relationship</a:t>
            </a:r>
          </a:p>
          <a:p>
            <a:pPr marL="285750" indent="-285750">
              <a:buFont typeface="Arial" panose="020B0604020202020204" pitchFamily="34" charset="0"/>
              <a:buChar char="•"/>
            </a:pPr>
            <a:r>
              <a:rPr lang="en-US" sz="1600" b="0" u="sng" dirty="0">
                <a:solidFill>
                  <a:srgbClr val="000000"/>
                </a:solidFill>
              </a:rPr>
              <a:t>Should firms be accountable for partnering with corrupt firms?</a:t>
            </a:r>
          </a:p>
          <a:p>
            <a:endParaRPr lang="fi-FI" sz="1600" dirty="0">
              <a:solidFill>
                <a:srgbClr val="000000"/>
              </a:solidFill>
            </a:endParaRPr>
          </a:p>
        </p:txBody>
      </p:sp>
    </p:spTree>
    <p:extLst>
      <p:ext uri="{BB962C8B-B14F-4D97-AF65-F5344CB8AC3E}">
        <p14:creationId xmlns:p14="http://schemas.microsoft.com/office/powerpoint/2010/main" val="15286713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tsikko 1">
            <a:extLst>
              <a:ext uri="{FF2B5EF4-FFF2-40B4-BE49-F238E27FC236}">
                <a16:creationId xmlns:a16="http://schemas.microsoft.com/office/drawing/2014/main" id="{FE942A7F-DBE4-530F-13F9-2344E1522364}"/>
              </a:ext>
            </a:extLst>
          </p:cNvPr>
          <p:cNvSpPr txBox="1">
            <a:spLocks/>
          </p:cNvSpPr>
          <p:nvPr/>
        </p:nvSpPr>
        <p:spPr>
          <a:xfrm>
            <a:off x="341193" y="61415"/>
            <a:ext cx="3848669" cy="4353636"/>
          </a:xfrm>
          <a:prstGeom prst="rect">
            <a:avLst/>
          </a:prstGeom>
        </p:spPr>
        <p:txBody>
          <a:bodyPr vert="horz" lIns="68580" tIns="34290" rIns="68580" bIns="34290" rtlCol="0" anchor="b">
            <a:normAutofit fontScale="75000" lnSpcReduction="20000"/>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r>
              <a:rPr lang="en-US" sz="1800" b="1" dirty="0"/>
              <a:t>Board room discussion</a:t>
            </a:r>
          </a:p>
          <a:p>
            <a:pPr algn="ctr"/>
            <a:endParaRPr lang="en-US" sz="1800" dirty="0"/>
          </a:p>
          <a:p>
            <a:pPr algn="ctr"/>
            <a:r>
              <a:rPr lang="en-US" sz="1800" dirty="0"/>
              <a:t>We have set up a manufacturing plant to a country of high corruption. We are working with the government officers in tight collaboration, but they seem a bit rigid in pushing our case forward.</a:t>
            </a:r>
            <a:br>
              <a:rPr lang="en-US" sz="1800" dirty="0"/>
            </a:br>
            <a:br>
              <a:rPr lang="en-US" sz="1800" dirty="0"/>
            </a:br>
            <a:r>
              <a:rPr lang="en-US" sz="1800" dirty="0"/>
              <a:t>Should we respect the local way of doing business and building social capital and networks if it helps us, or should we follow the western idea of how business transactions should be done even if it hampers our operations? How should we proceed?</a:t>
            </a:r>
          </a:p>
          <a:p>
            <a:pPr algn="ctr"/>
            <a:endParaRPr lang="en-US" sz="1800" dirty="0"/>
          </a:p>
          <a:p>
            <a:pPr algn="ctr"/>
            <a:r>
              <a:rPr lang="en-US" sz="1800" dirty="0"/>
              <a:t>----------------------------------------------------</a:t>
            </a:r>
          </a:p>
          <a:p>
            <a:pPr algn="ctr"/>
            <a:br>
              <a:rPr lang="en-US" sz="1800" dirty="0"/>
            </a:br>
            <a:r>
              <a:rPr lang="en-US" sz="1800" b="1" dirty="0"/>
              <a:t>Team local adaptation (of ethics)</a:t>
            </a:r>
          </a:p>
          <a:p>
            <a:pPr algn="ctr"/>
            <a:r>
              <a:rPr lang="en-US" sz="1800" dirty="0"/>
              <a:t>Motto: “When in Rome, do as the Romans do”</a:t>
            </a:r>
          </a:p>
          <a:p>
            <a:pPr algn="ctr"/>
            <a:br>
              <a:rPr lang="en-US" sz="1800" dirty="0"/>
            </a:br>
            <a:r>
              <a:rPr lang="en-US" sz="1800" b="1" dirty="0"/>
              <a:t>Vs</a:t>
            </a:r>
            <a:r>
              <a:rPr lang="en-US" sz="1800" dirty="0"/>
              <a:t>.</a:t>
            </a:r>
          </a:p>
          <a:p>
            <a:pPr algn="ctr"/>
            <a:br>
              <a:rPr lang="en-US" sz="1800" dirty="0"/>
            </a:br>
            <a:r>
              <a:rPr lang="en-US" sz="1800" b="1" dirty="0"/>
              <a:t>Team global integration (of ethics)</a:t>
            </a:r>
          </a:p>
          <a:p>
            <a:pPr algn="ctr"/>
            <a:r>
              <a:rPr lang="en-US" sz="1800" dirty="0"/>
              <a:t>Motto: “Western companies need to follow Western ethics everywhere”</a:t>
            </a:r>
          </a:p>
        </p:txBody>
      </p:sp>
      <p:pic>
        <p:nvPicPr>
          <p:cNvPr id="5" name="Picture 4">
            <a:extLst>
              <a:ext uri="{FF2B5EF4-FFF2-40B4-BE49-F238E27FC236}">
                <a16:creationId xmlns:a16="http://schemas.microsoft.com/office/drawing/2014/main" id="{B5EE198F-7CF0-7FE7-931D-F07E7140B8D9}"/>
              </a:ext>
            </a:extLst>
          </p:cNvPr>
          <p:cNvPicPr>
            <a:picLocks noChangeAspect="1"/>
          </p:cNvPicPr>
          <p:nvPr/>
        </p:nvPicPr>
        <p:blipFill rotWithShape="1">
          <a:blip r:embed="rId2"/>
          <a:srcRect t="18093"/>
          <a:stretch/>
        </p:blipFill>
        <p:spPr>
          <a:xfrm>
            <a:off x="4668389" y="826510"/>
            <a:ext cx="4134418" cy="3386383"/>
          </a:xfrm>
          <a:prstGeom prst="rect">
            <a:avLst/>
          </a:prstGeom>
        </p:spPr>
      </p:pic>
    </p:spTree>
    <p:extLst>
      <p:ext uri="{BB962C8B-B14F-4D97-AF65-F5344CB8AC3E}">
        <p14:creationId xmlns:p14="http://schemas.microsoft.com/office/powerpoint/2010/main" val="1467631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F2281E-D9A1-4D78-88F1-D5A2007BE0D9}"/>
              </a:ext>
            </a:extLst>
          </p:cNvPr>
          <p:cNvSpPr>
            <a:spLocks noGrp="1"/>
          </p:cNvSpPr>
          <p:nvPr>
            <p:ph type="body" sz="half" idx="10"/>
          </p:nvPr>
        </p:nvSpPr>
        <p:spPr>
          <a:xfrm>
            <a:off x="517411" y="635363"/>
            <a:ext cx="8492897" cy="733141"/>
          </a:xfrm>
        </p:spPr>
        <p:txBody>
          <a:bodyPr/>
          <a:lstStyle/>
          <a:p>
            <a:r>
              <a:rPr lang="en-US" dirty="0"/>
              <a:t>Next time: Session 7 on November 14th   </a:t>
            </a:r>
            <a:endParaRPr lang="en-FI" dirty="0"/>
          </a:p>
        </p:txBody>
      </p:sp>
      <p:sp>
        <p:nvSpPr>
          <p:cNvPr id="3" name="Text Placeholder 2">
            <a:extLst>
              <a:ext uri="{FF2B5EF4-FFF2-40B4-BE49-F238E27FC236}">
                <a16:creationId xmlns:a16="http://schemas.microsoft.com/office/drawing/2014/main" id="{5F669965-2C37-4E46-9B17-C284E9EEEBCD}"/>
              </a:ext>
            </a:extLst>
          </p:cNvPr>
          <p:cNvSpPr>
            <a:spLocks noGrp="1"/>
          </p:cNvSpPr>
          <p:nvPr>
            <p:ph type="body" sz="half" idx="11"/>
          </p:nvPr>
        </p:nvSpPr>
        <p:spPr>
          <a:xfrm>
            <a:off x="682167" y="1368504"/>
            <a:ext cx="7779665" cy="2810006"/>
          </a:xfrm>
        </p:spPr>
        <p:txBody>
          <a:bodyPr/>
          <a:lstStyle/>
          <a:p>
            <a:r>
              <a:rPr lang="en-US" b="0" dirty="0"/>
              <a:t>Digital Globalization and Strategy </a:t>
            </a:r>
          </a:p>
          <a:p>
            <a:pPr marL="971550" lvl="1" indent="-342900"/>
            <a:r>
              <a:rPr lang="en-US" b="0" dirty="0"/>
              <a:t>Lecture run by Noman </a:t>
            </a:r>
            <a:r>
              <a:rPr lang="en-US" b="0" dirty="0" err="1"/>
              <a:t>Shaheer</a:t>
            </a:r>
            <a:r>
              <a:rPr lang="en-US" b="0" dirty="0"/>
              <a:t>, University of Sydney</a:t>
            </a:r>
          </a:p>
          <a:p>
            <a:pPr marL="342900" indent="-342900"/>
            <a:r>
              <a:rPr lang="en-US" b="0" dirty="0"/>
              <a:t>Read</a:t>
            </a:r>
          </a:p>
          <a:p>
            <a:pPr marL="971550" lvl="1" indent="-342900"/>
            <a:r>
              <a:rPr lang="en-US" b="0" dirty="0"/>
              <a:t>Cheng et al., 2022 </a:t>
            </a:r>
          </a:p>
          <a:p>
            <a:pPr marL="971550" lvl="1" indent="-342900"/>
            <a:r>
              <a:rPr lang="en-US" b="0" dirty="0"/>
              <a:t>TikTok Case </a:t>
            </a:r>
          </a:p>
          <a:p>
            <a:pPr marL="971550" lvl="1" indent="-342900"/>
            <a:r>
              <a:rPr lang="en-US" b="0" dirty="0" err="1"/>
              <a:t>Seong</a:t>
            </a:r>
            <a:r>
              <a:rPr lang="en-US" b="0" dirty="0"/>
              <a:t> et al., (2022) (</a:t>
            </a:r>
            <a:r>
              <a:rPr lang="en-US" b="1" dirty="0"/>
              <a:t>Not in the quiz</a:t>
            </a:r>
            <a:r>
              <a:rPr lang="en-US" b="0" dirty="0"/>
              <a:t>)</a:t>
            </a:r>
          </a:p>
        </p:txBody>
      </p:sp>
    </p:spTree>
    <p:extLst>
      <p:ext uri="{BB962C8B-B14F-4D97-AF65-F5344CB8AC3E}">
        <p14:creationId xmlns:p14="http://schemas.microsoft.com/office/powerpoint/2010/main" val="36182870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1DBC7B4-AF4F-FD73-3B04-3D2220ADF51C}"/>
              </a:ext>
            </a:extLst>
          </p:cNvPr>
          <p:cNvSpPr>
            <a:spLocks noGrp="1"/>
          </p:cNvSpPr>
          <p:nvPr>
            <p:ph type="body" sz="half" idx="11"/>
          </p:nvPr>
        </p:nvSpPr>
        <p:spPr/>
        <p:txBody>
          <a:bodyPr/>
          <a:lstStyle/>
          <a:p>
            <a:r>
              <a:rPr lang="en-US" dirty="0"/>
              <a:t>Extra</a:t>
            </a:r>
          </a:p>
        </p:txBody>
      </p:sp>
    </p:spTree>
    <p:extLst>
      <p:ext uri="{BB962C8B-B14F-4D97-AF65-F5344CB8AC3E}">
        <p14:creationId xmlns:p14="http://schemas.microsoft.com/office/powerpoint/2010/main" val="29970939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8" y="294871"/>
            <a:ext cx="6827725" cy="657950"/>
          </a:xfrm>
        </p:spPr>
        <p:txBody>
          <a:bodyPr/>
          <a:lstStyle/>
          <a:p>
            <a:r>
              <a:rPr lang="en-US" sz="2800" dirty="0">
                <a:solidFill>
                  <a:schemeClr val="tx2"/>
                </a:solidFill>
              </a:rPr>
              <a:t>Do we have corruption in Finland?</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8</a:t>
            </a:fld>
            <a:endParaRPr lang="en-GB" altLang="fi-FI" sz="750">
              <a:solidFill>
                <a:srgbClr val="000000"/>
              </a:solidFill>
            </a:endParaRPr>
          </a:p>
        </p:txBody>
      </p:sp>
      <p:pic>
        <p:nvPicPr>
          <p:cNvPr id="4" name="Picture 3">
            <a:extLst>
              <a:ext uri="{FF2B5EF4-FFF2-40B4-BE49-F238E27FC236}">
                <a16:creationId xmlns:a16="http://schemas.microsoft.com/office/drawing/2014/main" id="{663BDE2F-2F8A-02DD-0FF6-3D8667C816F2}"/>
              </a:ext>
            </a:extLst>
          </p:cNvPr>
          <p:cNvPicPr>
            <a:picLocks noChangeAspect="1"/>
          </p:cNvPicPr>
          <p:nvPr/>
        </p:nvPicPr>
        <p:blipFill>
          <a:blip r:embed="rId2"/>
          <a:stretch>
            <a:fillRect/>
          </a:stretch>
        </p:blipFill>
        <p:spPr>
          <a:xfrm>
            <a:off x="959005" y="1974650"/>
            <a:ext cx="6781323" cy="723060"/>
          </a:xfrm>
          <a:prstGeom prst="rect">
            <a:avLst/>
          </a:prstGeom>
        </p:spPr>
      </p:pic>
    </p:spTree>
    <p:extLst>
      <p:ext uri="{BB962C8B-B14F-4D97-AF65-F5344CB8AC3E}">
        <p14:creationId xmlns:p14="http://schemas.microsoft.com/office/powerpoint/2010/main" val="844558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1"/>
            <a:ext cx="4909762" cy="657950"/>
          </a:xfrm>
        </p:spPr>
        <p:txBody>
          <a:bodyPr/>
          <a:lstStyle/>
          <a:p>
            <a:r>
              <a:rPr lang="en-US" sz="2800" dirty="0">
                <a:solidFill>
                  <a:schemeClr val="tx2"/>
                </a:solidFill>
              </a:rPr>
              <a:t>Patria in Slovenia</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9</a:t>
            </a:fld>
            <a:endParaRPr lang="en-GB" altLang="fi-FI" sz="750">
              <a:solidFill>
                <a:srgbClr val="000000"/>
              </a:solidFill>
            </a:endParaRPr>
          </a:p>
        </p:txBody>
      </p:sp>
      <p:pic>
        <p:nvPicPr>
          <p:cNvPr id="3" name="Picture 2">
            <a:extLst>
              <a:ext uri="{FF2B5EF4-FFF2-40B4-BE49-F238E27FC236}">
                <a16:creationId xmlns:a16="http://schemas.microsoft.com/office/drawing/2014/main" id="{4CE0F6F0-6C11-3F33-D477-47E82DFA85C1}"/>
              </a:ext>
            </a:extLst>
          </p:cNvPr>
          <p:cNvPicPr>
            <a:picLocks noChangeAspect="1"/>
          </p:cNvPicPr>
          <p:nvPr/>
        </p:nvPicPr>
        <p:blipFill>
          <a:blip r:embed="rId2"/>
          <a:stretch>
            <a:fillRect/>
          </a:stretch>
        </p:blipFill>
        <p:spPr>
          <a:xfrm>
            <a:off x="2656387" y="4251957"/>
            <a:ext cx="5977054" cy="778262"/>
          </a:xfrm>
          <a:prstGeom prst="rect">
            <a:avLst/>
          </a:prstGeom>
        </p:spPr>
      </p:pic>
      <p:pic>
        <p:nvPicPr>
          <p:cNvPr id="6" name="Picture 5">
            <a:extLst>
              <a:ext uri="{FF2B5EF4-FFF2-40B4-BE49-F238E27FC236}">
                <a16:creationId xmlns:a16="http://schemas.microsoft.com/office/drawing/2014/main" id="{0AC6D274-6E5F-5C87-C9A8-2B5F3C2DAEFE}"/>
              </a:ext>
            </a:extLst>
          </p:cNvPr>
          <p:cNvPicPr>
            <a:picLocks noChangeAspect="1"/>
          </p:cNvPicPr>
          <p:nvPr/>
        </p:nvPicPr>
        <p:blipFill>
          <a:blip r:embed="rId3"/>
          <a:stretch>
            <a:fillRect/>
          </a:stretch>
        </p:blipFill>
        <p:spPr>
          <a:xfrm>
            <a:off x="3596277" y="173291"/>
            <a:ext cx="5037164" cy="618866"/>
          </a:xfrm>
          <a:prstGeom prst="rect">
            <a:avLst/>
          </a:prstGeom>
        </p:spPr>
      </p:pic>
      <p:pic>
        <p:nvPicPr>
          <p:cNvPr id="10" name="Picture 9">
            <a:extLst>
              <a:ext uri="{FF2B5EF4-FFF2-40B4-BE49-F238E27FC236}">
                <a16:creationId xmlns:a16="http://schemas.microsoft.com/office/drawing/2014/main" id="{27303D72-71E1-43BC-7506-EB26CB8186DE}"/>
              </a:ext>
            </a:extLst>
          </p:cNvPr>
          <p:cNvPicPr>
            <a:picLocks noChangeAspect="1"/>
          </p:cNvPicPr>
          <p:nvPr/>
        </p:nvPicPr>
        <p:blipFill>
          <a:blip r:embed="rId4"/>
          <a:stretch>
            <a:fillRect/>
          </a:stretch>
        </p:blipFill>
        <p:spPr>
          <a:xfrm>
            <a:off x="427975" y="3069538"/>
            <a:ext cx="5421292" cy="657950"/>
          </a:xfrm>
          <a:prstGeom prst="rect">
            <a:avLst/>
          </a:prstGeom>
        </p:spPr>
      </p:pic>
      <p:pic>
        <p:nvPicPr>
          <p:cNvPr id="23" name="Picture 22">
            <a:extLst>
              <a:ext uri="{FF2B5EF4-FFF2-40B4-BE49-F238E27FC236}">
                <a16:creationId xmlns:a16="http://schemas.microsoft.com/office/drawing/2014/main" id="{1ED5B146-C2AF-B277-50B6-C82A23058DBC}"/>
              </a:ext>
            </a:extLst>
          </p:cNvPr>
          <p:cNvPicPr>
            <a:picLocks noChangeAspect="1"/>
          </p:cNvPicPr>
          <p:nvPr/>
        </p:nvPicPr>
        <p:blipFill>
          <a:blip r:embed="rId5"/>
          <a:stretch>
            <a:fillRect/>
          </a:stretch>
        </p:blipFill>
        <p:spPr>
          <a:xfrm>
            <a:off x="651314" y="893723"/>
            <a:ext cx="5838696" cy="819142"/>
          </a:xfrm>
          <a:prstGeom prst="rect">
            <a:avLst/>
          </a:prstGeom>
        </p:spPr>
      </p:pic>
      <p:sp>
        <p:nvSpPr>
          <p:cNvPr id="27" name="TextBox 26">
            <a:extLst>
              <a:ext uri="{FF2B5EF4-FFF2-40B4-BE49-F238E27FC236}">
                <a16:creationId xmlns:a16="http://schemas.microsoft.com/office/drawing/2014/main" id="{4ED95E8D-C6A4-1D6A-8B63-CBB6AEB69390}"/>
              </a:ext>
            </a:extLst>
          </p:cNvPr>
          <p:cNvSpPr txBox="1"/>
          <p:nvPr/>
        </p:nvSpPr>
        <p:spPr>
          <a:xfrm>
            <a:off x="6029631" y="1348975"/>
            <a:ext cx="3114369" cy="2893100"/>
          </a:xfrm>
          <a:prstGeom prst="rect">
            <a:avLst/>
          </a:prstGeom>
          <a:noFill/>
        </p:spPr>
        <p:txBody>
          <a:bodyPr wrap="square">
            <a:spAutoFit/>
          </a:bodyPr>
          <a:lstStyle/>
          <a:p>
            <a:r>
              <a:rPr lang="en-US" sz="1400" i="1" dirty="0"/>
              <a:t>“In 2013, a number of senior officials were convicted in Slovenia of accepting bribes, including the country’s former Prime Minister </a:t>
            </a:r>
            <a:r>
              <a:rPr lang="en-US" sz="1400" i="1" dirty="0" err="1"/>
              <a:t>Janez</a:t>
            </a:r>
            <a:r>
              <a:rPr lang="en-US" sz="1400" i="1" dirty="0"/>
              <a:t> </a:t>
            </a:r>
            <a:r>
              <a:rPr lang="en-US" sz="1400" i="1" dirty="0" err="1"/>
              <a:t>Janša</a:t>
            </a:r>
            <a:r>
              <a:rPr lang="en-US" sz="1400" i="1" dirty="0"/>
              <a:t>.</a:t>
            </a:r>
          </a:p>
          <a:p>
            <a:endParaRPr lang="en-US" sz="1400" i="1" dirty="0"/>
          </a:p>
          <a:p>
            <a:r>
              <a:rPr lang="en-US" sz="1400" i="1" dirty="0"/>
              <a:t>He was fined and sentenced to nearly two years in prison by a lower court. </a:t>
            </a:r>
            <a:r>
              <a:rPr lang="en-US" sz="1400" i="1" dirty="0" err="1"/>
              <a:t>Janša</a:t>
            </a:r>
            <a:r>
              <a:rPr lang="en-US" sz="1400" i="1" dirty="0"/>
              <a:t>, who has appealed the ruling, served as </a:t>
            </a:r>
            <a:r>
              <a:rPr lang="en-US" sz="1400" i="1" dirty="0" err="1"/>
              <a:t>defence</a:t>
            </a:r>
            <a:r>
              <a:rPr lang="en-US" sz="1400" i="1" dirty="0"/>
              <a:t> minister in the 1990s and as premier in 2004-08 and 2012-13.”</a:t>
            </a:r>
          </a:p>
          <a:p>
            <a:r>
              <a:rPr lang="en-US" sz="1400" dirty="0"/>
              <a:t>-</a:t>
            </a:r>
            <a:r>
              <a:rPr lang="en-US" sz="1400" dirty="0" err="1"/>
              <a:t>Yle</a:t>
            </a:r>
            <a:endParaRPr lang="en-US" sz="1400" dirty="0"/>
          </a:p>
        </p:txBody>
      </p:sp>
      <p:pic>
        <p:nvPicPr>
          <p:cNvPr id="28" name="Picture 27">
            <a:extLst>
              <a:ext uri="{FF2B5EF4-FFF2-40B4-BE49-F238E27FC236}">
                <a16:creationId xmlns:a16="http://schemas.microsoft.com/office/drawing/2014/main" id="{37E82545-2EB5-F273-2DE5-E98B2C0472C4}"/>
              </a:ext>
            </a:extLst>
          </p:cNvPr>
          <p:cNvPicPr>
            <a:picLocks noChangeAspect="1"/>
          </p:cNvPicPr>
          <p:nvPr/>
        </p:nvPicPr>
        <p:blipFill>
          <a:blip r:embed="rId6"/>
          <a:stretch>
            <a:fillRect/>
          </a:stretch>
        </p:blipFill>
        <p:spPr>
          <a:xfrm>
            <a:off x="143783" y="1794086"/>
            <a:ext cx="5861597" cy="763162"/>
          </a:xfrm>
          <a:prstGeom prst="rect">
            <a:avLst/>
          </a:prstGeom>
        </p:spPr>
      </p:pic>
    </p:spTree>
    <p:extLst>
      <p:ext uri="{BB962C8B-B14F-4D97-AF65-F5344CB8AC3E}">
        <p14:creationId xmlns:p14="http://schemas.microsoft.com/office/powerpoint/2010/main" val="403354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3F630B-0F73-483A-838D-6B23394D1B86}"/>
              </a:ext>
            </a:extLst>
          </p:cNvPr>
          <p:cNvSpPr>
            <a:spLocks noGrp="1"/>
          </p:cNvSpPr>
          <p:nvPr>
            <p:ph type="body" sz="half" idx="4294967295"/>
          </p:nvPr>
        </p:nvSpPr>
        <p:spPr>
          <a:xfrm>
            <a:off x="0" y="793496"/>
            <a:ext cx="4645151" cy="3049588"/>
          </a:xfrm>
          <a:prstGeom prst="rect">
            <a:avLst/>
          </a:prstGeom>
        </p:spPr>
        <p:txBody>
          <a:bodyPr/>
          <a:lstStyle/>
          <a:p>
            <a:pPr marL="457200" indent="-457200">
              <a:spcBef>
                <a:spcPts val="600"/>
              </a:spcBef>
              <a:buFont typeface="+mj-lt"/>
              <a:buAutoNum type="arabicPeriod"/>
            </a:pPr>
            <a:r>
              <a:rPr lang="en-US" dirty="0">
                <a:solidFill>
                  <a:schemeClr val="bg1"/>
                </a:solidFill>
              </a:rPr>
              <a:t>Sustainability in global strategy, Dina </a:t>
            </a:r>
            <a:r>
              <a:rPr lang="en-US" dirty="0" err="1">
                <a:solidFill>
                  <a:schemeClr val="bg1"/>
                </a:solidFill>
              </a:rPr>
              <a:t>Myllymäki</a:t>
            </a:r>
            <a:endParaRPr lang="en-US" dirty="0">
              <a:solidFill>
                <a:schemeClr val="bg1"/>
              </a:solidFill>
            </a:endParaRPr>
          </a:p>
          <a:p>
            <a:pPr marL="457200" indent="-457200">
              <a:spcBef>
                <a:spcPts val="600"/>
              </a:spcBef>
              <a:buFont typeface="+mj-lt"/>
              <a:buAutoNum type="arabicPeriod"/>
            </a:pPr>
            <a:r>
              <a:rPr lang="en-US" b="1" dirty="0">
                <a:solidFill>
                  <a:schemeClr val="bg1"/>
                </a:solidFill>
              </a:rPr>
              <a:t>Corruption in global strategy</a:t>
            </a:r>
          </a:p>
        </p:txBody>
      </p:sp>
      <p:pic>
        <p:nvPicPr>
          <p:cNvPr id="1032" name="Picture 8" descr="Agenda &amp; Minutes Template with Action Sheet - Community Leadership">
            <a:extLst>
              <a:ext uri="{FF2B5EF4-FFF2-40B4-BE49-F238E27FC236}">
                <a16:creationId xmlns:a16="http://schemas.microsoft.com/office/drawing/2014/main" id="{71B26DDD-0BD3-FC12-83BE-65867966BF0B}"/>
              </a:ext>
            </a:extLst>
          </p:cNvPr>
          <p:cNvPicPr>
            <a:picLocks noGrp="1" noChangeAspect="1" noChangeArrowheads="1"/>
          </p:cNvPicPr>
          <p:nvPr>
            <p:ph type="pic" idx="11"/>
          </p:nvPr>
        </p:nvPicPr>
        <p:blipFill rotWithShape="1">
          <a:blip r:embed="rId2">
            <a:extLst>
              <a:ext uri="{28A0092B-C50C-407E-A947-70E740481C1C}">
                <a14:useLocalDpi xmlns:a14="http://schemas.microsoft.com/office/drawing/2010/main" val="0"/>
              </a:ext>
            </a:extLst>
          </a:blip>
          <a:srcRect l="35216" r="8106"/>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58606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F64B63-BBDD-FE79-2280-BC765AF0C8D8}"/>
              </a:ext>
            </a:extLst>
          </p:cNvPr>
          <p:cNvSpPr>
            <a:spLocks noGrp="1"/>
          </p:cNvSpPr>
          <p:nvPr>
            <p:ph type="body" sz="half" idx="10"/>
          </p:nvPr>
        </p:nvSpPr>
        <p:spPr/>
        <p:txBody>
          <a:bodyPr/>
          <a:lstStyle/>
          <a:p>
            <a:r>
              <a:rPr lang="en-US" dirty="0">
                <a:solidFill>
                  <a:schemeClr val="tx2"/>
                </a:solidFill>
              </a:rPr>
              <a:t>Patria in Croatia</a:t>
            </a:r>
          </a:p>
        </p:txBody>
      </p:sp>
      <p:pic>
        <p:nvPicPr>
          <p:cNvPr id="4" name="Picture 3">
            <a:extLst>
              <a:ext uri="{FF2B5EF4-FFF2-40B4-BE49-F238E27FC236}">
                <a16:creationId xmlns:a16="http://schemas.microsoft.com/office/drawing/2014/main" id="{16CD879A-B376-1842-832B-462D21DAE198}"/>
              </a:ext>
            </a:extLst>
          </p:cNvPr>
          <p:cNvPicPr>
            <a:picLocks noChangeAspect="1"/>
          </p:cNvPicPr>
          <p:nvPr/>
        </p:nvPicPr>
        <p:blipFill>
          <a:blip r:embed="rId2"/>
          <a:stretch>
            <a:fillRect/>
          </a:stretch>
        </p:blipFill>
        <p:spPr>
          <a:xfrm>
            <a:off x="518533" y="923430"/>
            <a:ext cx="5726151" cy="802888"/>
          </a:xfrm>
          <a:prstGeom prst="rect">
            <a:avLst/>
          </a:prstGeom>
        </p:spPr>
      </p:pic>
      <p:pic>
        <p:nvPicPr>
          <p:cNvPr id="5" name="Picture 4">
            <a:extLst>
              <a:ext uri="{FF2B5EF4-FFF2-40B4-BE49-F238E27FC236}">
                <a16:creationId xmlns:a16="http://schemas.microsoft.com/office/drawing/2014/main" id="{EA3BBB6C-FC3C-EA8E-F34D-990F3E8E97CF}"/>
              </a:ext>
            </a:extLst>
          </p:cNvPr>
          <p:cNvPicPr>
            <a:picLocks noChangeAspect="1"/>
          </p:cNvPicPr>
          <p:nvPr/>
        </p:nvPicPr>
        <p:blipFill>
          <a:blip r:embed="rId3"/>
          <a:stretch>
            <a:fillRect/>
          </a:stretch>
        </p:blipFill>
        <p:spPr>
          <a:xfrm>
            <a:off x="3783822" y="278805"/>
            <a:ext cx="5374134" cy="657950"/>
          </a:xfrm>
          <a:prstGeom prst="rect">
            <a:avLst/>
          </a:prstGeom>
        </p:spPr>
      </p:pic>
      <p:pic>
        <p:nvPicPr>
          <p:cNvPr id="7" name="Picture 6">
            <a:extLst>
              <a:ext uri="{FF2B5EF4-FFF2-40B4-BE49-F238E27FC236}">
                <a16:creationId xmlns:a16="http://schemas.microsoft.com/office/drawing/2014/main" id="{2C7900C1-26E8-EC63-7ED6-6F9BD68BC0DD}"/>
              </a:ext>
            </a:extLst>
          </p:cNvPr>
          <p:cNvPicPr>
            <a:picLocks noChangeAspect="1"/>
          </p:cNvPicPr>
          <p:nvPr/>
        </p:nvPicPr>
        <p:blipFill>
          <a:blip r:embed="rId4"/>
          <a:stretch>
            <a:fillRect/>
          </a:stretch>
        </p:blipFill>
        <p:spPr>
          <a:xfrm>
            <a:off x="5124953" y="1625020"/>
            <a:ext cx="3976931" cy="566825"/>
          </a:xfrm>
          <a:prstGeom prst="rect">
            <a:avLst/>
          </a:prstGeom>
        </p:spPr>
      </p:pic>
      <p:grpSp>
        <p:nvGrpSpPr>
          <p:cNvPr id="12" name="Group 11">
            <a:extLst>
              <a:ext uri="{FF2B5EF4-FFF2-40B4-BE49-F238E27FC236}">
                <a16:creationId xmlns:a16="http://schemas.microsoft.com/office/drawing/2014/main" id="{A509EA7F-A235-6C2F-2599-60317C8CCA01}"/>
              </a:ext>
            </a:extLst>
          </p:cNvPr>
          <p:cNvGrpSpPr/>
          <p:nvPr/>
        </p:nvGrpSpPr>
        <p:grpSpPr>
          <a:xfrm>
            <a:off x="344510" y="1744002"/>
            <a:ext cx="4780443" cy="2418081"/>
            <a:chOff x="418635" y="2061814"/>
            <a:chExt cx="4780443" cy="2418081"/>
          </a:xfrm>
        </p:grpSpPr>
        <p:pic>
          <p:nvPicPr>
            <p:cNvPr id="9" name="Picture 8">
              <a:extLst>
                <a:ext uri="{FF2B5EF4-FFF2-40B4-BE49-F238E27FC236}">
                  <a16:creationId xmlns:a16="http://schemas.microsoft.com/office/drawing/2014/main" id="{87EF63D1-4DB1-E44D-DADE-C4F34B0A48AC}"/>
                </a:ext>
              </a:extLst>
            </p:cNvPr>
            <p:cNvPicPr>
              <a:picLocks noChangeAspect="1"/>
            </p:cNvPicPr>
            <p:nvPr/>
          </p:nvPicPr>
          <p:blipFill>
            <a:blip r:embed="rId5"/>
            <a:stretch>
              <a:fillRect/>
            </a:stretch>
          </p:blipFill>
          <p:spPr>
            <a:xfrm>
              <a:off x="474707" y="2061814"/>
              <a:ext cx="4724371" cy="2067346"/>
            </a:xfrm>
            <a:prstGeom prst="rect">
              <a:avLst/>
            </a:prstGeom>
          </p:spPr>
        </p:pic>
        <p:pic>
          <p:nvPicPr>
            <p:cNvPr id="11" name="Picture 10">
              <a:extLst>
                <a:ext uri="{FF2B5EF4-FFF2-40B4-BE49-F238E27FC236}">
                  <a16:creationId xmlns:a16="http://schemas.microsoft.com/office/drawing/2014/main" id="{60FCBE26-DD1A-8795-AFFD-38EBB8AAE01D}"/>
                </a:ext>
              </a:extLst>
            </p:cNvPr>
            <p:cNvPicPr>
              <a:picLocks noChangeAspect="1"/>
            </p:cNvPicPr>
            <p:nvPr/>
          </p:nvPicPr>
          <p:blipFill>
            <a:blip r:embed="rId6"/>
            <a:stretch>
              <a:fillRect/>
            </a:stretch>
          </p:blipFill>
          <p:spPr>
            <a:xfrm>
              <a:off x="418635" y="4070320"/>
              <a:ext cx="3467100" cy="409575"/>
            </a:xfrm>
            <a:prstGeom prst="rect">
              <a:avLst/>
            </a:prstGeom>
          </p:spPr>
        </p:pic>
      </p:grpSp>
      <p:sp>
        <p:nvSpPr>
          <p:cNvPr id="14" name="TextBox 13">
            <a:extLst>
              <a:ext uri="{FF2B5EF4-FFF2-40B4-BE49-F238E27FC236}">
                <a16:creationId xmlns:a16="http://schemas.microsoft.com/office/drawing/2014/main" id="{AD2D92F6-CFDD-6086-6649-C74847D05EB7}"/>
              </a:ext>
            </a:extLst>
          </p:cNvPr>
          <p:cNvSpPr txBox="1"/>
          <p:nvPr/>
        </p:nvSpPr>
        <p:spPr>
          <a:xfrm>
            <a:off x="5466207" y="2298337"/>
            <a:ext cx="3277211" cy="1962076"/>
          </a:xfrm>
          <a:prstGeom prst="rect">
            <a:avLst/>
          </a:prstGeom>
          <a:noFill/>
        </p:spPr>
        <p:txBody>
          <a:bodyPr wrap="square">
            <a:spAutoFit/>
          </a:bodyPr>
          <a:lstStyle/>
          <a:p>
            <a:r>
              <a:rPr lang="en-US" i="1" dirty="0"/>
              <a:t>“The pair were found guilty of aggravated giving of bribes in connection with a 2007 deal with the Croatian military for AMV </a:t>
            </a:r>
            <a:r>
              <a:rPr lang="en-US" i="1" dirty="0" err="1"/>
              <a:t>armoured</a:t>
            </a:r>
            <a:r>
              <a:rPr lang="en-US" i="1" dirty="0"/>
              <a:t> vehicles.</a:t>
            </a:r>
          </a:p>
          <a:p>
            <a:endParaRPr lang="en-US" i="1" dirty="0"/>
          </a:p>
          <a:p>
            <a:r>
              <a:rPr lang="en-US" i="1" dirty="0"/>
              <a:t>The actual bribery of Croatian officials took place between 2005 and 2008, the court ruled.”</a:t>
            </a:r>
          </a:p>
        </p:txBody>
      </p:sp>
      <p:sp>
        <p:nvSpPr>
          <p:cNvPr id="15" name="TextBox 14">
            <a:extLst>
              <a:ext uri="{FF2B5EF4-FFF2-40B4-BE49-F238E27FC236}">
                <a16:creationId xmlns:a16="http://schemas.microsoft.com/office/drawing/2014/main" id="{609EE3B5-A141-731E-50C1-053CFBE8902D}"/>
              </a:ext>
            </a:extLst>
          </p:cNvPr>
          <p:cNvSpPr txBox="1"/>
          <p:nvPr/>
        </p:nvSpPr>
        <p:spPr>
          <a:xfrm>
            <a:off x="3701095" y="4646872"/>
            <a:ext cx="4146367" cy="300082"/>
          </a:xfrm>
          <a:prstGeom prst="rect">
            <a:avLst/>
          </a:prstGeom>
          <a:noFill/>
        </p:spPr>
        <p:txBody>
          <a:bodyPr wrap="square">
            <a:spAutoFit/>
          </a:bodyPr>
          <a:lstStyle/>
          <a:p>
            <a:r>
              <a:rPr lang="en-US" i="1" dirty="0"/>
              <a:t>Appeals court overturned the sentences in the end. </a:t>
            </a:r>
          </a:p>
        </p:txBody>
      </p:sp>
    </p:spTree>
    <p:extLst>
      <p:ext uri="{BB962C8B-B14F-4D97-AF65-F5344CB8AC3E}">
        <p14:creationId xmlns:p14="http://schemas.microsoft.com/office/powerpoint/2010/main" val="29287543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1"/>
            <a:ext cx="4909762" cy="657950"/>
          </a:xfrm>
        </p:spPr>
        <p:txBody>
          <a:bodyPr/>
          <a:lstStyle/>
          <a:p>
            <a:r>
              <a:rPr lang="fi-FI" sz="2800" dirty="0">
                <a:solidFill>
                  <a:schemeClr val="tx2"/>
                </a:solidFill>
              </a:rPr>
              <a:t>Global </a:t>
            </a:r>
            <a:r>
              <a:rPr lang="fi-FI" sz="2800" dirty="0" err="1">
                <a:solidFill>
                  <a:schemeClr val="tx2"/>
                </a:solidFill>
              </a:rPr>
              <a:t>strategy</a:t>
            </a:r>
            <a:r>
              <a:rPr lang="fi-FI" sz="2800" dirty="0">
                <a:solidFill>
                  <a:schemeClr val="tx2"/>
                </a:solidFill>
              </a:rPr>
              <a:t> &amp; CSR</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3</a:t>
            </a:fld>
            <a:endParaRPr lang="en-GB" altLang="fi-FI" sz="750">
              <a:solidFill>
                <a:srgbClr val="000000"/>
              </a:solidFill>
            </a:endParaRPr>
          </a:p>
        </p:txBody>
      </p:sp>
      <p:pic>
        <p:nvPicPr>
          <p:cNvPr id="6" name="Sisällön paikkamerkki 6" descr="Kuva, joka sisältää kohteen valokuva, mies, nainen, paita&#10;&#10;Kuvaus luotu automaattisesti">
            <a:extLst>
              <a:ext uri="{FF2B5EF4-FFF2-40B4-BE49-F238E27FC236}">
                <a16:creationId xmlns:a16="http://schemas.microsoft.com/office/drawing/2014/main" id="{3E34222C-791E-7641-188C-B7B359355C0A}"/>
              </a:ext>
            </a:extLst>
          </p:cNvPr>
          <p:cNvPicPr>
            <a:picLocks noChangeAspect="1"/>
          </p:cNvPicPr>
          <p:nvPr/>
        </p:nvPicPr>
        <p:blipFill rotWithShape="1">
          <a:blip r:embed="rId2"/>
          <a:srcRect t="5689" r="1" b="1"/>
          <a:stretch/>
        </p:blipFill>
        <p:spPr>
          <a:xfrm>
            <a:off x="1466798" y="1298699"/>
            <a:ext cx="5744019" cy="2546101"/>
          </a:xfrm>
          <a:prstGeom prst="rect">
            <a:avLst/>
          </a:prstGeom>
          <a:ln w="19050">
            <a:solidFill>
              <a:schemeClr val="tx1"/>
            </a:solidFill>
            <a:miter lim="800000"/>
          </a:ln>
        </p:spPr>
      </p:pic>
    </p:spTree>
    <p:extLst>
      <p:ext uri="{BB962C8B-B14F-4D97-AF65-F5344CB8AC3E}">
        <p14:creationId xmlns:p14="http://schemas.microsoft.com/office/powerpoint/2010/main" val="15677777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1DBC7B4-AF4F-FD73-3B04-3D2220ADF51C}"/>
              </a:ext>
            </a:extLst>
          </p:cNvPr>
          <p:cNvSpPr>
            <a:spLocks noGrp="1"/>
          </p:cNvSpPr>
          <p:nvPr>
            <p:ph type="body" sz="half" idx="11"/>
          </p:nvPr>
        </p:nvSpPr>
        <p:spPr/>
        <p:txBody>
          <a:bodyPr/>
          <a:lstStyle/>
          <a:p>
            <a:r>
              <a:rPr lang="en-US" dirty="0"/>
              <a:t>Corruption</a:t>
            </a:r>
          </a:p>
        </p:txBody>
      </p:sp>
    </p:spTree>
    <p:extLst>
      <p:ext uri="{BB962C8B-B14F-4D97-AF65-F5344CB8AC3E}">
        <p14:creationId xmlns:p14="http://schemas.microsoft.com/office/powerpoint/2010/main" val="36682799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1583613"/>
            <a:ext cx="3232750" cy="1749245"/>
          </a:xfrm>
        </p:spPr>
        <p:txBody>
          <a:bodyPr/>
          <a:lstStyle/>
          <a:p>
            <a:r>
              <a:rPr lang="en-US" sz="2800" dirty="0">
                <a:solidFill>
                  <a:schemeClr val="tx2"/>
                </a:solidFill>
              </a:rPr>
              <a:t>Who has been involved in corruption?</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5</a:t>
            </a:fld>
            <a:endParaRPr lang="en-GB" altLang="fi-FI" sz="750">
              <a:solidFill>
                <a:srgbClr val="000000"/>
              </a:solidFill>
            </a:endParaRPr>
          </a:p>
        </p:txBody>
      </p:sp>
      <p:pic>
        <p:nvPicPr>
          <p:cNvPr id="4" name="Picture 3">
            <a:extLst>
              <a:ext uri="{FF2B5EF4-FFF2-40B4-BE49-F238E27FC236}">
                <a16:creationId xmlns:a16="http://schemas.microsoft.com/office/drawing/2014/main" id="{7E1BC0D5-F034-82B8-EF08-946E61111BCC}"/>
              </a:ext>
            </a:extLst>
          </p:cNvPr>
          <p:cNvPicPr>
            <a:picLocks noChangeAspect="1"/>
          </p:cNvPicPr>
          <p:nvPr/>
        </p:nvPicPr>
        <p:blipFill>
          <a:blip r:embed="rId2"/>
          <a:stretch>
            <a:fillRect/>
          </a:stretch>
        </p:blipFill>
        <p:spPr>
          <a:xfrm>
            <a:off x="4000500" y="0"/>
            <a:ext cx="5143500" cy="5143500"/>
          </a:xfrm>
          <a:prstGeom prst="rect">
            <a:avLst/>
          </a:prstGeom>
        </p:spPr>
      </p:pic>
    </p:spTree>
    <p:extLst>
      <p:ext uri="{BB962C8B-B14F-4D97-AF65-F5344CB8AC3E}">
        <p14:creationId xmlns:p14="http://schemas.microsoft.com/office/powerpoint/2010/main" val="21539764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1583613"/>
            <a:ext cx="3232750" cy="1749245"/>
          </a:xfrm>
        </p:spPr>
        <p:txBody>
          <a:bodyPr/>
          <a:lstStyle/>
          <a:p>
            <a:r>
              <a:rPr lang="en-US" sz="2800" dirty="0">
                <a:solidFill>
                  <a:schemeClr val="tx2"/>
                </a:solidFill>
              </a:rPr>
              <a:t>But what is corruption?</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6</a:t>
            </a:fld>
            <a:endParaRPr lang="en-GB" altLang="fi-FI" sz="750">
              <a:solidFill>
                <a:srgbClr val="000000"/>
              </a:solidFill>
            </a:endParaRPr>
          </a:p>
        </p:txBody>
      </p:sp>
      <p:pic>
        <p:nvPicPr>
          <p:cNvPr id="7" name="Picture 6">
            <a:extLst>
              <a:ext uri="{FF2B5EF4-FFF2-40B4-BE49-F238E27FC236}">
                <a16:creationId xmlns:a16="http://schemas.microsoft.com/office/drawing/2014/main" id="{3F41D085-ACAE-B198-BF6C-BE98ECD96665}"/>
              </a:ext>
            </a:extLst>
          </p:cNvPr>
          <p:cNvPicPr>
            <a:picLocks noChangeAspect="1"/>
          </p:cNvPicPr>
          <p:nvPr/>
        </p:nvPicPr>
        <p:blipFill>
          <a:blip r:embed="rId2"/>
          <a:stretch>
            <a:fillRect/>
          </a:stretch>
        </p:blipFill>
        <p:spPr>
          <a:xfrm>
            <a:off x="4000500" y="0"/>
            <a:ext cx="5143500" cy="5143500"/>
          </a:xfrm>
          <a:prstGeom prst="rect">
            <a:avLst/>
          </a:prstGeom>
        </p:spPr>
      </p:pic>
    </p:spTree>
    <p:extLst>
      <p:ext uri="{BB962C8B-B14F-4D97-AF65-F5344CB8AC3E}">
        <p14:creationId xmlns:p14="http://schemas.microsoft.com/office/powerpoint/2010/main" val="3172336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1"/>
            <a:ext cx="4909762" cy="657950"/>
          </a:xfrm>
        </p:spPr>
        <p:txBody>
          <a:bodyPr/>
          <a:lstStyle/>
          <a:p>
            <a:r>
              <a:rPr lang="en-US" sz="2800" dirty="0">
                <a:solidFill>
                  <a:schemeClr val="tx2"/>
                </a:solidFill>
              </a:rPr>
              <a:t>Corruption is hard to observe, measure, or define</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7</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1694985"/>
            <a:ext cx="8443871" cy="2066402"/>
          </a:xfrm>
        </p:spPr>
        <p:txBody>
          <a:bodyPr/>
          <a:lstStyle/>
          <a:p>
            <a:pPr marL="285750" indent="-285750">
              <a:buFont typeface="Arial" panose="020B0604020202020204" pitchFamily="34" charset="0"/>
              <a:buChar char="•"/>
            </a:pPr>
            <a:r>
              <a:rPr lang="en-US" sz="1600" b="0" dirty="0">
                <a:solidFill>
                  <a:srgbClr val="000000"/>
                </a:solidFill>
              </a:rPr>
              <a:t>Few admits corruption or bribery</a:t>
            </a:r>
          </a:p>
          <a:p>
            <a:pPr marL="914400" lvl="1" indent="-285750"/>
            <a:r>
              <a:rPr lang="en-US" sz="1600" b="0" dirty="0">
                <a:solidFill>
                  <a:srgbClr val="000000"/>
                </a:solidFill>
              </a:rPr>
              <a:t>Socially not acceptable in general</a:t>
            </a:r>
          </a:p>
          <a:p>
            <a:pPr marL="285750" indent="-285750">
              <a:buFont typeface="Arial" panose="020B0604020202020204" pitchFamily="34" charset="0"/>
              <a:buChar char="•"/>
            </a:pPr>
            <a:r>
              <a:rPr lang="en-US" sz="1600" b="0" dirty="0">
                <a:solidFill>
                  <a:srgbClr val="000000"/>
                </a:solidFill>
              </a:rPr>
              <a:t>Perceived differences in corruption in international space</a:t>
            </a:r>
          </a:p>
          <a:p>
            <a:pPr marL="914400" lvl="1" indent="-285750"/>
            <a:r>
              <a:rPr lang="en-US" sz="1600" b="0" dirty="0">
                <a:solidFill>
                  <a:srgbClr val="000000"/>
                </a:solidFill>
              </a:rPr>
              <a:t>What is corruption and what is just culturally acceptable behavior?</a:t>
            </a:r>
          </a:p>
          <a:p>
            <a:pPr marL="914400" lvl="1" indent="-285750"/>
            <a:r>
              <a:rPr lang="en-US" sz="1600" dirty="0">
                <a:solidFill>
                  <a:srgbClr val="000000"/>
                </a:solidFill>
              </a:rPr>
              <a:t>Accumulating g</a:t>
            </a:r>
            <a:r>
              <a:rPr lang="en-US" sz="1600" b="0" dirty="0">
                <a:solidFill>
                  <a:srgbClr val="000000"/>
                </a:solidFill>
              </a:rPr>
              <a:t>ood ”guanxi”?</a:t>
            </a:r>
          </a:p>
          <a:p>
            <a:pPr marL="285750" indent="-285750">
              <a:buFont typeface="Arial" panose="020B0604020202020204" pitchFamily="34" charset="0"/>
              <a:buChar char="•"/>
            </a:pPr>
            <a:r>
              <a:rPr lang="en-US" sz="1600" b="0" dirty="0">
                <a:solidFill>
                  <a:srgbClr val="000000"/>
                </a:solidFill>
              </a:rPr>
              <a:t>Different networks and clubs?</a:t>
            </a:r>
          </a:p>
          <a:p>
            <a:pPr marL="914400" lvl="1" indent="-285750"/>
            <a:r>
              <a:rPr lang="en-US" sz="1600" b="0" dirty="0">
                <a:solidFill>
                  <a:srgbClr val="000000"/>
                </a:solidFill>
              </a:rPr>
              <a:t>Taking the decision-makers to sauna?</a:t>
            </a:r>
          </a:p>
          <a:p>
            <a:endParaRPr lang="fi-FI" sz="1600" dirty="0">
              <a:solidFill>
                <a:srgbClr val="000000"/>
              </a:solidFill>
            </a:endParaRPr>
          </a:p>
        </p:txBody>
      </p:sp>
    </p:spTree>
    <p:extLst>
      <p:ext uri="{BB962C8B-B14F-4D97-AF65-F5344CB8AC3E}">
        <p14:creationId xmlns:p14="http://schemas.microsoft.com/office/powerpoint/2010/main" val="13731141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F64B63-BBDD-FE79-2280-BC765AF0C8D8}"/>
              </a:ext>
            </a:extLst>
          </p:cNvPr>
          <p:cNvSpPr>
            <a:spLocks noGrp="1"/>
          </p:cNvSpPr>
          <p:nvPr>
            <p:ph type="body" sz="half" idx="10"/>
          </p:nvPr>
        </p:nvSpPr>
        <p:spPr/>
        <p:txBody>
          <a:bodyPr/>
          <a:lstStyle/>
          <a:p>
            <a:r>
              <a:rPr lang="en-US" dirty="0">
                <a:solidFill>
                  <a:schemeClr val="tx2"/>
                </a:solidFill>
              </a:rPr>
              <a:t>Why is corruption relevant for global strategy?</a:t>
            </a:r>
          </a:p>
        </p:txBody>
      </p:sp>
      <p:grpSp>
        <p:nvGrpSpPr>
          <p:cNvPr id="12" name="Group 11">
            <a:extLst>
              <a:ext uri="{FF2B5EF4-FFF2-40B4-BE49-F238E27FC236}">
                <a16:creationId xmlns:a16="http://schemas.microsoft.com/office/drawing/2014/main" id="{A509EA7F-A235-6C2F-2599-60317C8CCA01}"/>
              </a:ext>
            </a:extLst>
          </p:cNvPr>
          <p:cNvGrpSpPr/>
          <p:nvPr/>
        </p:nvGrpSpPr>
        <p:grpSpPr>
          <a:xfrm>
            <a:off x="344510" y="1985749"/>
            <a:ext cx="4043245" cy="2176334"/>
            <a:chOff x="418635" y="2061814"/>
            <a:chExt cx="4780443" cy="2418081"/>
          </a:xfrm>
        </p:grpSpPr>
        <p:pic>
          <p:nvPicPr>
            <p:cNvPr id="9" name="Picture 8">
              <a:extLst>
                <a:ext uri="{FF2B5EF4-FFF2-40B4-BE49-F238E27FC236}">
                  <a16:creationId xmlns:a16="http://schemas.microsoft.com/office/drawing/2014/main" id="{87EF63D1-4DB1-E44D-DADE-C4F34B0A48AC}"/>
                </a:ext>
              </a:extLst>
            </p:cNvPr>
            <p:cNvPicPr>
              <a:picLocks noChangeAspect="1"/>
            </p:cNvPicPr>
            <p:nvPr/>
          </p:nvPicPr>
          <p:blipFill>
            <a:blip r:embed="rId2"/>
            <a:stretch>
              <a:fillRect/>
            </a:stretch>
          </p:blipFill>
          <p:spPr>
            <a:xfrm>
              <a:off x="474707" y="2061814"/>
              <a:ext cx="4724371" cy="2067346"/>
            </a:xfrm>
            <a:prstGeom prst="rect">
              <a:avLst/>
            </a:prstGeom>
          </p:spPr>
        </p:pic>
        <p:pic>
          <p:nvPicPr>
            <p:cNvPr id="11" name="Picture 10">
              <a:extLst>
                <a:ext uri="{FF2B5EF4-FFF2-40B4-BE49-F238E27FC236}">
                  <a16:creationId xmlns:a16="http://schemas.microsoft.com/office/drawing/2014/main" id="{60FCBE26-DD1A-8795-AFFD-38EBB8AAE01D}"/>
                </a:ext>
              </a:extLst>
            </p:cNvPr>
            <p:cNvPicPr>
              <a:picLocks noChangeAspect="1"/>
            </p:cNvPicPr>
            <p:nvPr/>
          </p:nvPicPr>
          <p:blipFill>
            <a:blip r:embed="rId3"/>
            <a:stretch>
              <a:fillRect/>
            </a:stretch>
          </p:blipFill>
          <p:spPr>
            <a:xfrm>
              <a:off x="418635" y="4070320"/>
              <a:ext cx="3467100" cy="409575"/>
            </a:xfrm>
            <a:prstGeom prst="rect">
              <a:avLst/>
            </a:prstGeom>
          </p:spPr>
        </p:pic>
      </p:grpSp>
      <p:pic>
        <p:nvPicPr>
          <p:cNvPr id="8" name="Picture 7">
            <a:extLst>
              <a:ext uri="{FF2B5EF4-FFF2-40B4-BE49-F238E27FC236}">
                <a16:creationId xmlns:a16="http://schemas.microsoft.com/office/drawing/2014/main" id="{B215C1BE-9ED6-5BAD-2876-871359631644}"/>
              </a:ext>
            </a:extLst>
          </p:cNvPr>
          <p:cNvPicPr>
            <a:picLocks noChangeAspect="1"/>
          </p:cNvPicPr>
          <p:nvPr/>
        </p:nvPicPr>
        <p:blipFill>
          <a:blip r:embed="rId4"/>
          <a:stretch>
            <a:fillRect/>
          </a:stretch>
        </p:blipFill>
        <p:spPr>
          <a:xfrm>
            <a:off x="3502555" y="4152569"/>
            <a:ext cx="5421292" cy="657950"/>
          </a:xfrm>
          <a:prstGeom prst="rect">
            <a:avLst/>
          </a:prstGeom>
        </p:spPr>
      </p:pic>
      <p:pic>
        <p:nvPicPr>
          <p:cNvPr id="10" name="Picture 9">
            <a:extLst>
              <a:ext uri="{FF2B5EF4-FFF2-40B4-BE49-F238E27FC236}">
                <a16:creationId xmlns:a16="http://schemas.microsoft.com/office/drawing/2014/main" id="{780C419A-D3C0-D5F2-2446-BD3BF42F6B9C}"/>
              </a:ext>
            </a:extLst>
          </p:cNvPr>
          <p:cNvPicPr>
            <a:picLocks noChangeAspect="1"/>
          </p:cNvPicPr>
          <p:nvPr/>
        </p:nvPicPr>
        <p:blipFill>
          <a:blip r:embed="rId5"/>
          <a:stretch>
            <a:fillRect/>
          </a:stretch>
        </p:blipFill>
        <p:spPr>
          <a:xfrm>
            <a:off x="2923628" y="1086433"/>
            <a:ext cx="5861597" cy="763162"/>
          </a:xfrm>
          <a:prstGeom prst="rect">
            <a:avLst/>
          </a:prstGeom>
        </p:spPr>
      </p:pic>
    </p:spTree>
    <p:extLst>
      <p:ext uri="{BB962C8B-B14F-4D97-AF65-F5344CB8AC3E}">
        <p14:creationId xmlns:p14="http://schemas.microsoft.com/office/powerpoint/2010/main" val="32453506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1"/>
            <a:ext cx="4909762" cy="657950"/>
          </a:xfrm>
        </p:spPr>
        <p:txBody>
          <a:bodyPr/>
          <a:lstStyle/>
          <a:p>
            <a:r>
              <a:rPr lang="fi-FI" sz="2800" dirty="0" err="1">
                <a:solidFill>
                  <a:schemeClr val="tx2"/>
                </a:solidFill>
              </a:rPr>
              <a:t>Views</a:t>
            </a:r>
            <a:r>
              <a:rPr lang="fi-FI" sz="2800" dirty="0">
                <a:solidFill>
                  <a:schemeClr val="tx2"/>
                </a:solidFill>
              </a:rPr>
              <a:t> on </a:t>
            </a:r>
            <a:r>
              <a:rPr lang="fi-FI" sz="2800" dirty="0" err="1">
                <a:solidFill>
                  <a:schemeClr val="tx2"/>
                </a:solidFill>
              </a:rPr>
              <a:t>corruption</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9</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79495" y="960762"/>
            <a:ext cx="2868297" cy="2705623"/>
          </a:xfrm>
        </p:spPr>
        <p:txBody>
          <a:bodyPr/>
          <a:lstStyle/>
          <a:p>
            <a:pPr algn="ctr"/>
            <a:r>
              <a:rPr lang="fi-FI" sz="1400" dirty="0" err="1">
                <a:solidFill>
                  <a:srgbClr val="000000"/>
                </a:solidFill>
              </a:rPr>
              <a:t>Corruption</a:t>
            </a:r>
            <a:r>
              <a:rPr lang="fi-FI" sz="1400" dirty="0">
                <a:solidFill>
                  <a:srgbClr val="000000"/>
                </a:solidFill>
              </a:rPr>
              <a:t> as ”</a:t>
            </a:r>
            <a:r>
              <a:rPr lang="fi-FI" sz="1400" dirty="0" err="1">
                <a:solidFill>
                  <a:srgbClr val="000000"/>
                </a:solidFill>
              </a:rPr>
              <a:t>sand</a:t>
            </a:r>
            <a:r>
              <a:rPr lang="fi-FI" sz="1400" dirty="0">
                <a:solidFill>
                  <a:srgbClr val="000000"/>
                </a:solidFill>
              </a:rPr>
              <a:t> in </a:t>
            </a:r>
            <a:r>
              <a:rPr lang="fi-FI" sz="1400" dirty="0" err="1">
                <a:solidFill>
                  <a:srgbClr val="000000"/>
                </a:solidFill>
              </a:rPr>
              <a:t>the</a:t>
            </a:r>
            <a:r>
              <a:rPr lang="fi-FI" sz="1400" dirty="0">
                <a:solidFill>
                  <a:srgbClr val="000000"/>
                </a:solidFill>
              </a:rPr>
              <a:t> </a:t>
            </a:r>
            <a:r>
              <a:rPr lang="fi-FI" sz="1400" dirty="0" err="1">
                <a:solidFill>
                  <a:srgbClr val="000000"/>
                </a:solidFill>
              </a:rPr>
              <a:t>wheels</a:t>
            </a:r>
            <a:r>
              <a:rPr lang="fi-FI" sz="1400" dirty="0">
                <a:solidFill>
                  <a:srgbClr val="000000"/>
                </a:solidFill>
              </a:rPr>
              <a:t> of </a:t>
            </a:r>
            <a:r>
              <a:rPr lang="fi-FI" sz="1400" dirty="0" err="1">
                <a:solidFill>
                  <a:srgbClr val="000000"/>
                </a:solidFill>
              </a:rPr>
              <a:t>commerce</a:t>
            </a:r>
            <a:r>
              <a:rPr lang="fi-FI" sz="1400" dirty="0">
                <a:solidFill>
                  <a:srgbClr val="000000"/>
                </a:solidFill>
              </a:rPr>
              <a:t>”</a:t>
            </a:r>
          </a:p>
          <a:p>
            <a:pPr marL="285750" indent="-285750">
              <a:buFont typeface="Arial" panose="020B0604020202020204" pitchFamily="34" charset="0"/>
              <a:buChar char="•"/>
            </a:pPr>
            <a:r>
              <a:rPr lang="fi-FI" sz="1400" b="0" dirty="0" err="1">
                <a:solidFill>
                  <a:srgbClr val="000000"/>
                </a:solidFill>
              </a:rPr>
              <a:t>High</a:t>
            </a:r>
            <a:r>
              <a:rPr lang="fi-FI" sz="1400" b="0" dirty="0">
                <a:solidFill>
                  <a:srgbClr val="000000"/>
                </a:solidFill>
              </a:rPr>
              <a:t> </a:t>
            </a:r>
            <a:r>
              <a:rPr lang="fi-FI" sz="1400" b="0" dirty="0" err="1">
                <a:solidFill>
                  <a:srgbClr val="000000"/>
                </a:solidFill>
              </a:rPr>
              <a:t>corruption</a:t>
            </a:r>
            <a:r>
              <a:rPr lang="fi-FI" sz="1400" b="0" dirty="0">
                <a:solidFill>
                  <a:srgbClr val="000000"/>
                </a:solidFill>
              </a:rPr>
              <a:t> </a:t>
            </a:r>
            <a:r>
              <a:rPr lang="fi-FI" sz="1400" b="0" dirty="0" err="1">
                <a:solidFill>
                  <a:srgbClr val="000000"/>
                </a:solidFill>
              </a:rPr>
              <a:t>increases</a:t>
            </a:r>
            <a:r>
              <a:rPr lang="fi-FI" sz="1400" b="0" dirty="0">
                <a:solidFill>
                  <a:srgbClr val="000000"/>
                </a:solidFill>
              </a:rPr>
              <a:t> </a:t>
            </a:r>
            <a:r>
              <a:rPr lang="fi-FI" sz="1400" b="0" dirty="0" err="1">
                <a:solidFill>
                  <a:srgbClr val="000000"/>
                </a:solidFill>
              </a:rPr>
              <a:t>the</a:t>
            </a:r>
            <a:r>
              <a:rPr lang="fi-FI" sz="1400" b="0" dirty="0">
                <a:solidFill>
                  <a:srgbClr val="000000"/>
                </a:solidFill>
              </a:rPr>
              <a:t> </a:t>
            </a:r>
            <a:r>
              <a:rPr lang="fi-FI" sz="1400" b="0" dirty="0" err="1">
                <a:solidFill>
                  <a:srgbClr val="000000"/>
                </a:solidFill>
              </a:rPr>
              <a:t>uncertainty</a:t>
            </a:r>
            <a:r>
              <a:rPr lang="fi-FI" sz="1400" b="0" dirty="0">
                <a:solidFill>
                  <a:srgbClr val="000000"/>
                </a:solidFill>
              </a:rPr>
              <a:t> of country for business </a:t>
            </a:r>
            <a:r>
              <a:rPr lang="fi-FI" sz="1400" b="0" dirty="0" err="1">
                <a:solidFill>
                  <a:srgbClr val="000000"/>
                </a:solidFill>
              </a:rPr>
              <a:t>operations</a:t>
            </a:r>
            <a:endParaRPr lang="fi-FI" sz="1400" b="0" dirty="0">
              <a:solidFill>
                <a:srgbClr val="000000"/>
              </a:solidFill>
            </a:endParaRPr>
          </a:p>
          <a:p>
            <a:pPr marL="285750" indent="-285750">
              <a:buFont typeface="Arial" panose="020B0604020202020204" pitchFamily="34" charset="0"/>
              <a:buChar char="•"/>
            </a:pPr>
            <a:r>
              <a:rPr lang="fi-FI" sz="1400" b="0" dirty="0" err="1">
                <a:solidFill>
                  <a:srgbClr val="000000"/>
                </a:solidFill>
              </a:rPr>
              <a:t>High</a:t>
            </a:r>
            <a:r>
              <a:rPr lang="fi-FI" sz="1400" b="0" dirty="0">
                <a:solidFill>
                  <a:srgbClr val="000000"/>
                </a:solidFill>
              </a:rPr>
              <a:t> </a:t>
            </a:r>
            <a:r>
              <a:rPr lang="fi-FI" sz="1400" b="0" dirty="0" err="1">
                <a:solidFill>
                  <a:srgbClr val="000000"/>
                </a:solidFill>
              </a:rPr>
              <a:t>levels</a:t>
            </a:r>
            <a:r>
              <a:rPr lang="fi-FI" sz="1400" b="0" dirty="0">
                <a:solidFill>
                  <a:srgbClr val="000000"/>
                </a:solidFill>
              </a:rPr>
              <a:t> of </a:t>
            </a:r>
            <a:r>
              <a:rPr lang="fi-FI" sz="1400" b="0" dirty="0" err="1">
                <a:solidFill>
                  <a:srgbClr val="000000"/>
                </a:solidFill>
              </a:rPr>
              <a:t>corruption</a:t>
            </a:r>
            <a:r>
              <a:rPr lang="fi-FI" sz="1400" b="0" dirty="0">
                <a:solidFill>
                  <a:srgbClr val="000000"/>
                </a:solidFill>
              </a:rPr>
              <a:t> in </a:t>
            </a:r>
            <a:r>
              <a:rPr lang="fi-FI" sz="1400" b="0" dirty="0" err="1">
                <a:solidFill>
                  <a:srgbClr val="000000"/>
                </a:solidFill>
              </a:rPr>
              <a:t>the</a:t>
            </a:r>
            <a:r>
              <a:rPr lang="fi-FI" sz="1400" b="0" dirty="0">
                <a:solidFill>
                  <a:srgbClr val="000000"/>
                </a:solidFill>
              </a:rPr>
              <a:t> </a:t>
            </a:r>
            <a:r>
              <a:rPr lang="fi-FI" sz="1400" b="0" dirty="0" err="1">
                <a:solidFill>
                  <a:srgbClr val="000000"/>
                </a:solidFill>
              </a:rPr>
              <a:t>target</a:t>
            </a:r>
            <a:r>
              <a:rPr lang="fi-FI" sz="1400" b="0" dirty="0">
                <a:solidFill>
                  <a:srgbClr val="000000"/>
                </a:solidFill>
              </a:rPr>
              <a:t> market </a:t>
            </a:r>
            <a:r>
              <a:rPr lang="fi-FI" sz="1400" b="0" dirty="0" err="1">
                <a:solidFill>
                  <a:srgbClr val="000000"/>
                </a:solidFill>
              </a:rPr>
              <a:t>increases</a:t>
            </a:r>
            <a:r>
              <a:rPr lang="fi-FI" sz="1400" b="0" dirty="0">
                <a:solidFill>
                  <a:srgbClr val="000000"/>
                </a:solidFill>
              </a:rPr>
              <a:t> </a:t>
            </a:r>
            <a:r>
              <a:rPr lang="fi-FI" sz="1400" b="0" dirty="0" err="1">
                <a:solidFill>
                  <a:srgbClr val="000000"/>
                </a:solidFill>
              </a:rPr>
              <a:t>the</a:t>
            </a:r>
            <a:r>
              <a:rPr lang="fi-FI" sz="1400" b="0" dirty="0">
                <a:solidFill>
                  <a:srgbClr val="000000"/>
                </a:solidFill>
              </a:rPr>
              <a:t> </a:t>
            </a:r>
            <a:r>
              <a:rPr lang="fi-FI" sz="1400" b="0" dirty="0" err="1">
                <a:solidFill>
                  <a:srgbClr val="000000"/>
                </a:solidFill>
              </a:rPr>
              <a:t>risk</a:t>
            </a:r>
            <a:r>
              <a:rPr lang="fi-FI" sz="1400" b="0" dirty="0">
                <a:solidFill>
                  <a:srgbClr val="000000"/>
                </a:solidFill>
              </a:rPr>
              <a:t> of </a:t>
            </a:r>
            <a:r>
              <a:rPr lang="fi-FI" sz="1400" b="0" dirty="0" err="1">
                <a:solidFill>
                  <a:srgbClr val="000000"/>
                </a:solidFill>
              </a:rPr>
              <a:t>failure</a:t>
            </a:r>
            <a:r>
              <a:rPr lang="fi-FI" sz="1400" b="0" dirty="0">
                <a:solidFill>
                  <a:srgbClr val="000000"/>
                </a:solidFill>
              </a:rPr>
              <a:t> (</a:t>
            </a:r>
            <a:r>
              <a:rPr lang="fi-FI" sz="1400" b="0" dirty="0" err="1">
                <a:solidFill>
                  <a:srgbClr val="000000"/>
                </a:solidFill>
              </a:rPr>
              <a:t>Jimenez</a:t>
            </a:r>
            <a:r>
              <a:rPr lang="fi-FI" sz="1400" b="0" dirty="0">
                <a:solidFill>
                  <a:srgbClr val="000000"/>
                </a:solidFill>
              </a:rPr>
              <a:t> et al., 2017)</a:t>
            </a:r>
          </a:p>
          <a:p>
            <a:pPr marL="285750" indent="-285750">
              <a:buFont typeface="Arial" panose="020B0604020202020204" pitchFamily="34" charset="0"/>
              <a:buChar char="•"/>
            </a:pPr>
            <a:r>
              <a:rPr lang="fi-FI" sz="1400" b="0" dirty="0" err="1">
                <a:solidFill>
                  <a:srgbClr val="000000"/>
                </a:solidFill>
              </a:rPr>
              <a:t>Corruption</a:t>
            </a:r>
            <a:r>
              <a:rPr lang="fi-FI" sz="1400" b="0" dirty="0">
                <a:solidFill>
                  <a:srgbClr val="000000"/>
                </a:solidFill>
              </a:rPr>
              <a:t> </a:t>
            </a:r>
            <a:r>
              <a:rPr lang="fi-FI" sz="1400" b="0" dirty="0" err="1">
                <a:solidFill>
                  <a:srgbClr val="000000"/>
                </a:solidFill>
              </a:rPr>
              <a:t>decreses</a:t>
            </a:r>
            <a:r>
              <a:rPr lang="fi-FI" sz="1400" b="0" dirty="0">
                <a:solidFill>
                  <a:srgbClr val="000000"/>
                </a:solidFill>
              </a:rPr>
              <a:t> FDI </a:t>
            </a:r>
            <a:r>
              <a:rPr lang="fi-FI" sz="1400" b="0" dirty="0" err="1">
                <a:solidFill>
                  <a:srgbClr val="000000"/>
                </a:solidFill>
              </a:rPr>
              <a:t>flows</a:t>
            </a:r>
            <a:r>
              <a:rPr lang="fi-FI" sz="1400" b="0" dirty="0">
                <a:solidFill>
                  <a:srgbClr val="000000"/>
                </a:solidFill>
              </a:rPr>
              <a:t> (</a:t>
            </a:r>
            <a:r>
              <a:rPr lang="fi-FI" sz="1400" b="0" dirty="0" err="1">
                <a:solidFill>
                  <a:srgbClr val="000000"/>
                </a:solidFill>
              </a:rPr>
              <a:t>especially</a:t>
            </a:r>
            <a:r>
              <a:rPr lang="fi-FI" sz="1400" b="0" dirty="0">
                <a:solidFill>
                  <a:srgbClr val="000000"/>
                </a:solidFill>
              </a:rPr>
              <a:t> </a:t>
            </a:r>
            <a:r>
              <a:rPr lang="fi-FI" sz="1400" b="0" dirty="0" err="1">
                <a:solidFill>
                  <a:srgbClr val="000000"/>
                </a:solidFill>
              </a:rPr>
              <a:t>wide</a:t>
            </a:r>
            <a:r>
              <a:rPr lang="fi-FI" sz="1400" b="0" dirty="0">
                <a:solidFill>
                  <a:srgbClr val="000000"/>
                </a:solidFill>
              </a:rPr>
              <a:t> and </a:t>
            </a:r>
            <a:r>
              <a:rPr lang="fi-FI" sz="1400" b="0" dirty="0" err="1">
                <a:solidFill>
                  <a:srgbClr val="000000"/>
                </a:solidFill>
              </a:rPr>
              <a:t>known</a:t>
            </a:r>
            <a:r>
              <a:rPr lang="fi-FI" sz="1400" b="0" dirty="0">
                <a:solidFill>
                  <a:srgbClr val="000000"/>
                </a:solidFill>
              </a:rPr>
              <a:t>)</a:t>
            </a:r>
          </a:p>
          <a:p>
            <a:pPr marL="971550" lvl="1" indent="-342900"/>
            <a:r>
              <a:rPr lang="fi-FI" sz="1400" b="0" dirty="0" err="1">
                <a:solidFill>
                  <a:srgbClr val="000000"/>
                </a:solidFill>
              </a:rPr>
              <a:t>Especially</a:t>
            </a:r>
            <a:r>
              <a:rPr lang="fi-FI" sz="1400" b="0" dirty="0">
                <a:solidFill>
                  <a:srgbClr val="000000"/>
                </a:solidFill>
              </a:rPr>
              <a:t> </a:t>
            </a:r>
            <a:r>
              <a:rPr lang="fi-FI" sz="1400" b="0" dirty="0" err="1">
                <a:solidFill>
                  <a:srgbClr val="000000"/>
                </a:solidFill>
              </a:rPr>
              <a:t>from</a:t>
            </a:r>
            <a:r>
              <a:rPr lang="fi-FI" sz="1400" b="0" dirty="0">
                <a:solidFill>
                  <a:srgbClr val="000000"/>
                </a:solidFill>
              </a:rPr>
              <a:t> western </a:t>
            </a:r>
            <a:r>
              <a:rPr lang="fi-FI" sz="1400" b="0" dirty="0" err="1">
                <a:solidFill>
                  <a:srgbClr val="000000"/>
                </a:solidFill>
              </a:rPr>
              <a:t>countries</a:t>
            </a:r>
            <a:endParaRPr lang="fi-FI" sz="1400" b="0" dirty="0">
              <a:solidFill>
                <a:srgbClr val="000000"/>
              </a:solidFill>
            </a:endParaRPr>
          </a:p>
          <a:p>
            <a:pPr marL="285750" indent="-285750">
              <a:spcBef>
                <a:spcPts val="600"/>
              </a:spcBef>
              <a:buFont typeface="Arial" panose="020B0604020202020204" pitchFamily="34" charset="0"/>
              <a:buChar char="•"/>
            </a:pPr>
            <a:endParaRPr lang="en-US" sz="1600" b="0" dirty="0"/>
          </a:p>
        </p:txBody>
      </p:sp>
      <p:pic>
        <p:nvPicPr>
          <p:cNvPr id="3" name="Picture 2">
            <a:extLst>
              <a:ext uri="{FF2B5EF4-FFF2-40B4-BE49-F238E27FC236}">
                <a16:creationId xmlns:a16="http://schemas.microsoft.com/office/drawing/2014/main" id="{E17E4863-941A-E128-7C51-1C904BB85469}"/>
              </a:ext>
            </a:extLst>
          </p:cNvPr>
          <p:cNvPicPr>
            <a:picLocks noChangeAspect="1"/>
          </p:cNvPicPr>
          <p:nvPr/>
        </p:nvPicPr>
        <p:blipFill>
          <a:blip r:embed="rId2"/>
          <a:stretch>
            <a:fillRect/>
          </a:stretch>
        </p:blipFill>
        <p:spPr>
          <a:xfrm>
            <a:off x="3106290" y="952821"/>
            <a:ext cx="3211551" cy="3211551"/>
          </a:xfrm>
          <a:prstGeom prst="rect">
            <a:avLst/>
          </a:prstGeom>
        </p:spPr>
      </p:pic>
      <p:sp>
        <p:nvSpPr>
          <p:cNvPr id="4" name="Text Placeholder 5">
            <a:extLst>
              <a:ext uri="{FF2B5EF4-FFF2-40B4-BE49-F238E27FC236}">
                <a16:creationId xmlns:a16="http://schemas.microsoft.com/office/drawing/2014/main" id="{4F2A0A15-1F15-185D-CBC8-8145EE824EC8}"/>
              </a:ext>
            </a:extLst>
          </p:cNvPr>
          <p:cNvSpPr txBox="1">
            <a:spLocks/>
          </p:cNvSpPr>
          <p:nvPr/>
        </p:nvSpPr>
        <p:spPr>
          <a:xfrm>
            <a:off x="6359047" y="960762"/>
            <a:ext cx="2784953" cy="364966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kern="1200" baseline="0">
                <a:solidFill>
                  <a:schemeClr val="tx1"/>
                </a:solidFill>
                <a:latin typeface="+mn-lt"/>
                <a:ea typeface="+mn-ea"/>
                <a:cs typeface="+mn-cs"/>
              </a:defRPr>
            </a:lvl1pPr>
            <a:lvl2pPr marL="628650" indent="-271463" algn="l" defTabSz="685800" rtl="0" eaLnBrk="1" latinLnBrk="0" hangingPunct="1">
              <a:lnSpc>
                <a:spcPct val="90000"/>
              </a:lnSpc>
              <a:spcBef>
                <a:spcPts val="375"/>
              </a:spcBef>
              <a:buFont typeface="Arial" panose="020B0604020202020204" pitchFamily="34" charset="0"/>
              <a:buChar char="•"/>
              <a:defRPr sz="2100" kern="1200">
                <a:solidFill>
                  <a:schemeClr val="tx1"/>
                </a:solidFill>
                <a:latin typeface="+mn-lt"/>
                <a:ea typeface="+mn-ea"/>
                <a:cs typeface="+mn-cs"/>
              </a:defRPr>
            </a:lvl2pPr>
            <a:lvl3pPr marL="804863" indent="-176213"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9pPr>
          </a:lstStyle>
          <a:p>
            <a:pPr algn="ctr"/>
            <a:r>
              <a:rPr lang="fi-FI" sz="1400" dirty="0" err="1">
                <a:solidFill>
                  <a:srgbClr val="000000"/>
                </a:solidFill>
              </a:rPr>
              <a:t>Corruption</a:t>
            </a:r>
            <a:r>
              <a:rPr lang="fi-FI" sz="1400" dirty="0">
                <a:solidFill>
                  <a:srgbClr val="000000"/>
                </a:solidFill>
              </a:rPr>
              <a:t> as ”</a:t>
            </a:r>
            <a:r>
              <a:rPr lang="fi-FI" sz="1400" dirty="0" err="1">
                <a:solidFill>
                  <a:srgbClr val="000000"/>
                </a:solidFill>
              </a:rPr>
              <a:t>grease</a:t>
            </a:r>
            <a:r>
              <a:rPr lang="fi-FI" sz="1400" dirty="0">
                <a:solidFill>
                  <a:srgbClr val="000000"/>
                </a:solidFill>
              </a:rPr>
              <a:t> in </a:t>
            </a:r>
            <a:r>
              <a:rPr lang="fi-FI" sz="1400" dirty="0" err="1">
                <a:solidFill>
                  <a:srgbClr val="000000"/>
                </a:solidFill>
              </a:rPr>
              <a:t>the</a:t>
            </a:r>
            <a:r>
              <a:rPr lang="fi-FI" sz="1400" dirty="0">
                <a:solidFill>
                  <a:srgbClr val="000000"/>
                </a:solidFill>
              </a:rPr>
              <a:t> </a:t>
            </a:r>
            <a:r>
              <a:rPr lang="fi-FI" sz="1400" dirty="0" err="1">
                <a:solidFill>
                  <a:srgbClr val="000000"/>
                </a:solidFill>
              </a:rPr>
              <a:t>wheels</a:t>
            </a:r>
            <a:r>
              <a:rPr lang="fi-FI" sz="1400" dirty="0">
                <a:solidFill>
                  <a:srgbClr val="000000"/>
                </a:solidFill>
              </a:rPr>
              <a:t> of </a:t>
            </a:r>
            <a:r>
              <a:rPr lang="fi-FI" sz="1400" dirty="0" err="1">
                <a:solidFill>
                  <a:srgbClr val="000000"/>
                </a:solidFill>
              </a:rPr>
              <a:t>commerce</a:t>
            </a:r>
            <a:r>
              <a:rPr lang="fi-FI" sz="1400" dirty="0">
                <a:solidFill>
                  <a:srgbClr val="000000"/>
                </a:solidFill>
              </a:rPr>
              <a:t>”</a:t>
            </a:r>
          </a:p>
          <a:p>
            <a:pPr marL="285750" indent="-285750">
              <a:buFont typeface="Arial" panose="020B0604020202020204" pitchFamily="34" charset="0"/>
              <a:buChar char="•"/>
            </a:pPr>
            <a:r>
              <a:rPr lang="fi-FI" sz="1400" b="0" dirty="0">
                <a:solidFill>
                  <a:srgbClr val="000000"/>
                </a:solidFill>
              </a:rPr>
              <a:t>Can </a:t>
            </a:r>
            <a:r>
              <a:rPr lang="fi-FI" sz="1400" b="0" dirty="0" err="1">
                <a:solidFill>
                  <a:srgbClr val="000000"/>
                </a:solidFill>
              </a:rPr>
              <a:t>speed</a:t>
            </a:r>
            <a:r>
              <a:rPr lang="fi-FI" sz="1400" b="0" dirty="0">
                <a:solidFill>
                  <a:srgbClr val="000000"/>
                </a:solidFill>
              </a:rPr>
              <a:t> </a:t>
            </a:r>
            <a:r>
              <a:rPr lang="fi-FI" sz="1400" b="0" dirty="0" err="1">
                <a:solidFill>
                  <a:srgbClr val="000000"/>
                </a:solidFill>
              </a:rPr>
              <a:t>up</a:t>
            </a:r>
            <a:r>
              <a:rPr lang="fi-FI" sz="1400" b="0" dirty="0">
                <a:solidFill>
                  <a:srgbClr val="000000"/>
                </a:solidFill>
              </a:rPr>
              <a:t> </a:t>
            </a:r>
            <a:r>
              <a:rPr lang="fi-FI" sz="1400" b="0" dirty="0" err="1">
                <a:solidFill>
                  <a:srgbClr val="000000"/>
                </a:solidFill>
              </a:rPr>
              <a:t>or</a:t>
            </a:r>
            <a:r>
              <a:rPr lang="fi-FI" sz="1400" b="0" dirty="0">
                <a:solidFill>
                  <a:srgbClr val="000000"/>
                </a:solidFill>
              </a:rPr>
              <a:t> </a:t>
            </a:r>
            <a:r>
              <a:rPr lang="fi-FI" sz="1400" b="0" dirty="0" err="1">
                <a:solidFill>
                  <a:srgbClr val="000000"/>
                </a:solidFill>
              </a:rPr>
              <a:t>benefit</a:t>
            </a:r>
            <a:r>
              <a:rPr lang="fi-FI" sz="1400" b="0" dirty="0">
                <a:solidFill>
                  <a:srgbClr val="000000"/>
                </a:solidFill>
              </a:rPr>
              <a:t> business </a:t>
            </a:r>
            <a:r>
              <a:rPr lang="fi-FI" sz="1400" b="0" dirty="0" err="1">
                <a:solidFill>
                  <a:srgbClr val="000000"/>
                </a:solidFill>
              </a:rPr>
              <a:t>operation</a:t>
            </a:r>
            <a:r>
              <a:rPr lang="fi-FI" sz="1400" b="0" dirty="0">
                <a:solidFill>
                  <a:srgbClr val="000000"/>
                </a:solidFill>
              </a:rPr>
              <a:t>, </a:t>
            </a:r>
            <a:r>
              <a:rPr lang="fi-FI" sz="1400" b="0" dirty="0" err="1">
                <a:solidFill>
                  <a:srgbClr val="000000"/>
                </a:solidFill>
              </a:rPr>
              <a:t>especially</a:t>
            </a:r>
            <a:r>
              <a:rPr lang="fi-FI" sz="1400" b="0" dirty="0">
                <a:solidFill>
                  <a:srgbClr val="000000"/>
                </a:solidFill>
              </a:rPr>
              <a:t> in </a:t>
            </a:r>
            <a:r>
              <a:rPr lang="fi-FI" sz="1400" b="0" dirty="0" err="1">
                <a:solidFill>
                  <a:srgbClr val="000000"/>
                </a:solidFill>
              </a:rPr>
              <a:t>areas</a:t>
            </a:r>
            <a:r>
              <a:rPr lang="fi-FI" sz="1400" b="0" dirty="0">
                <a:solidFill>
                  <a:srgbClr val="000000"/>
                </a:solidFill>
              </a:rPr>
              <a:t> </a:t>
            </a:r>
            <a:r>
              <a:rPr lang="fi-FI" sz="1400" b="0" dirty="0" err="1">
                <a:solidFill>
                  <a:srgbClr val="000000"/>
                </a:solidFill>
              </a:rPr>
              <a:t>with</a:t>
            </a:r>
            <a:r>
              <a:rPr lang="fi-FI" sz="1400" b="0" dirty="0">
                <a:solidFill>
                  <a:srgbClr val="000000"/>
                </a:solidFill>
              </a:rPr>
              <a:t> </a:t>
            </a:r>
            <a:r>
              <a:rPr lang="fi-FI" sz="1400" b="0" dirty="0" err="1">
                <a:solidFill>
                  <a:srgbClr val="000000"/>
                </a:solidFill>
              </a:rPr>
              <a:t>defunct</a:t>
            </a:r>
            <a:r>
              <a:rPr lang="fi-FI" sz="1400" b="0" dirty="0">
                <a:solidFill>
                  <a:srgbClr val="000000"/>
                </a:solidFill>
              </a:rPr>
              <a:t> </a:t>
            </a:r>
            <a:r>
              <a:rPr lang="fi-FI" sz="1400" b="0" dirty="0" err="1">
                <a:solidFill>
                  <a:srgbClr val="000000"/>
                </a:solidFill>
              </a:rPr>
              <a:t>or</a:t>
            </a:r>
            <a:r>
              <a:rPr lang="fi-FI" sz="1400" b="0" dirty="0">
                <a:solidFill>
                  <a:srgbClr val="000000"/>
                </a:solidFill>
              </a:rPr>
              <a:t> </a:t>
            </a:r>
            <a:r>
              <a:rPr lang="fi-FI" sz="1400" b="0" dirty="0" err="1">
                <a:solidFill>
                  <a:srgbClr val="000000"/>
                </a:solidFill>
              </a:rPr>
              <a:t>twisted</a:t>
            </a:r>
            <a:r>
              <a:rPr lang="fi-FI" sz="1400" b="0" dirty="0">
                <a:solidFill>
                  <a:srgbClr val="000000"/>
                </a:solidFill>
              </a:rPr>
              <a:t> </a:t>
            </a:r>
            <a:r>
              <a:rPr lang="fi-FI" sz="1400" b="0" dirty="0" err="1">
                <a:solidFill>
                  <a:srgbClr val="000000"/>
                </a:solidFill>
              </a:rPr>
              <a:t>system</a:t>
            </a:r>
            <a:r>
              <a:rPr lang="fi-FI" sz="1400" b="0" dirty="0">
                <a:solidFill>
                  <a:srgbClr val="000000"/>
                </a:solidFill>
              </a:rPr>
              <a:t> </a:t>
            </a:r>
            <a:r>
              <a:rPr lang="fi-FI" sz="1400" b="0" dirty="0" err="1">
                <a:solidFill>
                  <a:srgbClr val="000000"/>
                </a:solidFill>
              </a:rPr>
              <a:t>or</a:t>
            </a:r>
            <a:r>
              <a:rPr lang="fi-FI" sz="1400" b="0" dirty="0">
                <a:solidFill>
                  <a:srgbClr val="000000"/>
                </a:solidFill>
              </a:rPr>
              <a:t> business </a:t>
            </a:r>
            <a:r>
              <a:rPr lang="fi-FI" sz="1400" b="0" dirty="0" err="1">
                <a:solidFill>
                  <a:srgbClr val="000000"/>
                </a:solidFill>
              </a:rPr>
              <a:t>environment</a:t>
            </a:r>
            <a:endParaRPr lang="fi-FI" sz="1400" b="0" dirty="0">
              <a:solidFill>
                <a:srgbClr val="000000"/>
              </a:solidFill>
            </a:endParaRPr>
          </a:p>
          <a:p>
            <a:pPr marL="285750" indent="-285750">
              <a:buFont typeface="Arial" panose="020B0604020202020204" pitchFamily="34" charset="0"/>
              <a:buChar char="•"/>
            </a:pPr>
            <a:r>
              <a:rPr lang="fi-FI" sz="1400" b="0" dirty="0" err="1">
                <a:solidFill>
                  <a:srgbClr val="000000"/>
                </a:solidFill>
              </a:rPr>
              <a:t>Corruption</a:t>
            </a:r>
            <a:r>
              <a:rPr lang="fi-FI" sz="1400" b="0" dirty="0">
                <a:solidFill>
                  <a:srgbClr val="000000"/>
                </a:solidFill>
              </a:rPr>
              <a:t> </a:t>
            </a:r>
            <a:r>
              <a:rPr lang="fi-FI" sz="1400" b="0" dirty="0" err="1">
                <a:solidFill>
                  <a:srgbClr val="000000"/>
                </a:solidFill>
              </a:rPr>
              <a:t>can</a:t>
            </a:r>
            <a:r>
              <a:rPr lang="fi-FI" sz="1400" b="0" dirty="0">
                <a:solidFill>
                  <a:srgbClr val="000000"/>
                </a:solidFill>
              </a:rPr>
              <a:t> </a:t>
            </a:r>
            <a:r>
              <a:rPr lang="fi-FI" sz="1400" b="0" dirty="0" err="1">
                <a:solidFill>
                  <a:srgbClr val="000000"/>
                </a:solidFill>
              </a:rPr>
              <a:t>increase</a:t>
            </a:r>
            <a:r>
              <a:rPr lang="fi-FI" sz="1400" b="0" dirty="0">
                <a:solidFill>
                  <a:srgbClr val="000000"/>
                </a:solidFill>
              </a:rPr>
              <a:t> FDI </a:t>
            </a:r>
            <a:r>
              <a:rPr lang="fi-FI" sz="1400" b="0" dirty="0" err="1">
                <a:solidFill>
                  <a:srgbClr val="000000"/>
                </a:solidFill>
              </a:rPr>
              <a:t>flows</a:t>
            </a:r>
            <a:r>
              <a:rPr lang="fi-FI" sz="1400" b="0" dirty="0">
                <a:solidFill>
                  <a:srgbClr val="000000"/>
                </a:solidFill>
              </a:rPr>
              <a:t> (</a:t>
            </a:r>
            <a:r>
              <a:rPr lang="fi-FI" sz="1400" b="0" dirty="0" err="1">
                <a:solidFill>
                  <a:srgbClr val="000000"/>
                </a:solidFill>
              </a:rPr>
              <a:t>Eggers</a:t>
            </a:r>
            <a:r>
              <a:rPr lang="fi-FI" sz="1400" b="0" dirty="0">
                <a:solidFill>
                  <a:srgbClr val="000000"/>
                </a:solidFill>
              </a:rPr>
              <a:t> &amp; Winter, 2005)</a:t>
            </a:r>
          </a:p>
          <a:p>
            <a:pPr marL="285750" indent="-285750">
              <a:buFont typeface="Arial" panose="020B0604020202020204" pitchFamily="34" charset="0"/>
              <a:buChar char="•"/>
            </a:pPr>
            <a:r>
              <a:rPr lang="fi-FI" sz="1400" b="0" dirty="0" err="1">
                <a:solidFill>
                  <a:srgbClr val="000000"/>
                </a:solidFill>
              </a:rPr>
              <a:t>Firms</a:t>
            </a:r>
            <a:r>
              <a:rPr lang="fi-FI" sz="1400" b="0" dirty="0">
                <a:solidFill>
                  <a:srgbClr val="000000"/>
                </a:solidFill>
              </a:rPr>
              <a:t> </a:t>
            </a:r>
            <a:r>
              <a:rPr lang="fi-FI" sz="1400" b="0" dirty="0" err="1">
                <a:solidFill>
                  <a:srgbClr val="000000"/>
                </a:solidFill>
              </a:rPr>
              <a:t>from</a:t>
            </a:r>
            <a:r>
              <a:rPr lang="fi-FI" sz="1400" b="0" dirty="0">
                <a:solidFill>
                  <a:srgbClr val="000000"/>
                </a:solidFill>
              </a:rPr>
              <a:t> </a:t>
            </a:r>
            <a:r>
              <a:rPr lang="fi-FI" sz="1400" b="0" dirty="0" err="1">
                <a:solidFill>
                  <a:srgbClr val="000000"/>
                </a:solidFill>
              </a:rPr>
              <a:t>areas</a:t>
            </a:r>
            <a:r>
              <a:rPr lang="fi-FI" sz="1400" b="0" dirty="0">
                <a:solidFill>
                  <a:srgbClr val="000000"/>
                </a:solidFill>
              </a:rPr>
              <a:t> </a:t>
            </a:r>
            <a:r>
              <a:rPr lang="fi-FI" sz="1400" b="0" dirty="0" err="1">
                <a:solidFill>
                  <a:srgbClr val="000000"/>
                </a:solidFill>
              </a:rPr>
              <a:t>with</a:t>
            </a:r>
            <a:r>
              <a:rPr lang="fi-FI" sz="1400" b="0" dirty="0">
                <a:solidFill>
                  <a:srgbClr val="000000"/>
                </a:solidFill>
              </a:rPr>
              <a:t> </a:t>
            </a:r>
            <a:r>
              <a:rPr lang="fi-FI" sz="1400" b="0" dirty="0" err="1">
                <a:solidFill>
                  <a:srgbClr val="000000"/>
                </a:solidFill>
              </a:rPr>
              <a:t>high</a:t>
            </a:r>
            <a:r>
              <a:rPr lang="fi-FI" sz="1400" b="0" dirty="0">
                <a:solidFill>
                  <a:srgbClr val="000000"/>
                </a:solidFill>
              </a:rPr>
              <a:t> </a:t>
            </a:r>
            <a:r>
              <a:rPr lang="fi-FI" sz="1400" b="0" dirty="0" err="1">
                <a:solidFill>
                  <a:srgbClr val="000000"/>
                </a:solidFill>
              </a:rPr>
              <a:t>levels</a:t>
            </a:r>
            <a:r>
              <a:rPr lang="fi-FI" sz="1400" b="0" dirty="0">
                <a:solidFill>
                  <a:srgbClr val="000000"/>
                </a:solidFill>
              </a:rPr>
              <a:t> of </a:t>
            </a:r>
            <a:r>
              <a:rPr lang="fi-FI" sz="1400" b="0" dirty="0" err="1">
                <a:solidFill>
                  <a:srgbClr val="000000"/>
                </a:solidFill>
              </a:rPr>
              <a:t>corruption</a:t>
            </a:r>
            <a:r>
              <a:rPr lang="fi-FI" sz="1400" b="0" dirty="0">
                <a:solidFill>
                  <a:srgbClr val="000000"/>
                </a:solidFill>
              </a:rPr>
              <a:t> </a:t>
            </a:r>
            <a:r>
              <a:rPr lang="fi-FI" sz="1400" b="0" dirty="0" err="1">
                <a:solidFill>
                  <a:srgbClr val="000000"/>
                </a:solidFill>
              </a:rPr>
              <a:t>tend</a:t>
            </a:r>
            <a:r>
              <a:rPr lang="fi-FI" sz="1400" b="0" dirty="0">
                <a:solidFill>
                  <a:srgbClr val="000000"/>
                </a:solidFill>
              </a:rPr>
              <a:t> to </a:t>
            </a:r>
            <a:r>
              <a:rPr lang="fi-FI" sz="1400" b="0" dirty="0" err="1">
                <a:solidFill>
                  <a:srgbClr val="000000"/>
                </a:solidFill>
              </a:rPr>
              <a:t>favor</a:t>
            </a:r>
            <a:r>
              <a:rPr lang="fi-FI" sz="1400" b="0" dirty="0">
                <a:solidFill>
                  <a:srgbClr val="000000"/>
                </a:solidFill>
              </a:rPr>
              <a:t> </a:t>
            </a:r>
            <a:r>
              <a:rPr lang="fi-FI" sz="1400" b="0" dirty="0" err="1">
                <a:solidFill>
                  <a:srgbClr val="000000"/>
                </a:solidFill>
              </a:rPr>
              <a:t>target</a:t>
            </a:r>
            <a:r>
              <a:rPr lang="fi-FI" sz="1400" b="0" dirty="0">
                <a:solidFill>
                  <a:srgbClr val="000000"/>
                </a:solidFill>
              </a:rPr>
              <a:t> </a:t>
            </a:r>
            <a:r>
              <a:rPr lang="fi-FI" sz="1400" b="0" dirty="0" err="1">
                <a:solidFill>
                  <a:srgbClr val="000000"/>
                </a:solidFill>
              </a:rPr>
              <a:t>markets</a:t>
            </a:r>
            <a:r>
              <a:rPr lang="fi-FI" sz="1400" b="0" dirty="0">
                <a:solidFill>
                  <a:srgbClr val="000000"/>
                </a:solidFill>
              </a:rPr>
              <a:t> </a:t>
            </a:r>
            <a:r>
              <a:rPr lang="fi-FI" sz="1400" b="0" dirty="0" err="1">
                <a:solidFill>
                  <a:srgbClr val="000000"/>
                </a:solidFill>
              </a:rPr>
              <a:t>with</a:t>
            </a:r>
            <a:r>
              <a:rPr lang="fi-FI" sz="1400" b="0" dirty="0">
                <a:solidFill>
                  <a:srgbClr val="000000"/>
                </a:solidFill>
              </a:rPr>
              <a:t> </a:t>
            </a:r>
            <a:r>
              <a:rPr lang="fi-FI" sz="1400" b="0" dirty="0" err="1">
                <a:solidFill>
                  <a:srgbClr val="000000"/>
                </a:solidFill>
              </a:rPr>
              <a:t>high</a:t>
            </a:r>
            <a:r>
              <a:rPr lang="fi-FI" sz="1400" b="0" dirty="0">
                <a:solidFill>
                  <a:srgbClr val="000000"/>
                </a:solidFill>
              </a:rPr>
              <a:t> </a:t>
            </a:r>
            <a:r>
              <a:rPr lang="fi-FI" sz="1400" b="0" dirty="0" err="1">
                <a:solidFill>
                  <a:srgbClr val="000000"/>
                </a:solidFill>
              </a:rPr>
              <a:t>corruption</a:t>
            </a:r>
            <a:r>
              <a:rPr lang="fi-FI" sz="1400" b="0" dirty="0">
                <a:solidFill>
                  <a:srgbClr val="000000"/>
                </a:solidFill>
              </a:rPr>
              <a:t> (</a:t>
            </a:r>
            <a:r>
              <a:rPr lang="fi-FI" sz="1400" b="0" dirty="0" err="1">
                <a:solidFill>
                  <a:srgbClr val="000000"/>
                </a:solidFill>
              </a:rPr>
              <a:t>Cuervo-Cazurra</a:t>
            </a:r>
            <a:r>
              <a:rPr lang="fi-FI" sz="1400" b="0" dirty="0">
                <a:solidFill>
                  <a:srgbClr val="000000"/>
                </a:solidFill>
              </a:rPr>
              <a:t>, 2006)</a:t>
            </a:r>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10524889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Mukautettu 4">
      <a:dk1>
        <a:sysClr val="windowText" lastClr="000000"/>
      </a:dk1>
      <a:lt1>
        <a:sysClr val="window" lastClr="FFFFFF"/>
      </a:lt1>
      <a:dk2>
        <a:srgbClr val="78BE20"/>
      </a:dk2>
      <a:lt2>
        <a:srgbClr val="AED879"/>
      </a:lt2>
      <a:accent1>
        <a:srgbClr val="0C0C0C"/>
      </a:accent1>
      <a:accent2>
        <a:srgbClr val="595959"/>
      </a:accent2>
      <a:accent3>
        <a:srgbClr val="A5A5A5"/>
      </a:accent3>
      <a:accent4>
        <a:srgbClr val="D8D8D8"/>
      </a:accent4>
      <a:accent5>
        <a:srgbClr val="F2F2F2"/>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lto_BIZ_169_EN.potx" id="{69F26776-FB86-42CC-B9C7-5788F312165E}" vid="{BF5F540A-8380-403A-957D-586CCE703F1D}"/>
    </a:ext>
  </a:extLst>
</a:theme>
</file>

<file path=ppt/theme/theme2.xml><?xml version="1.0" encoding="utf-8"?>
<a:theme xmlns:a="http://schemas.openxmlformats.org/drawingml/2006/main" name="AALTO EE wide">
  <a:themeElements>
    <a:clrScheme name="Aalto EE">
      <a:dk1>
        <a:sysClr val="windowText" lastClr="000000"/>
      </a:dk1>
      <a:lt1>
        <a:sysClr val="window" lastClr="FFFFFF"/>
      </a:lt1>
      <a:dk2>
        <a:srgbClr val="D5D2CA"/>
      </a:dk2>
      <a:lt2>
        <a:srgbClr val="928B81"/>
      </a:lt2>
      <a:accent1>
        <a:srgbClr val="00B0CA"/>
      </a:accent1>
      <a:accent2>
        <a:srgbClr val="B1059D"/>
      </a:accent2>
      <a:accent3>
        <a:srgbClr val="FF7900"/>
      </a:accent3>
      <a:accent4>
        <a:srgbClr val="69BE28"/>
      </a:accent4>
      <a:accent5>
        <a:srgbClr val="006778"/>
      </a:accent5>
      <a:accent6>
        <a:srgbClr val="522398"/>
      </a:accent6>
      <a:hlink>
        <a:srgbClr val="B1059D"/>
      </a:hlink>
      <a:folHlink>
        <a:srgbClr val="FF7900"/>
      </a:folHlink>
    </a:clrScheme>
    <a:fontScheme name="aal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D83E13C0-C7EE-4704-A123-7CBDFC2F2A51}" vid="{36C7E0A7-0EB2-4114-ABC6-5900EEE829B3}"/>
    </a:ext>
  </a:extLst>
</a:theme>
</file>

<file path=ppt/theme/theme3.xml><?xml version="1.0" encoding="utf-8"?>
<a:theme xmlns:a="http://schemas.openxmlformats.org/drawingml/2006/main" name="1_Office-teema">
  <a:themeElements>
    <a:clrScheme name="Mukautettu 4">
      <a:dk1>
        <a:sysClr val="windowText" lastClr="000000"/>
      </a:dk1>
      <a:lt1>
        <a:sysClr val="window" lastClr="FFFFFF"/>
      </a:lt1>
      <a:dk2>
        <a:srgbClr val="78BE20"/>
      </a:dk2>
      <a:lt2>
        <a:srgbClr val="AED879"/>
      </a:lt2>
      <a:accent1>
        <a:srgbClr val="0C0C0C"/>
      </a:accent1>
      <a:accent2>
        <a:srgbClr val="595959"/>
      </a:accent2>
      <a:accent3>
        <a:srgbClr val="A5A5A5"/>
      </a:accent3>
      <a:accent4>
        <a:srgbClr val="D8D8D8"/>
      </a:accent4>
      <a:accent5>
        <a:srgbClr val="F2F2F2"/>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lto_BIZ_169_EN.potx" id="{69F26776-FB86-42CC-B9C7-5788F312165E}" vid="{BF5F540A-8380-403A-957D-586CCE703F1D}"/>
    </a:ext>
  </a:extLst>
</a:theme>
</file>

<file path=ppt/theme/theme4.xml><?xml version="1.0" encoding="utf-8"?>
<a:theme xmlns:a="http://schemas.openxmlformats.org/drawingml/2006/main" name="1_AALTO EE wide">
  <a:themeElements>
    <a:clrScheme name="Aalto EE">
      <a:dk1>
        <a:sysClr val="windowText" lastClr="000000"/>
      </a:dk1>
      <a:lt1>
        <a:sysClr val="window" lastClr="FFFFFF"/>
      </a:lt1>
      <a:dk2>
        <a:srgbClr val="D5D2CA"/>
      </a:dk2>
      <a:lt2>
        <a:srgbClr val="928B81"/>
      </a:lt2>
      <a:accent1>
        <a:srgbClr val="00B0CA"/>
      </a:accent1>
      <a:accent2>
        <a:srgbClr val="B1059D"/>
      </a:accent2>
      <a:accent3>
        <a:srgbClr val="FF7900"/>
      </a:accent3>
      <a:accent4>
        <a:srgbClr val="69BE28"/>
      </a:accent4>
      <a:accent5>
        <a:srgbClr val="006778"/>
      </a:accent5>
      <a:accent6>
        <a:srgbClr val="522398"/>
      </a:accent6>
      <a:hlink>
        <a:srgbClr val="B1059D"/>
      </a:hlink>
      <a:folHlink>
        <a:srgbClr val="FF7900"/>
      </a:folHlink>
    </a:clrScheme>
    <a:fontScheme name="aal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D83E13C0-C7EE-4704-A123-7CBDFC2F2A51}" vid="{36C7E0A7-0EB2-4114-ABC6-5900EEE829B3}"/>
    </a:ext>
  </a:extLst>
</a:theme>
</file>

<file path=ppt/theme/theme5.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Aalto University">
  <a:themeElements>
    <a:clrScheme name="Aalto-kauppa">
      <a:dk1>
        <a:sysClr val="windowText" lastClr="000000"/>
      </a:dk1>
      <a:lt1>
        <a:sysClr val="window" lastClr="FFFFFF"/>
      </a:lt1>
      <a:dk2>
        <a:srgbClr val="78BE20"/>
      </a:dk2>
      <a:lt2>
        <a:srgbClr val="8C857B"/>
      </a:lt2>
      <a:accent1>
        <a:srgbClr val="78BE20"/>
      </a:accent1>
      <a:accent2>
        <a:srgbClr val="FFCD00"/>
      </a:accent2>
      <a:accent3>
        <a:srgbClr val="EF3340"/>
      </a:accent3>
      <a:accent4>
        <a:srgbClr val="005EB8"/>
      </a:accent4>
      <a:accent5>
        <a:srgbClr val="8C857B"/>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alto_BIZ_169_EN</Template>
  <TotalTime>19051</TotalTime>
  <Words>1002</Words>
  <Application>Microsoft Office PowerPoint</Application>
  <PresentationFormat>On-screen Show (16:9)</PresentationFormat>
  <Paragraphs>115</Paragraphs>
  <Slides>20</Slides>
  <Notes>0</Notes>
  <HiddenSlides>2</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20</vt:i4>
      </vt:variant>
    </vt:vector>
  </HeadingPairs>
  <TitlesOfParts>
    <vt:vector size="34" baseType="lpstr">
      <vt:lpstr>Arial</vt:lpstr>
      <vt:lpstr>Arial</vt:lpstr>
      <vt:lpstr>Calibri</vt:lpstr>
      <vt:lpstr>Courier New</vt:lpstr>
      <vt:lpstr>Georgia</vt:lpstr>
      <vt:lpstr>Lucida Grande</vt:lpstr>
      <vt:lpstr>Verdana</vt:lpstr>
      <vt:lpstr>Office-teema</vt:lpstr>
      <vt:lpstr>AALTO EE wide</vt:lpstr>
      <vt:lpstr>1_Office-teema</vt:lpstr>
      <vt:lpstr>1_AALTO EE wide</vt:lpstr>
      <vt:lpstr>Custom Design</vt:lpstr>
      <vt:lpstr>1_Aalto University</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nigraf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ikkinen Rilana</dc:creator>
  <cp:lastModifiedBy>Niittymies Aleksi</cp:lastModifiedBy>
  <cp:revision>112</cp:revision>
  <dcterms:created xsi:type="dcterms:W3CDTF">2020-01-02T07:43:02Z</dcterms:created>
  <dcterms:modified xsi:type="dcterms:W3CDTF">2023-11-07T15:55:06Z</dcterms:modified>
</cp:coreProperties>
</file>